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20"/>
  </p:notesMasterIdLst>
  <p:handoutMasterIdLst>
    <p:handoutMasterId r:id="rId21"/>
  </p:handoutMasterIdLst>
  <p:sldIdLst>
    <p:sldId id="285" r:id="rId3"/>
    <p:sldId id="289" r:id="rId4"/>
    <p:sldId id="290" r:id="rId5"/>
    <p:sldId id="291" r:id="rId6"/>
    <p:sldId id="292" r:id="rId7"/>
    <p:sldId id="293" r:id="rId8"/>
    <p:sldId id="294" r:id="rId9"/>
    <p:sldId id="295" r:id="rId10"/>
    <p:sldId id="296" r:id="rId11"/>
    <p:sldId id="297" r:id="rId12"/>
    <p:sldId id="298" r:id="rId13"/>
    <p:sldId id="299" r:id="rId14"/>
    <p:sldId id="300" r:id="rId15"/>
    <p:sldId id="301" r:id="rId16"/>
    <p:sldId id="302" r:id="rId17"/>
    <p:sldId id="303" r:id="rId18"/>
    <p:sldId id="261" r:id="rId19"/>
  </p:sldIdLst>
  <p:sldSz cx="12192000" cy="6858000"/>
  <p:notesSz cx="6858000" cy="9144000"/>
  <p:custDataLst>
    <p:tags r:id="rId2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CCCC"/>
    <a:srgbClr val="1E2678"/>
    <a:srgbClr val="2C1E5C"/>
    <a:srgbClr val="A20000"/>
    <a:srgbClr val="A40000"/>
    <a:srgbClr val="9E0000"/>
    <a:srgbClr val="C7450B"/>
    <a:srgbClr val="E24E0C"/>
    <a:srgbClr val="DC6140"/>
    <a:srgbClr val="E6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1" autoAdjust="0"/>
    <p:restoredTop sz="96182" autoAdjust="0"/>
  </p:normalViewPr>
  <p:slideViewPr>
    <p:cSldViewPr snapToGrid="0">
      <p:cViewPr varScale="1">
        <p:scale>
          <a:sx n="110" d="100"/>
          <a:sy n="110" d="100"/>
        </p:scale>
        <p:origin x="516" y="108"/>
      </p:cViewPr>
      <p:guideLst/>
    </p:cSldViewPr>
  </p:slid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5" Type="http://schemas.openxmlformats.org/officeDocument/2006/relationships/tags" Target="tags/tag22.xml"/><Relationship Id="rId24" Type="http://schemas.openxmlformats.org/officeDocument/2006/relationships/tableStyles" Target="tableStyles.xml"/><Relationship Id="rId23" Type="http://schemas.openxmlformats.org/officeDocument/2006/relationships/viewProps" Target="viewProps.xml"/><Relationship Id="rId22" Type="http://schemas.openxmlformats.org/officeDocument/2006/relationships/presProps" Target="presProps.xml"/><Relationship Id="rId21" Type="http://schemas.openxmlformats.org/officeDocument/2006/relationships/handoutMaster" Target="handoutMasters/handoutMaster1.xml"/><Relationship Id="rId20" Type="http://schemas.openxmlformats.org/officeDocument/2006/relationships/notesMaster" Target="notesMasters/notesMaster1.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4" Type="http://schemas.openxmlformats.org/officeDocument/2006/relationships/image" Target="../media/image3.jpe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4" Type="http://schemas.openxmlformats.org/officeDocument/2006/relationships/image" Target="../media/image3.jpe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标题幻灯片">
    <p:spTree>
      <p:nvGrpSpPr>
        <p:cNvPr id="1" name=""/>
        <p:cNvGrpSpPr/>
        <p:nvPr/>
      </p:nvGrpSpPr>
      <p:grpSpPr>
        <a:xfrm>
          <a:off x="0" y="0"/>
          <a:ext cx="0" cy="0"/>
          <a:chOff x="0" y="0"/>
          <a:chExt cx="0" cy="0"/>
        </a:xfrm>
      </p:grpSpPr>
      <p:pic>
        <p:nvPicPr>
          <p:cNvPr id="6" name="图片 5"/>
          <p:cNvPicPr>
            <a:picLocks noChangeAspect="1"/>
          </p:cNvPicPr>
          <p:nvPr userDrawn="1"/>
        </p:nvPicPr>
        <p:blipFill rotWithShape="1">
          <a:blip r:embed="rId2">
            <a:alphaModFix amt="14000"/>
            <a:duotone>
              <a:schemeClr val="accent1">
                <a:shade val="45000"/>
                <a:satMod val="135000"/>
              </a:schemeClr>
              <a:prstClr val="white"/>
            </a:duotone>
          </a:blip>
          <a:srcRect r="16558" b="17670"/>
          <a:stretch>
            <a:fillRect/>
          </a:stretch>
        </p:blipFill>
        <p:spPr>
          <a:xfrm>
            <a:off x="1" y="3123"/>
            <a:ext cx="12191998" cy="6854877"/>
          </a:xfrm>
          <a:prstGeom prst="rect">
            <a:avLst/>
          </a:prstGeom>
        </p:spPr>
      </p:pic>
      <p:sp>
        <p:nvSpPr>
          <p:cNvPr id="9801" name="副标题 9800"/>
          <p:cNvSpPr>
            <a:spLocks noGrp="1"/>
          </p:cNvSpPr>
          <p:nvPr userDrawn="1">
            <p:ph type="subTitle" idx="1"/>
          </p:nvPr>
        </p:nvSpPr>
        <p:spPr>
          <a:xfrm>
            <a:off x="671512" y="3680690"/>
            <a:ext cx="8073363" cy="558799"/>
          </a:xfrm>
        </p:spPr>
        <p:txBody>
          <a:bodyPr vert="horz" lIns="91440" tIns="45720" rIns="91440" bIns="45720" rtlCol="0" anchor="b">
            <a:noAutofit/>
          </a:bodyPr>
          <a:lstStyle>
            <a:lvl1pPr marL="0" indent="0">
              <a:buNone/>
              <a:defRPr lang="en-US" sz="3200" b="0" dirty="0">
                <a:solidFill>
                  <a:schemeClr val="accent1"/>
                </a:solidFill>
                <a:latin typeface="Calibri" panose="020F0502020204030204" pitchFamily="34" charset="0"/>
                <a:ea typeface="微软雅黑" panose="020B0503020204020204" pitchFamily="34" charset="-122"/>
                <a:cs typeface="+mj-cs"/>
              </a:defRPr>
            </a:lvl1pPr>
          </a:lstStyle>
          <a:p>
            <a:pPr marL="228600" lvl="0" indent="-228600" fontAlgn="b">
              <a:spcBef>
                <a:spcPct val="0"/>
              </a:spcBef>
            </a:pPr>
            <a:r>
              <a:rPr lang="en-US" dirty="0"/>
              <a:t>Click to edit Master subtitle style</a:t>
            </a:r>
            <a:endParaRPr lang="en-US" dirty="0"/>
          </a:p>
        </p:txBody>
      </p:sp>
      <p:sp>
        <p:nvSpPr>
          <p:cNvPr id="9802" name="标题 9801"/>
          <p:cNvSpPr>
            <a:spLocks noGrp="1"/>
          </p:cNvSpPr>
          <p:nvPr userDrawn="1">
            <p:ph type="ctrTitle"/>
          </p:nvPr>
        </p:nvSpPr>
        <p:spPr>
          <a:xfrm>
            <a:off x="671512" y="829077"/>
            <a:ext cx="8073363" cy="2851614"/>
          </a:xfrm>
        </p:spPr>
        <p:txBody>
          <a:bodyPr vert="horz" lIns="91440" tIns="45720" rIns="91440" bIns="45720" rtlCol="0" anchor="b">
            <a:normAutofit/>
          </a:bodyPr>
          <a:lstStyle>
            <a:lvl1pPr>
              <a:defRPr lang="zh-CN" altLang="en-US" sz="8800" dirty="0">
                <a:solidFill>
                  <a:schemeClr val="accent1"/>
                </a:solidFill>
                <a:latin typeface="Calibri" panose="020F0502020204030204" pitchFamily="34" charset="0"/>
                <a:ea typeface="微软雅黑" panose="020B0503020204020204" pitchFamily="34" charset="-122"/>
              </a:defRPr>
            </a:lvl1pPr>
          </a:lstStyle>
          <a:p>
            <a:pPr marL="0" lvl="0" indent="0" fontAlgn="b">
              <a:buFont typeface="Arial" panose="020B0604020202020204" pitchFamily="34" charset="0"/>
            </a:pPr>
            <a:r>
              <a:rPr lang="en-US" dirty="0"/>
              <a:t>Click to edit Master title style</a:t>
            </a:r>
            <a:endParaRPr lang="zh-CN" altLang="en-US" dirty="0"/>
          </a:p>
        </p:txBody>
      </p:sp>
      <p:grpSp>
        <p:nvGrpSpPr>
          <p:cNvPr id="9" name="组合 8"/>
          <p:cNvGrpSpPr/>
          <p:nvPr userDrawn="1"/>
        </p:nvGrpSpPr>
        <p:grpSpPr>
          <a:xfrm>
            <a:off x="9437983" y="6036892"/>
            <a:ext cx="2264418" cy="701791"/>
            <a:chOff x="4996000" y="520587"/>
            <a:chExt cx="2264418" cy="701791"/>
          </a:xfrm>
        </p:grpSpPr>
        <p:grpSp>
          <p:nvGrpSpPr>
            <p:cNvPr id="10" name="ïşľïḍé"/>
            <p:cNvGrpSpPr/>
            <p:nvPr/>
          </p:nvGrpSpPr>
          <p:grpSpPr>
            <a:xfrm>
              <a:off x="4996000" y="520587"/>
              <a:ext cx="697196" cy="701791"/>
              <a:chOff x="3551238" y="3067050"/>
              <a:chExt cx="722313" cy="727075"/>
            </a:xfrm>
          </p:grpSpPr>
          <p:sp>
            <p:nvSpPr>
              <p:cNvPr id="42" name="íśľiḓê"/>
              <p:cNvSpPr/>
              <p:nvPr/>
            </p:nvSpPr>
            <p:spPr bwMode="auto">
              <a:xfrm>
                <a:off x="3575051" y="3087688"/>
                <a:ext cx="673100" cy="679450"/>
              </a:xfrm>
              <a:custGeom>
                <a:avLst/>
                <a:gdLst>
                  <a:gd name="T0" fmla="*/ 102 w 204"/>
                  <a:gd name="T1" fmla="*/ 0 h 204"/>
                  <a:gd name="T2" fmla="*/ 204 w 204"/>
                  <a:gd name="T3" fmla="*/ 102 h 204"/>
                  <a:gd name="T4" fmla="*/ 102 w 204"/>
                  <a:gd name="T5" fmla="*/ 204 h 204"/>
                  <a:gd name="T6" fmla="*/ 0 w 204"/>
                  <a:gd name="T7" fmla="*/ 102 h 204"/>
                  <a:gd name="T8" fmla="*/ 102 w 204"/>
                  <a:gd name="T9" fmla="*/ 0 h 204"/>
                  <a:gd name="T10" fmla="*/ 102 w 204"/>
                  <a:gd name="T11" fmla="*/ 25 h 204"/>
                  <a:gd name="T12" fmla="*/ 24 w 204"/>
                  <a:gd name="T13" fmla="*/ 103 h 204"/>
                  <a:gd name="T14" fmla="*/ 102 w 204"/>
                  <a:gd name="T15" fmla="*/ 181 h 204"/>
                  <a:gd name="T16" fmla="*/ 180 w 204"/>
                  <a:gd name="T17" fmla="*/ 103 h 204"/>
                  <a:gd name="T18" fmla="*/ 102 w 204"/>
                  <a:gd name="T19" fmla="*/ 2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 h="204">
                    <a:moveTo>
                      <a:pt x="102" y="0"/>
                    </a:moveTo>
                    <a:cubicBezTo>
                      <a:pt x="159" y="0"/>
                      <a:pt x="204" y="46"/>
                      <a:pt x="204" y="102"/>
                    </a:cubicBezTo>
                    <a:cubicBezTo>
                      <a:pt x="204" y="158"/>
                      <a:pt x="159" y="204"/>
                      <a:pt x="102" y="204"/>
                    </a:cubicBezTo>
                    <a:cubicBezTo>
                      <a:pt x="46" y="204"/>
                      <a:pt x="0" y="158"/>
                      <a:pt x="0" y="102"/>
                    </a:cubicBezTo>
                    <a:cubicBezTo>
                      <a:pt x="0" y="46"/>
                      <a:pt x="46" y="0"/>
                      <a:pt x="102" y="0"/>
                    </a:cubicBezTo>
                    <a:close/>
                    <a:moveTo>
                      <a:pt x="102" y="25"/>
                    </a:moveTo>
                    <a:cubicBezTo>
                      <a:pt x="59" y="25"/>
                      <a:pt x="24" y="60"/>
                      <a:pt x="24" y="103"/>
                    </a:cubicBezTo>
                    <a:cubicBezTo>
                      <a:pt x="24" y="146"/>
                      <a:pt x="59" y="181"/>
                      <a:pt x="102" y="181"/>
                    </a:cubicBezTo>
                    <a:cubicBezTo>
                      <a:pt x="145" y="181"/>
                      <a:pt x="180" y="146"/>
                      <a:pt x="180" y="103"/>
                    </a:cubicBezTo>
                    <a:cubicBezTo>
                      <a:pt x="180" y="60"/>
                      <a:pt x="145" y="25"/>
                      <a:pt x="102" y="25"/>
                    </a:cubicBezTo>
                    <a:close/>
                  </a:path>
                </a:pathLst>
              </a:custGeom>
              <a:solidFill>
                <a:srgbClr val="00523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43" name="íṣḷîḓé"/>
              <p:cNvSpPr/>
              <p:nvPr/>
            </p:nvSpPr>
            <p:spPr bwMode="auto">
              <a:xfrm>
                <a:off x="3621088" y="3103563"/>
                <a:ext cx="584200" cy="203200"/>
              </a:xfrm>
              <a:custGeom>
                <a:avLst/>
                <a:gdLst>
                  <a:gd name="T0" fmla="*/ 8 w 177"/>
                  <a:gd name="T1" fmla="*/ 53 h 61"/>
                  <a:gd name="T2" fmla="*/ 0 w 177"/>
                  <a:gd name="T3" fmla="*/ 56 h 61"/>
                  <a:gd name="T4" fmla="*/ 5 w 177"/>
                  <a:gd name="T5" fmla="*/ 52 h 61"/>
                  <a:gd name="T6" fmla="*/ 4 w 177"/>
                  <a:gd name="T7" fmla="*/ 50 h 61"/>
                  <a:gd name="T8" fmla="*/ 5 w 177"/>
                  <a:gd name="T9" fmla="*/ 48 h 61"/>
                  <a:gd name="T10" fmla="*/ 10 w 177"/>
                  <a:gd name="T11" fmla="*/ 41 h 61"/>
                  <a:gd name="T12" fmla="*/ 17 w 177"/>
                  <a:gd name="T13" fmla="*/ 50 h 61"/>
                  <a:gd name="T14" fmla="*/ 14 w 177"/>
                  <a:gd name="T15" fmla="*/ 35 h 61"/>
                  <a:gd name="T16" fmla="*/ 23 w 177"/>
                  <a:gd name="T17" fmla="*/ 46 h 61"/>
                  <a:gd name="T18" fmla="*/ 31 w 177"/>
                  <a:gd name="T19" fmla="*/ 38 h 61"/>
                  <a:gd name="T20" fmla="*/ 29 w 177"/>
                  <a:gd name="T21" fmla="*/ 40 h 61"/>
                  <a:gd name="T22" fmla="*/ 18 w 177"/>
                  <a:gd name="T23" fmla="*/ 32 h 61"/>
                  <a:gd name="T24" fmla="*/ 19 w 177"/>
                  <a:gd name="T25" fmla="*/ 30 h 61"/>
                  <a:gd name="T26" fmla="*/ 21 w 177"/>
                  <a:gd name="T27" fmla="*/ 27 h 61"/>
                  <a:gd name="T28" fmla="*/ 41 w 177"/>
                  <a:gd name="T29" fmla="*/ 29 h 61"/>
                  <a:gd name="T30" fmla="*/ 43 w 177"/>
                  <a:gd name="T31" fmla="*/ 29 h 61"/>
                  <a:gd name="T32" fmla="*/ 35 w 177"/>
                  <a:gd name="T33" fmla="*/ 35 h 61"/>
                  <a:gd name="T34" fmla="*/ 31 w 177"/>
                  <a:gd name="T35" fmla="*/ 21 h 61"/>
                  <a:gd name="T36" fmla="*/ 46 w 177"/>
                  <a:gd name="T37" fmla="*/ 11 h 61"/>
                  <a:gd name="T38" fmla="*/ 47 w 177"/>
                  <a:gd name="T39" fmla="*/ 11 h 61"/>
                  <a:gd name="T40" fmla="*/ 47 w 177"/>
                  <a:gd name="T41" fmla="*/ 26 h 61"/>
                  <a:gd name="T42" fmla="*/ 39 w 177"/>
                  <a:gd name="T43" fmla="*/ 15 h 61"/>
                  <a:gd name="T44" fmla="*/ 72 w 177"/>
                  <a:gd name="T45" fmla="*/ 16 h 61"/>
                  <a:gd name="T46" fmla="*/ 71 w 177"/>
                  <a:gd name="T47" fmla="*/ 2 h 61"/>
                  <a:gd name="T48" fmla="*/ 65 w 177"/>
                  <a:gd name="T49" fmla="*/ 15 h 61"/>
                  <a:gd name="T50" fmla="*/ 64 w 177"/>
                  <a:gd name="T51" fmla="*/ 4 h 61"/>
                  <a:gd name="T52" fmla="*/ 84 w 177"/>
                  <a:gd name="T53" fmla="*/ 1 h 61"/>
                  <a:gd name="T54" fmla="*/ 84 w 177"/>
                  <a:gd name="T55" fmla="*/ 1 h 61"/>
                  <a:gd name="T56" fmla="*/ 78 w 177"/>
                  <a:gd name="T57" fmla="*/ 16 h 61"/>
                  <a:gd name="T58" fmla="*/ 77 w 177"/>
                  <a:gd name="T59" fmla="*/ 15 h 61"/>
                  <a:gd name="T60" fmla="*/ 90 w 177"/>
                  <a:gd name="T61" fmla="*/ 1 h 61"/>
                  <a:gd name="T62" fmla="*/ 94 w 177"/>
                  <a:gd name="T63" fmla="*/ 15 h 61"/>
                  <a:gd name="T64" fmla="*/ 92 w 177"/>
                  <a:gd name="T65" fmla="*/ 15 h 61"/>
                  <a:gd name="T66" fmla="*/ 113 w 177"/>
                  <a:gd name="T67" fmla="*/ 3 h 61"/>
                  <a:gd name="T68" fmla="*/ 102 w 177"/>
                  <a:gd name="T69" fmla="*/ 2 h 61"/>
                  <a:gd name="T70" fmla="*/ 105 w 177"/>
                  <a:gd name="T71" fmla="*/ 14 h 61"/>
                  <a:gd name="T72" fmla="*/ 117 w 177"/>
                  <a:gd name="T73" fmla="*/ 5 h 61"/>
                  <a:gd name="T74" fmla="*/ 122 w 177"/>
                  <a:gd name="T75" fmla="*/ 19 h 61"/>
                  <a:gd name="T76" fmla="*/ 119 w 177"/>
                  <a:gd name="T77" fmla="*/ 13 h 61"/>
                  <a:gd name="T78" fmla="*/ 121 w 177"/>
                  <a:gd name="T79" fmla="*/ 12 h 61"/>
                  <a:gd name="T80" fmla="*/ 124 w 177"/>
                  <a:gd name="T81" fmla="*/ 10 h 61"/>
                  <a:gd name="T82" fmla="*/ 131 w 177"/>
                  <a:gd name="T83" fmla="*/ 26 h 61"/>
                  <a:gd name="T84" fmla="*/ 126 w 177"/>
                  <a:gd name="T85" fmla="*/ 23 h 61"/>
                  <a:gd name="T86" fmla="*/ 124 w 177"/>
                  <a:gd name="T87" fmla="*/ 23 h 61"/>
                  <a:gd name="T88" fmla="*/ 137 w 177"/>
                  <a:gd name="T89" fmla="*/ 14 h 61"/>
                  <a:gd name="T90" fmla="*/ 133 w 177"/>
                  <a:gd name="T91" fmla="*/ 11 h 61"/>
                  <a:gd name="T92" fmla="*/ 137 w 177"/>
                  <a:gd name="T93" fmla="*/ 32 h 61"/>
                  <a:gd name="T94" fmla="*/ 137 w 177"/>
                  <a:gd name="T95" fmla="*/ 32 h 61"/>
                  <a:gd name="T96" fmla="*/ 145 w 177"/>
                  <a:gd name="T97" fmla="*/ 19 h 61"/>
                  <a:gd name="T98" fmla="*/ 146 w 177"/>
                  <a:gd name="T99" fmla="*/ 19 h 61"/>
                  <a:gd name="T100" fmla="*/ 159 w 177"/>
                  <a:gd name="T101" fmla="*/ 31 h 61"/>
                  <a:gd name="T102" fmla="*/ 149 w 177"/>
                  <a:gd name="T103" fmla="*/ 42 h 61"/>
                  <a:gd name="T104" fmla="*/ 155 w 177"/>
                  <a:gd name="T105" fmla="*/ 27 h 61"/>
                  <a:gd name="T106" fmla="*/ 166 w 177"/>
                  <a:gd name="T107" fmla="*/ 40 h 61"/>
                  <a:gd name="T108" fmla="*/ 160 w 177"/>
                  <a:gd name="T109" fmla="*/ 37 h 61"/>
                  <a:gd name="T110" fmla="*/ 153 w 177"/>
                  <a:gd name="T111" fmla="*/ 46 h 61"/>
                  <a:gd name="T112" fmla="*/ 177 w 177"/>
                  <a:gd name="T113" fmla="*/ 55 h 61"/>
                  <a:gd name="T114" fmla="*/ 162 w 177"/>
                  <a:gd name="T115" fmla="*/ 60 h 61"/>
                  <a:gd name="T116" fmla="*/ 165 w 177"/>
                  <a:gd name="T117" fmla="*/ 55 h 61"/>
                  <a:gd name="T118" fmla="*/ 173 w 177"/>
                  <a:gd name="T1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7" h="61">
                    <a:moveTo>
                      <a:pt x="6" y="46"/>
                    </a:moveTo>
                    <a:cubicBezTo>
                      <a:pt x="6" y="46"/>
                      <a:pt x="6" y="46"/>
                      <a:pt x="6" y="46"/>
                    </a:cubicBezTo>
                    <a:cubicBezTo>
                      <a:pt x="6" y="46"/>
                      <a:pt x="6" y="46"/>
                      <a:pt x="6" y="46"/>
                    </a:cubicBezTo>
                    <a:cubicBezTo>
                      <a:pt x="6" y="46"/>
                      <a:pt x="6" y="47"/>
                      <a:pt x="6" y="47"/>
                    </a:cubicBezTo>
                    <a:cubicBezTo>
                      <a:pt x="6" y="47"/>
                      <a:pt x="6" y="47"/>
                      <a:pt x="6" y="47"/>
                    </a:cubicBezTo>
                    <a:cubicBezTo>
                      <a:pt x="17" y="57"/>
                      <a:pt x="17" y="57"/>
                      <a:pt x="17" y="57"/>
                    </a:cubicBezTo>
                    <a:cubicBezTo>
                      <a:pt x="17" y="57"/>
                      <a:pt x="17" y="57"/>
                      <a:pt x="17" y="57"/>
                    </a:cubicBezTo>
                    <a:cubicBezTo>
                      <a:pt x="8" y="53"/>
                      <a:pt x="8" y="53"/>
                      <a:pt x="8" y="53"/>
                    </a:cubicBezTo>
                    <a:cubicBezTo>
                      <a:pt x="8" y="54"/>
                      <a:pt x="8" y="54"/>
                      <a:pt x="8" y="54"/>
                    </a:cubicBezTo>
                    <a:cubicBezTo>
                      <a:pt x="15" y="60"/>
                      <a:pt x="15" y="60"/>
                      <a:pt x="15" y="60"/>
                    </a:cubicBezTo>
                    <a:cubicBezTo>
                      <a:pt x="15" y="61"/>
                      <a:pt x="15" y="61"/>
                      <a:pt x="15" y="61"/>
                    </a:cubicBezTo>
                    <a:cubicBezTo>
                      <a:pt x="1" y="55"/>
                      <a:pt x="1" y="55"/>
                      <a:pt x="1" y="55"/>
                    </a:cubicBezTo>
                    <a:cubicBezTo>
                      <a:pt x="1" y="55"/>
                      <a:pt x="1" y="55"/>
                      <a:pt x="1" y="55"/>
                    </a:cubicBezTo>
                    <a:cubicBezTo>
                      <a:pt x="1" y="55"/>
                      <a:pt x="1" y="55"/>
                      <a:pt x="1" y="55"/>
                    </a:cubicBezTo>
                    <a:cubicBezTo>
                      <a:pt x="0" y="56"/>
                      <a:pt x="0" y="56"/>
                      <a:pt x="0" y="56"/>
                    </a:cubicBezTo>
                    <a:cubicBezTo>
                      <a:pt x="0" y="56"/>
                      <a:pt x="0" y="56"/>
                      <a:pt x="0" y="56"/>
                    </a:cubicBezTo>
                    <a:cubicBezTo>
                      <a:pt x="2" y="53"/>
                      <a:pt x="2" y="53"/>
                      <a:pt x="2" y="53"/>
                    </a:cubicBezTo>
                    <a:cubicBezTo>
                      <a:pt x="2" y="53"/>
                      <a:pt x="2" y="53"/>
                      <a:pt x="2" y="53"/>
                    </a:cubicBezTo>
                    <a:cubicBezTo>
                      <a:pt x="2" y="53"/>
                      <a:pt x="2" y="53"/>
                      <a:pt x="2" y="53"/>
                    </a:cubicBezTo>
                    <a:cubicBezTo>
                      <a:pt x="2" y="53"/>
                      <a:pt x="2" y="54"/>
                      <a:pt x="2" y="54"/>
                    </a:cubicBezTo>
                    <a:cubicBezTo>
                      <a:pt x="2" y="54"/>
                      <a:pt x="2" y="54"/>
                      <a:pt x="2" y="54"/>
                    </a:cubicBezTo>
                    <a:cubicBezTo>
                      <a:pt x="11" y="58"/>
                      <a:pt x="11" y="58"/>
                      <a:pt x="11" y="58"/>
                    </a:cubicBezTo>
                    <a:cubicBezTo>
                      <a:pt x="12" y="58"/>
                      <a:pt x="12" y="58"/>
                      <a:pt x="12" y="58"/>
                    </a:cubicBezTo>
                    <a:cubicBezTo>
                      <a:pt x="5" y="52"/>
                      <a:pt x="5" y="52"/>
                      <a:pt x="5" y="52"/>
                    </a:cubicBezTo>
                    <a:cubicBezTo>
                      <a:pt x="4" y="52"/>
                      <a:pt x="4" y="52"/>
                      <a:pt x="4" y="52"/>
                    </a:cubicBezTo>
                    <a:cubicBezTo>
                      <a:pt x="3" y="52"/>
                      <a:pt x="3" y="52"/>
                      <a:pt x="3" y="52"/>
                    </a:cubicBezTo>
                    <a:cubicBezTo>
                      <a:pt x="3" y="52"/>
                      <a:pt x="3" y="52"/>
                      <a:pt x="3" y="52"/>
                    </a:cubicBezTo>
                    <a:cubicBezTo>
                      <a:pt x="3" y="52"/>
                      <a:pt x="3" y="52"/>
                      <a:pt x="3" y="52"/>
                    </a:cubicBezTo>
                    <a:cubicBezTo>
                      <a:pt x="2" y="52"/>
                      <a:pt x="2" y="52"/>
                      <a:pt x="2" y="52"/>
                    </a:cubicBezTo>
                    <a:cubicBezTo>
                      <a:pt x="4" y="49"/>
                      <a:pt x="4" y="49"/>
                      <a:pt x="4" y="49"/>
                    </a:cubicBezTo>
                    <a:cubicBezTo>
                      <a:pt x="4" y="49"/>
                      <a:pt x="4" y="49"/>
                      <a:pt x="4" y="49"/>
                    </a:cubicBezTo>
                    <a:cubicBezTo>
                      <a:pt x="4" y="50"/>
                      <a:pt x="4" y="50"/>
                      <a:pt x="4" y="50"/>
                    </a:cubicBezTo>
                    <a:cubicBezTo>
                      <a:pt x="4" y="50"/>
                      <a:pt x="4" y="50"/>
                      <a:pt x="4" y="50"/>
                    </a:cubicBezTo>
                    <a:cubicBezTo>
                      <a:pt x="4" y="50"/>
                      <a:pt x="4" y="50"/>
                      <a:pt x="4" y="51"/>
                    </a:cubicBezTo>
                    <a:cubicBezTo>
                      <a:pt x="13" y="54"/>
                      <a:pt x="13" y="54"/>
                      <a:pt x="13" y="54"/>
                    </a:cubicBezTo>
                    <a:cubicBezTo>
                      <a:pt x="13" y="54"/>
                      <a:pt x="13" y="54"/>
                      <a:pt x="13" y="54"/>
                    </a:cubicBezTo>
                    <a:cubicBezTo>
                      <a:pt x="6" y="48"/>
                      <a:pt x="6" y="48"/>
                      <a:pt x="6" y="48"/>
                    </a:cubicBezTo>
                    <a:cubicBezTo>
                      <a:pt x="6" y="48"/>
                      <a:pt x="6" y="48"/>
                      <a:pt x="5" y="48"/>
                    </a:cubicBezTo>
                    <a:cubicBezTo>
                      <a:pt x="5" y="48"/>
                      <a:pt x="5" y="48"/>
                      <a:pt x="5" y="48"/>
                    </a:cubicBezTo>
                    <a:cubicBezTo>
                      <a:pt x="5" y="48"/>
                      <a:pt x="5" y="48"/>
                      <a:pt x="5" y="48"/>
                    </a:cubicBezTo>
                    <a:cubicBezTo>
                      <a:pt x="4" y="48"/>
                      <a:pt x="4" y="48"/>
                      <a:pt x="4" y="48"/>
                    </a:cubicBezTo>
                    <a:cubicBezTo>
                      <a:pt x="6" y="46"/>
                      <a:pt x="6" y="46"/>
                      <a:pt x="6" y="46"/>
                    </a:cubicBezTo>
                    <a:close/>
                    <a:moveTo>
                      <a:pt x="22" y="48"/>
                    </a:moveTo>
                    <a:cubicBezTo>
                      <a:pt x="22" y="49"/>
                      <a:pt x="21" y="49"/>
                      <a:pt x="21" y="49"/>
                    </a:cubicBezTo>
                    <a:cubicBezTo>
                      <a:pt x="20" y="50"/>
                      <a:pt x="19" y="49"/>
                      <a:pt x="18" y="48"/>
                    </a:cubicBezTo>
                    <a:cubicBezTo>
                      <a:pt x="10" y="42"/>
                      <a:pt x="10" y="42"/>
                      <a:pt x="10" y="42"/>
                    </a:cubicBezTo>
                    <a:cubicBezTo>
                      <a:pt x="10" y="42"/>
                      <a:pt x="10" y="41"/>
                      <a:pt x="10" y="41"/>
                    </a:cubicBezTo>
                    <a:cubicBezTo>
                      <a:pt x="10" y="41"/>
                      <a:pt x="10" y="41"/>
                      <a:pt x="10" y="41"/>
                    </a:cubicBezTo>
                    <a:cubicBezTo>
                      <a:pt x="10" y="40"/>
                      <a:pt x="10" y="40"/>
                      <a:pt x="10" y="40"/>
                    </a:cubicBezTo>
                    <a:cubicBezTo>
                      <a:pt x="10" y="40"/>
                      <a:pt x="10" y="40"/>
                      <a:pt x="10" y="40"/>
                    </a:cubicBezTo>
                    <a:cubicBezTo>
                      <a:pt x="7" y="43"/>
                      <a:pt x="7" y="43"/>
                      <a:pt x="7" y="43"/>
                    </a:cubicBezTo>
                    <a:cubicBezTo>
                      <a:pt x="8" y="43"/>
                      <a:pt x="8" y="43"/>
                      <a:pt x="8" y="43"/>
                    </a:cubicBezTo>
                    <a:cubicBezTo>
                      <a:pt x="8" y="43"/>
                      <a:pt x="8" y="43"/>
                      <a:pt x="8" y="43"/>
                    </a:cubicBezTo>
                    <a:cubicBezTo>
                      <a:pt x="8" y="43"/>
                      <a:pt x="8" y="43"/>
                      <a:pt x="8" y="43"/>
                    </a:cubicBezTo>
                    <a:cubicBezTo>
                      <a:pt x="9" y="43"/>
                      <a:pt x="9" y="43"/>
                      <a:pt x="9" y="43"/>
                    </a:cubicBezTo>
                    <a:cubicBezTo>
                      <a:pt x="17" y="50"/>
                      <a:pt x="17" y="50"/>
                      <a:pt x="17" y="50"/>
                    </a:cubicBezTo>
                    <a:cubicBezTo>
                      <a:pt x="18" y="50"/>
                      <a:pt x="19" y="51"/>
                      <a:pt x="20" y="50"/>
                    </a:cubicBezTo>
                    <a:cubicBezTo>
                      <a:pt x="21" y="50"/>
                      <a:pt x="22" y="50"/>
                      <a:pt x="23" y="49"/>
                    </a:cubicBezTo>
                    <a:cubicBezTo>
                      <a:pt x="24" y="48"/>
                      <a:pt x="24" y="47"/>
                      <a:pt x="24" y="46"/>
                    </a:cubicBezTo>
                    <a:cubicBezTo>
                      <a:pt x="24" y="45"/>
                      <a:pt x="23" y="44"/>
                      <a:pt x="22" y="43"/>
                    </a:cubicBezTo>
                    <a:cubicBezTo>
                      <a:pt x="14" y="36"/>
                      <a:pt x="14" y="36"/>
                      <a:pt x="14" y="36"/>
                    </a:cubicBezTo>
                    <a:cubicBezTo>
                      <a:pt x="14" y="36"/>
                      <a:pt x="14" y="36"/>
                      <a:pt x="14" y="36"/>
                    </a:cubicBezTo>
                    <a:cubicBezTo>
                      <a:pt x="14" y="36"/>
                      <a:pt x="14" y="36"/>
                      <a:pt x="14" y="35"/>
                    </a:cubicBezTo>
                    <a:cubicBezTo>
                      <a:pt x="14" y="35"/>
                      <a:pt x="14" y="35"/>
                      <a:pt x="14" y="35"/>
                    </a:cubicBezTo>
                    <a:cubicBezTo>
                      <a:pt x="14" y="35"/>
                      <a:pt x="14" y="35"/>
                      <a:pt x="14" y="35"/>
                    </a:cubicBezTo>
                    <a:cubicBezTo>
                      <a:pt x="12" y="37"/>
                      <a:pt x="12" y="37"/>
                      <a:pt x="12" y="37"/>
                    </a:cubicBezTo>
                    <a:cubicBezTo>
                      <a:pt x="12" y="38"/>
                      <a:pt x="12" y="38"/>
                      <a:pt x="12" y="38"/>
                    </a:cubicBezTo>
                    <a:cubicBezTo>
                      <a:pt x="13" y="37"/>
                      <a:pt x="13" y="37"/>
                      <a:pt x="13" y="37"/>
                    </a:cubicBezTo>
                    <a:cubicBezTo>
                      <a:pt x="13" y="37"/>
                      <a:pt x="13" y="37"/>
                      <a:pt x="13" y="37"/>
                    </a:cubicBezTo>
                    <a:cubicBezTo>
                      <a:pt x="13" y="37"/>
                      <a:pt x="14" y="37"/>
                      <a:pt x="14" y="37"/>
                    </a:cubicBezTo>
                    <a:cubicBezTo>
                      <a:pt x="22" y="44"/>
                      <a:pt x="22" y="44"/>
                      <a:pt x="22" y="44"/>
                    </a:cubicBezTo>
                    <a:cubicBezTo>
                      <a:pt x="23" y="44"/>
                      <a:pt x="23" y="45"/>
                      <a:pt x="23" y="46"/>
                    </a:cubicBezTo>
                    <a:cubicBezTo>
                      <a:pt x="23" y="47"/>
                      <a:pt x="23" y="47"/>
                      <a:pt x="22" y="48"/>
                    </a:cubicBezTo>
                    <a:close/>
                    <a:moveTo>
                      <a:pt x="33" y="36"/>
                    </a:moveTo>
                    <a:cubicBezTo>
                      <a:pt x="33" y="36"/>
                      <a:pt x="33" y="36"/>
                      <a:pt x="33" y="36"/>
                    </a:cubicBezTo>
                    <a:cubicBezTo>
                      <a:pt x="33" y="36"/>
                      <a:pt x="34" y="36"/>
                      <a:pt x="34" y="36"/>
                    </a:cubicBezTo>
                    <a:cubicBezTo>
                      <a:pt x="34" y="35"/>
                      <a:pt x="34" y="35"/>
                      <a:pt x="34" y="35"/>
                    </a:cubicBezTo>
                    <a:cubicBezTo>
                      <a:pt x="35" y="36"/>
                      <a:pt x="35" y="36"/>
                      <a:pt x="35" y="36"/>
                    </a:cubicBezTo>
                    <a:cubicBezTo>
                      <a:pt x="32" y="39"/>
                      <a:pt x="32" y="39"/>
                      <a:pt x="32" y="39"/>
                    </a:cubicBezTo>
                    <a:cubicBezTo>
                      <a:pt x="31" y="38"/>
                      <a:pt x="31" y="38"/>
                      <a:pt x="31" y="38"/>
                    </a:cubicBezTo>
                    <a:cubicBezTo>
                      <a:pt x="32" y="38"/>
                      <a:pt x="32" y="38"/>
                      <a:pt x="32" y="38"/>
                    </a:cubicBezTo>
                    <a:cubicBezTo>
                      <a:pt x="32" y="38"/>
                      <a:pt x="32" y="37"/>
                      <a:pt x="32" y="37"/>
                    </a:cubicBezTo>
                    <a:cubicBezTo>
                      <a:pt x="32" y="37"/>
                      <a:pt x="32" y="37"/>
                      <a:pt x="32" y="37"/>
                    </a:cubicBezTo>
                    <a:cubicBezTo>
                      <a:pt x="27" y="32"/>
                      <a:pt x="27" y="32"/>
                      <a:pt x="27" y="32"/>
                    </a:cubicBezTo>
                    <a:cubicBezTo>
                      <a:pt x="23" y="36"/>
                      <a:pt x="23" y="36"/>
                      <a:pt x="23" y="36"/>
                    </a:cubicBezTo>
                    <a:cubicBezTo>
                      <a:pt x="28" y="40"/>
                      <a:pt x="28" y="40"/>
                      <a:pt x="28" y="40"/>
                    </a:cubicBezTo>
                    <a:cubicBezTo>
                      <a:pt x="28" y="41"/>
                      <a:pt x="28" y="41"/>
                      <a:pt x="28" y="41"/>
                    </a:cubicBezTo>
                    <a:cubicBezTo>
                      <a:pt x="28" y="41"/>
                      <a:pt x="29" y="41"/>
                      <a:pt x="29" y="40"/>
                    </a:cubicBezTo>
                    <a:cubicBezTo>
                      <a:pt x="29" y="40"/>
                      <a:pt x="29" y="40"/>
                      <a:pt x="29" y="40"/>
                    </a:cubicBezTo>
                    <a:cubicBezTo>
                      <a:pt x="30" y="41"/>
                      <a:pt x="30" y="41"/>
                      <a:pt x="30" y="41"/>
                    </a:cubicBezTo>
                    <a:cubicBezTo>
                      <a:pt x="27" y="43"/>
                      <a:pt x="27" y="43"/>
                      <a:pt x="27" y="43"/>
                    </a:cubicBezTo>
                    <a:cubicBezTo>
                      <a:pt x="26" y="43"/>
                      <a:pt x="26" y="43"/>
                      <a:pt x="26" y="43"/>
                    </a:cubicBezTo>
                    <a:cubicBezTo>
                      <a:pt x="27" y="43"/>
                      <a:pt x="27" y="43"/>
                      <a:pt x="27" y="43"/>
                    </a:cubicBezTo>
                    <a:cubicBezTo>
                      <a:pt x="27" y="42"/>
                      <a:pt x="27" y="42"/>
                      <a:pt x="27" y="42"/>
                    </a:cubicBezTo>
                    <a:cubicBezTo>
                      <a:pt x="27" y="42"/>
                      <a:pt x="27" y="42"/>
                      <a:pt x="27" y="41"/>
                    </a:cubicBezTo>
                    <a:cubicBezTo>
                      <a:pt x="18" y="32"/>
                      <a:pt x="18" y="32"/>
                      <a:pt x="18" y="32"/>
                    </a:cubicBezTo>
                    <a:cubicBezTo>
                      <a:pt x="18" y="32"/>
                      <a:pt x="17" y="32"/>
                      <a:pt x="17" y="32"/>
                    </a:cubicBezTo>
                    <a:cubicBezTo>
                      <a:pt x="17" y="32"/>
                      <a:pt x="17" y="32"/>
                      <a:pt x="17" y="32"/>
                    </a:cubicBezTo>
                    <a:cubicBezTo>
                      <a:pt x="16" y="32"/>
                      <a:pt x="16" y="32"/>
                      <a:pt x="16" y="32"/>
                    </a:cubicBezTo>
                    <a:cubicBezTo>
                      <a:pt x="16" y="32"/>
                      <a:pt x="16" y="32"/>
                      <a:pt x="16" y="32"/>
                    </a:cubicBezTo>
                    <a:cubicBezTo>
                      <a:pt x="19" y="29"/>
                      <a:pt x="19" y="29"/>
                      <a:pt x="19" y="29"/>
                    </a:cubicBezTo>
                    <a:cubicBezTo>
                      <a:pt x="19" y="29"/>
                      <a:pt x="19" y="29"/>
                      <a:pt x="19" y="29"/>
                    </a:cubicBezTo>
                    <a:cubicBezTo>
                      <a:pt x="19" y="30"/>
                      <a:pt x="19" y="30"/>
                      <a:pt x="19" y="30"/>
                    </a:cubicBezTo>
                    <a:cubicBezTo>
                      <a:pt x="19" y="30"/>
                      <a:pt x="19" y="30"/>
                      <a:pt x="19" y="30"/>
                    </a:cubicBezTo>
                    <a:cubicBezTo>
                      <a:pt x="19" y="30"/>
                      <a:pt x="19" y="31"/>
                      <a:pt x="19" y="31"/>
                    </a:cubicBezTo>
                    <a:cubicBezTo>
                      <a:pt x="23" y="35"/>
                      <a:pt x="23" y="35"/>
                      <a:pt x="23" y="35"/>
                    </a:cubicBezTo>
                    <a:cubicBezTo>
                      <a:pt x="27" y="31"/>
                      <a:pt x="27" y="31"/>
                      <a:pt x="27" y="31"/>
                    </a:cubicBezTo>
                    <a:cubicBezTo>
                      <a:pt x="23" y="27"/>
                      <a:pt x="23" y="27"/>
                      <a:pt x="23" y="27"/>
                    </a:cubicBezTo>
                    <a:cubicBezTo>
                      <a:pt x="23" y="27"/>
                      <a:pt x="22" y="27"/>
                      <a:pt x="22" y="27"/>
                    </a:cubicBezTo>
                    <a:cubicBezTo>
                      <a:pt x="22" y="27"/>
                      <a:pt x="22" y="27"/>
                      <a:pt x="22" y="27"/>
                    </a:cubicBezTo>
                    <a:cubicBezTo>
                      <a:pt x="21" y="27"/>
                      <a:pt x="21" y="27"/>
                      <a:pt x="21" y="27"/>
                    </a:cubicBezTo>
                    <a:cubicBezTo>
                      <a:pt x="21" y="27"/>
                      <a:pt x="21" y="27"/>
                      <a:pt x="21" y="27"/>
                    </a:cubicBezTo>
                    <a:cubicBezTo>
                      <a:pt x="24" y="24"/>
                      <a:pt x="24" y="24"/>
                      <a:pt x="24" y="24"/>
                    </a:cubicBezTo>
                    <a:cubicBezTo>
                      <a:pt x="24" y="25"/>
                      <a:pt x="24" y="25"/>
                      <a:pt x="24" y="25"/>
                    </a:cubicBezTo>
                    <a:cubicBezTo>
                      <a:pt x="24" y="25"/>
                      <a:pt x="24" y="25"/>
                      <a:pt x="24" y="25"/>
                    </a:cubicBezTo>
                    <a:cubicBezTo>
                      <a:pt x="24" y="25"/>
                      <a:pt x="24" y="25"/>
                      <a:pt x="24" y="26"/>
                    </a:cubicBezTo>
                    <a:cubicBezTo>
                      <a:pt x="24" y="26"/>
                      <a:pt x="24" y="26"/>
                      <a:pt x="24" y="26"/>
                    </a:cubicBezTo>
                    <a:cubicBezTo>
                      <a:pt x="33" y="36"/>
                      <a:pt x="33" y="36"/>
                      <a:pt x="33" y="36"/>
                    </a:cubicBezTo>
                    <a:close/>
                    <a:moveTo>
                      <a:pt x="38" y="26"/>
                    </a:moveTo>
                    <a:cubicBezTo>
                      <a:pt x="41" y="29"/>
                      <a:pt x="41" y="29"/>
                      <a:pt x="41" y="29"/>
                    </a:cubicBezTo>
                    <a:cubicBezTo>
                      <a:pt x="41" y="29"/>
                      <a:pt x="41" y="30"/>
                      <a:pt x="41" y="30"/>
                    </a:cubicBezTo>
                    <a:cubicBezTo>
                      <a:pt x="41" y="30"/>
                      <a:pt x="41" y="30"/>
                      <a:pt x="41" y="30"/>
                    </a:cubicBezTo>
                    <a:cubicBezTo>
                      <a:pt x="41" y="31"/>
                      <a:pt x="41" y="31"/>
                      <a:pt x="41" y="31"/>
                    </a:cubicBezTo>
                    <a:cubicBezTo>
                      <a:pt x="41" y="31"/>
                      <a:pt x="41" y="31"/>
                      <a:pt x="41" y="31"/>
                    </a:cubicBezTo>
                    <a:cubicBezTo>
                      <a:pt x="44" y="29"/>
                      <a:pt x="44" y="29"/>
                      <a:pt x="44" y="29"/>
                    </a:cubicBezTo>
                    <a:cubicBezTo>
                      <a:pt x="44" y="28"/>
                      <a:pt x="44" y="28"/>
                      <a:pt x="44" y="28"/>
                    </a:cubicBezTo>
                    <a:cubicBezTo>
                      <a:pt x="44" y="29"/>
                      <a:pt x="44" y="29"/>
                      <a:pt x="44" y="29"/>
                    </a:cubicBezTo>
                    <a:cubicBezTo>
                      <a:pt x="43" y="29"/>
                      <a:pt x="43" y="29"/>
                      <a:pt x="43" y="29"/>
                    </a:cubicBezTo>
                    <a:cubicBezTo>
                      <a:pt x="43" y="29"/>
                      <a:pt x="42" y="29"/>
                      <a:pt x="42" y="28"/>
                    </a:cubicBezTo>
                    <a:cubicBezTo>
                      <a:pt x="31" y="18"/>
                      <a:pt x="31" y="18"/>
                      <a:pt x="31" y="18"/>
                    </a:cubicBezTo>
                    <a:cubicBezTo>
                      <a:pt x="30" y="20"/>
                      <a:pt x="30" y="20"/>
                      <a:pt x="30" y="20"/>
                    </a:cubicBezTo>
                    <a:cubicBezTo>
                      <a:pt x="35" y="33"/>
                      <a:pt x="35" y="33"/>
                      <a:pt x="35" y="33"/>
                    </a:cubicBezTo>
                    <a:cubicBezTo>
                      <a:pt x="35" y="33"/>
                      <a:pt x="35" y="34"/>
                      <a:pt x="35" y="34"/>
                    </a:cubicBezTo>
                    <a:cubicBezTo>
                      <a:pt x="35" y="34"/>
                      <a:pt x="35" y="34"/>
                      <a:pt x="35" y="35"/>
                    </a:cubicBezTo>
                    <a:cubicBezTo>
                      <a:pt x="35" y="35"/>
                      <a:pt x="35" y="35"/>
                      <a:pt x="35" y="35"/>
                    </a:cubicBezTo>
                    <a:cubicBezTo>
                      <a:pt x="35" y="35"/>
                      <a:pt x="35" y="35"/>
                      <a:pt x="35" y="35"/>
                    </a:cubicBezTo>
                    <a:cubicBezTo>
                      <a:pt x="38" y="33"/>
                      <a:pt x="38" y="33"/>
                      <a:pt x="38" y="33"/>
                    </a:cubicBezTo>
                    <a:cubicBezTo>
                      <a:pt x="38" y="33"/>
                      <a:pt x="38" y="33"/>
                      <a:pt x="38" y="33"/>
                    </a:cubicBezTo>
                    <a:cubicBezTo>
                      <a:pt x="37" y="33"/>
                      <a:pt x="37" y="33"/>
                      <a:pt x="37" y="33"/>
                    </a:cubicBezTo>
                    <a:cubicBezTo>
                      <a:pt x="37" y="33"/>
                      <a:pt x="37" y="33"/>
                      <a:pt x="36" y="33"/>
                    </a:cubicBezTo>
                    <a:cubicBezTo>
                      <a:pt x="36" y="33"/>
                      <a:pt x="36" y="32"/>
                      <a:pt x="36" y="32"/>
                    </a:cubicBezTo>
                    <a:cubicBezTo>
                      <a:pt x="34" y="29"/>
                      <a:pt x="34" y="29"/>
                      <a:pt x="34" y="29"/>
                    </a:cubicBezTo>
                    <a:cubicBezTo>
                      <a:pt x="38" y="26"/>
                      <a:pt x="38" y="26"/>
                      <a:pt x="38" y="26"/>
                    </a:cubicBezTo>
                    <a:close/>
                    <a:moveTo>
                      <a:pt x="31" y="21"/>
                    </a:moveTo>
                    <a:cubicBezTo>
                      <a:pt x="31" y="21"/>
                      <a:pt x="31" y="21"/>
                      <a:pt x="31" y="21"/>
                    </a:cubicBezTo>
                    <a:cubicBezTo>
                      <a:pt x="34" y="28"/>
                      <a:pt x="34" y="28"/>
                      <a:pt x="34" y="28"/>
                    </a:cubicBezTo>
                    <a:cubicBezTo>
                      <a:pt x="37" y="26"/>
                      <a:pt x="37" y="26"/>
                      <a:pt x="37" y="26"/>
                    </a:cubicBezTo>
                    <a:cubicBezTo>
                      <a:pt x="31" y="21"/>
                      <a:pt x="31" y="21"/>
                      <a:pt x="31" y="21"/>
                    </a:cubicBezTo>
                    <a:close/>
                    <a:moveTo>
                      <a:pt x="51" y="21"/>
                    </a:moveTo>
                    <a:cubicBezTo>
                      <a:pt x="51" y="21"/>
                      <a:pt x="51" y="21"/>
                      <a:pt x="51" y="21"/>
                    </a:cubicBezTo>
                    <a:cubicBezTo>
                      <a:pt x="46" y="11"/>
                      <a:pt x="46" y="11"/>
                      <a:pt x="46" y="11"/>
                    </a:cubicBezTo>
                    <a:cubicBezTo>
                      <a:pt x="46" y="11"/>
                      <a:pt x="46" y="11"/>
                      <a:pt x="46" y="11"/>
                    </a:cubicBezTo>
                    <a:cubicBezTo>
                      <a:pt x="46" y="11"/>
                      <a:pt x="46" y="11"/>
                      <a:pt x="45" y="11"/>
                    </a:cubicBezTo>
                    <a:cubicBezTo>
                      <a:pt x="45" y="11"/>
                      <a:pt x="45" y="11"/>
                      <a:pt x="45" y="11"/>
                    </a:cubicBezTo>
                    <a:cubicBezTo>
                      <a:pt x="44" y="11"/>
                      <a:pt x="44" y="11"/>
                      <a:pt x="44" y="11"/>
                    </a:cubicBezTo>
                    <a:cubicBezTo>
                      <a:pt x="48" y="9"/>
                      <a:pt x="48" y="9"/>
                      <a:pt x="48" y="9"/>
                    </a:cubicBezTo>
                    <a:cubicBezTo>
                      <a:pt x="48" y="10"/>
                      <a:pt x="48" y="10"/>
                      <a:pt x="48" y="10"/>
                    </a:cubicBezTo>
                    <a:cubicBezTo>
                      <a:pt x="47" y="10"/>
                      <a:pt x="47" y="10"/>
                      <a:pt x="47" y="10"/>
                    </a:cubicBezTo>
                    <a:cubicBezTo>
                      <a:pt x="47" y="10"/>
                      <a:pt x="47" y="10"/>
                      <a:pt x="47" y="10"/>
                    </a:cubicBezTo>
                    <a:cubicBezTo>
                      <a:pt x="47" y="10"/>
                      <a:pt x="47" y="11"/>
                      <a:pt x="47" y="11"/>
                    </a:cubicBezTo>
                    <a:cubicBezTo>
                      <a:pt x="53" y="24"/>
                      <a:pt x="53" y="24"/>
                      <a:pt x="53" y="24"/>
                    </a:cubicBezTo>
                    <a:cubicBezTo>
                      <a:pt x="53" y="24"/>
                      <a:pt x="53" y="24"/>
                      <a:pt x="53" y="24"/>
                    </a:cubicBezTo>
                    <a:cubicBezTo>
                      <a:pt x="53" y="24"/>
                      <a:pt x="53" y="24"/>
                      <a:pt x="53" y="24"/>
                    </a:cubicBezTo>
                    <a:cubicBezTo>
                      <a:pt x="40" y="15"/>
                      <a:pt x="40" y="15"/>
                      <a:pt x="40" y="15"/>
                    </a:cubicBezTo>
                    <a:cubicBezTo>
                      <a:pt x="40" y="15"/>
                      <a:pt x="40" y="15"/>
                      <a:pt x="40" y="15"/>
                    </a:cubicBezTo>
                    <a:cubicBezTo>
                      <a:pt x="46" y="26"/>
                      <a:pt x="46" y="26"/>
                      <a:pt x="46" y="26"/>
                    </a:cubicBezTo>
                    <a:cubicBezTo>
                      <a:pt x="46" y="26"/>
                      <a:pt x="46" y="26"/>
                      <a:pt x="46" y="26"/>
                    </a:cubicBezTo>
                    <a:cubicBezTo>
                      <a:pt x="47" y="26"/>
                      <a:pt x="47" y="26"/>
                      <a:pt x="47" y="26"/>
                    </a:cubicBezTo>
                    <a:cubicBezTo>
                      <a:pt x="48" y="26"/>
                      <a:pt x="48" y="26"/>
                      <a:pt x="48" y="26"/>
                    </a:cubicBezTo>
                    <a:cubicBezTo>
                      <a:pt x="48" y="26"/>
                      <a:pt x="48" y="26"/>
                      <a:pt x="48" y="26"/>
                    </a:cubicBezTo>
                    <a:cubicBezTo>
                      <a:pt x="45" y="28"/>
                      <a:pt x="45" y="28"/>
                      <a:pt x="45" y="28"/>
                    </a:cubicBezTo>
                    <a:cubicBezTo>
                      <a:pt x="44" y="28"/>
                      <a:pt x="44" y="28"/>
                      <a:pt x="44" y="28"/>
                    </a:cubicBezTo>
                    <a:cubicBezTo>
                      <a:pt x="45" y="27"/>
                      <a:pt x="45" y="27"/>
                      <a:pt x="45" y="27"/>
                    </a:cubicBezTo>
                    <a:cubicBezTo>
                      <a:pt x="45" y="27"/>
                      <a:pt x="45" y="27"/>
                      <a:pt x="45" y="27"/>
                    </a:cubicBezTo>
                    <a:cubicBezTo>
                      <a:pt x="46" y="27"/>
                      <a:pt x="46" y="26"/>
                      <a:pt x="45" y="26"/>
                    </a:cubicBezTo>
                    <a:cubicBezTo>
                      <a:pt x="39" y="15"/>
                      <a:pt x="39" y="15"/>
                      <a:pt x="39" y="15"/>
                    </a:cubicBezTo>
                    <a:cubicBezTo>
                      <a:pt x="39" y="14"/>
                      <a:pt x="39" y="14"/>
                      <a:pt x="39" y="14"/>
                    </a:cubicBezTo>
                    <a:cubicBezTo>
                      <a:pt x="39" y="14"/>
                      <a:pt x="39" y="14"/>
                      <a:pt x="38" y="14"/>
                    </a:cubicBezTo>
                    <a:cubicBezTo>
                      <a:pt x="38" y="15"/>
                      <a:pt x="38" y="15"/>
                      <a:pt x="38" y="15"/>
                    </a:cubicBezTo>
                    <a:cubicBezTo>
                      <a:pt x="37" y="14"/>
                      <a:pt x="37" y="14"/>
                      <a:pt x="37" y="14"/>
                    </a:cubicBezTo>
                    <a:cubicBezTo>
                      <a:pt x="40" y="13"/>
                      <a:pt x="40" y="13"/>
                      <a:pt x="40" y="13"/>
                    </a:cubicBezTo>
                    <a:cubicBezTo>
                      <a:pt x="51" y="21"/>
                      <a:pt x="51" y="21"/>
                      <a:pt x="51" y="21"/>
                    </a:cubicBezTo>
                    <a:close/>
                    <a:moveTo>
                      <a:pt x="70" y="17"/>
                    </a:moveTo>
                    <a:cubicBezTo>
                      <a:pt x="70" y="17"/>
                      <a:pt x="71" y="17"/>
                      <a:pt x="72" y="16"/>
                    </a:cubicBezTo>
                    <a:cubicBezTo>
                      <a:pt x="72" y="15"/>
                      <a:pt x="72" y="14"/>
                      <a:pt x="72" y="14"/>
                    </a:cubicBezTo>
                    <a:cubicBezTo>
                      <a:pt x="70" y="3"/>
                      <a:pt x="70" y="3"/>
                      <a:pt x="70" y="3"/>
                    </a:cubicBezTo>
                    <a:cubicBezTo>
                      <a:pt x="70" y="3"/>
                      <a:pt x="69" y="3"/>
                      <a:pt x="69" y="3"/>
                    </a:cubicBezTo>
                    <a:cubicBezTo>
                      <a:pt x="69" y="3"/>
                      <a:pt x="69" y="3"/>
                      <a:pt x="69" y="3"/>
                    </a:cubicBezTo>
                    <a:cubicBezTo>
                      <a:pt x="68" y="3"/>
                      <a:pt x="68" y="3"/>
                      <a:pt x="68" y="3"/>
                    </a:cubicBezTo>
                    <a:cubicBezTo>
                      <a:pt x="68" y="2"/>
                      <a:pt x="68" y="2"/>
                      <a:pt x="68" y="2"/>
                    </a:cubicBezTo>
                    <a:cubicBezTo>
                      <a:pt x="71" y="1"/>
                      <a:pt x="71" y="1"/>
                      <a:pt x="71" y="1"/>
                    </a:cubicBezTo>
                    <a:cubicBezTo>
                      <a:pt x="71" y="2"/>
                      <a:pt x="71" y="2"/>
                      <a:pt x="71" y="2"/>
                    </a:cubicBezTo>
                    <a:cubicBezTo>
                      <a:pt x="71" y="2"/>
                      <a:pt x="71" y="2"/>
                      <a:pt x="71" y="2"/>
                    </a:cubicBezTo>
                    <a:cubicBezTo>
                      <a:pt x="71" y="2"/>
                      <a:pt x="70" y="2"/>
                      <a:pt x="70" y="2"/>
                    </a:cubicBezTo>
                    <a:cubicBezTo>
                      <a:pt x="70" y="3"/>
                      <a:pt x="70" y="3"/>
                      <a:pt x="70" y="3"/>
                    </a:cubicBezTo>
                    <a:cubicBezTo>
                      <a:pt x="73" y="13"/>
                      <a:pt x="73" y="13"/>
                      <a:pt x="73" y="13"/>
                    </a:cubicBezTo>
                    <a:cubicBezTo>
                      <a:pt x="73" y="15"/>
                      <a:pt x="73" y="16"/>
                      <a:pt x="72" y="16"/>
                    </a:cubicBezTo>
                    <a:cubicBezTo>
                      <a:pt x="71" y="17"/>
                      <a:pt x="71" y="18"/>
                      <a:pt x="70" y="18"/>
                    </a:cubicBezTo>
                    <a:cubicBezTo>
                      <a:pt x="68" y="18"/>
                      <a:pt x="67" y="18"/>
                      <a:pt x="66" y="18"/>
                    </a:cubicBezTo>
                    <a:cubicBezTo>
                      <a:pt x="66" y="17"/>
                      <a:pt x="65" y="17"/>
                      <a:pt x="65" y="15"/>
                    </a:cubicBezTo>
                    <a:cubicBezTo>
                      <a:pt x="62" y="5"/>
                      <a:pt x="62" y="5"/>
                      <a:pt x="62" y="5"/>
                    </a:cubicBezTo>
                    <a:cubicBezTo>
                      <a:pt x="62" y="5"/>
                      <a:pt x="62" y="4"/>
                      <a:pt x="62" y="4"/>
                    </a:cubicBezTo>
                    <a:cubicBezTo>
                      <a:pt x="62" y="4"/>
                      <a:pt x="62" y="4"/>
                      <a:pt x="61" y="4"/>
                    </a:cubicBezTo>
                    <a:cubicBezTo>
                      <a:pt x="61" y="4"/>
                      <a:pt x="61" y="4"/>
                      <a:pt x="61" y="4"/>
                    </a:cubicBezTo>
                    <a:cubicBezTo>
                      <a:pt x="61" y="4"/>
                      <a:pt x="61" y="4"/>
                      <a:pt x="61" y="4"/>
                    </a:cubicBezTo>
                    <a:cubicBezTo>
                      <a:pt x="65" y="3"/>
                      <a:pt x="65" y="3"/>
                      <a:pt x="65" y="3"/>
                    </a:cubicBezTo>
                    <a:cubicBezTo>
                      <a:pt x="65" y="4"/>
                      <a:pt x="65" y="4"/>
                      <a:pt x="65" y="4"/>
                    </a:cubicBezTo>
                    <a:cubicBezTo>
                      <a:pt x="64" y="4"/>
                      <a:pt x="64" y="4"/>
                      <a:pt x="64" y="4"/>
                    </a:cubicBezTo>
                    <a:cubicBezTo>
                      <a:pt x="64" y="4"/>
                      <a:pt x="64" y="4"/>
                      <a:pt x="64" y="4"/>
                    </a:cubicBezTo>
                    <a:cubicBezTo>
                      <a:pt x="64" y="4"/>
                      <a:pt x="64" y="4"/>
                      <a:pt x="64" y="5"/>
                    </a:cubicBezTo>
                    <a:cubicBezTo>
                      <a:pt x="66" y="15"/>
                      <a:pt x="66" y="15"/>
                      <a:pt x="66" y="15"/>
                    </a:cubicBezTo>
                    <a:cubicBezTo>
                      <a:pt x="66" y="16"/>
                      <a:pt x="67" y="17"/>
                      <a:pt x="67" y="17"/>
                    </a:cubicBezTo>
                    <a:cubicBezTo>
                      <a:pt x="68" y="18"/>
                      <a:pt x="69" y="18"/>
                      <a:pt x="70" y="17"/>
                    </a:cubicBezTo>
                    <a:close/>
                    <a:moveTo>
                      <a:pt x="84" y="12"/>
                    </a:moveTo>
                    <a:cubicBezTo>
                      <a:pt x="84" y="12"/>
                      <a:pt x="84" y="12"/>
                      <a:pt x="84" y="12"/>
                    </a:cubicBezTo>
                    <a:cubicBezTo>
                      <a:pt x="84" y="1"/>
                      <a:pt x="84" y="1"/>
                      <a:pt x="84" y="1"/>
                    </a:cubicBezTo>
                    <a:cubicBezTo>
                      <a:pt x="84" y="1"/>
                      <a:pt x="84" y="1"/>
                      <a:pt x="83" y="1"/>
                    </a:cubicBezTo>
                    <a:cubicBezTo>
                      <a:pt x="83" y="1"/>
                      <a:pt x="83" y="1"/>
                      <a:pt x="83" y="1"/>
                    </a:cubicBezTo>
                    <a:cubicBezTo>
                      <a:pt x="82" y="1"/>
                      <a:pt x="82" y="1"/>
                      <a:pt x="82" y="1"/>
                    </a:cubicBezTo>
                    <a:cubicBezTo>
                      <a:pt x="82" y="0"/>
                      <a:pt x="82" y="0"/>
                      <a:pt x="82" y="0"/>
                    </a:cubicBezTo>
                    <a:cubicBezTo>
                      <a:pt x="86" y="0"/>
                      <a:pt x="86" y="0"/>
                      <a:pt x="86" y="0"/>
                    </a:cubicBezTo>
                    <a:cubicBezTo>
                      <a:pt x="86" y="1"/>
                      <a:pt x="86" y="1"/>
                      <a:pt x="86" y="1"/>
                    </a:cubicBezTo>
                    <a:cubicBezTo>
                      <a:pt x="85" y="1"/>
                      <a:pt x="85" y="1"/>
                      <a:pt x="85" y="1"/>
                    </a:cubicBezTo>
                    <a:cubicBezTo>
                      <a:pt x="85" y="1"/>
                      <a:pt x="85" y="1"/>
                      <a:pt x="84" y="1"/>
                    </a:cubicBezTo>
                    <a:cubicBezTo>
                      <a:pt x="84" y="1"/>
                      <a:pt x="84" y="1"/>
                      <a:pt x="84" y="1"/>
                    </a:cubicBezTo>
                    <a:cubicBezTo>
                      <a:pt x="85" y="16"/>
                      <a:pt x="85" y="16"/>
                      <a:pt x="85" y="16"/>
                    </a:cubicBezTo>
                    <a:cubicBezTo>
                      <a:pt x="85" y="16"/>
                      <a:pt x="85" y="16"/>
                      <a:pt x="85" y="16"/>
                    </a:cubicBezTo>
                    <a:cubicBezTo>
                      <a:pt x="85" y="16"/>
                      <a:pt x="85" y="16"/>
                      <a:pt x="85" y="16"/>
                    </a:cubicBezTo>
                    <a:cubicBezTo>
                      <a:pt x="77" y="3"/>
                      <a:pt x="77" y="3"/>
                      <a:pt x="77" y="3"/>
                    </a:cubicBezTo>
                    <a:cubicBezTo>
                      <a:pt x="77" y="3"/>
                      <a:pt x="77" y="3"/>
                      <a:pt x="77" y="3"/>
                    </a:cubicBezTo>
                    <a:cubicBezTo>
                      <a:pt x="77" y="15"/>
                      <a:pt x="77" y="15"/>
                      <a:pt x="77" y="15"/>
                    </a:cubicBezTo>
                    <a:cubicBezTo>
                      <a:pt x="77" y="15"/>
                      <a:pt x="78" y="15"/>
                      <a:pt x="78" y="16"/>
                    </a:cubicBezTo>
                    <a:cubicBezTo>
                      <a:pt x="78" y="16"/>
                      <a:pt x="78" y="16"/>
                      <a:pt x="78" y="16"/>
                    </a:cubicBezTo>
                    <a:cubicBezTo>
                      <a:pt x="79" y="16"/>
                      <a:pt x="79" y="16"/>
                      <a:pt x="79" y="16"/>
                    </a:cubicBezTo>
                    <a:cubicBezTo>
                      <a:pt x="79" y="16"/>
                      <a:pt x="79" y="16"/>
                      <a:pt x="79" y="16"/>
                    </a:cubicBezTo>
                    <a:cubicBezTo>
                      <a:pt x="75" y="16"/>
                      <a:pt x="75" y="16"/>
                      <a:pt x="75" y="16"/>
                    </a:cubicBezTo>
                    <a:cubicBezTo>
                      <a:pt x="75" y="16"/>
                      <a:pt x="75" y="16"/>
                      <a:pt x="75" y="16"/>
                    </a:cubicBezTo>
                    <a:cubicBezTo>
                      <a:pt x="76" y="16"/>
                      <a:pt x="76" y="16"/>
                      <a:pt x="76" y="16"/>
                    </a:cubicBezTo>
                    <a:cubicBezTo>
                      <a:pt x="76" y="16"/>
                      <a:pt x="77" y="16"/>
                      <a:pt x="77" y="16"/>
                    </a:cubicBezTo>
                    <a:cubicBezTo>
                      <a:pt x="77" y="15"/>
                      <a:pt x="77" y="15"/>
                      <a:pt x="77" y="15"/>
                    </a:cubicBezTo>
                    <a:cubicBezTo>
                      <a:pt x="76" y="2"/>
                      <a:pt x="76" y="2"/>
                      <a:pt x="76" y="2"/>
                    </a:cubicBezTo>
                    <a:cubicBezTo>
                      <a:pt x="76" y="2"/>
                      <a:pt x="76" y="2"/>
                      <a:pt x="76" y="1"/>
                    </a:cubicBezTo>
                    <a:cubicBezTo>
                      <a:pt x="76" y="1"/>
                      <a:pt x="75" y="1"/>
                      <a:pt x="75" y="1"/>
                    </a:cubicBezTo>
                    <a:cubicBezTo>
                      <a:pt x="74" y="1"/>
                      <a:pt x="74" y="1"/>
                      <a:pt x="74" y="1"/>
                    </a:cubicBezTo>
                    <a:cubicBezTo>
                      <a:pt x="74" y="1"/>
                      <a:pt x="74" y="1"/>
                      <a:pt x="74" y="1"/>
                    </a:cubicBezTo>
                    <a:cubicBezTo>
                      <a:pt x="77" y="1"/>
                      <a:pt x="77" y="1"/>
                      <a:pt x="77" y="1"/>
                    </a:cubicBezTo>
                    <a:cubicBezTo>
                      <a:pt x="84" y="12"/>
                      <a:pt x="84" y="12"/>
                      <a:pt x="84" y="12"/>
                    </a:cubicBezTo>
                    <a:close/>
                    <a:moveTo>
                      <a:pt x="90" y="1"/>
                    </a:moveTo>
                    <a:cubicBezTo>
                      <a:pt x="90" y="0"/>
                      <a:pt x="90" y="0"/>
                      <a:pt x="90" y="0"/>
                    </a:cubicBezTo>
                    <a:cubicBezTo>
                      <a:pt x="98" y="1"/>
                      <a:pt x="98" y="1"/>
                      <a:pt x="98" y="1"/>
                    </a:cubicBezTo>
                    <a:cubicBezTo>
                      <a:pt x="98" y="1"/>
                      <a:pt x="98" y="1"/>
                      <a:pt x="98" y="1"/>
                    </a:cubicBezTo>
                    <a:cubicBezTo>
                      <a:pt x="96" y="1"/>
                      <a:pt x="96" y="1"/>
                      <a:pt x="96" y="1"/>
                    </a:cubicBezTo>
                    <a:cubicBezTo>
                      <a:pt x="95" y="1"/>
                      <a:pt x="95" y="1"/>
                      <a:pt x="95" y="1"/>
                    </a:cubicBezTo>
                    <a:cubicBezTo>
                      <a:pt x="95" y="1"/>
                      <a:pt x="95" y="1"/>
                      <a:pt x="95" y="2"/>
                    </a:cubicBezTo>
                    <a:cubicBezTo>
                      <a:pt x="94" y="15"/>
                      <a:pt x="94" y="15"/>
                      <a:pt x="94" y="15"/>
                    </a:cubicBezTo>
                    <a:cubicBezTo>
                      <a:pt x="94" y="15"/>
                      <a:pt x="94" y="15"/>
                      <a:pt x="94" y="15"/>
                    </a:cubicBezTo>
                    <a:cubicBezTo>
                      <a:pt x="94" y="15"/>
                      <a:pt x="94" y="15"/>
                      <a:pt x="95" y="15"/>
                    </a:cubicBezTo>
                    <a:cubicBezTo>
                      <a:pt x="97" y="16"/>
                      <a:pt x="97" y="16"/>
                      <a:pt x="97" y="16"/>
                    </a:cubicBezTo>
                    <a:cubicBezTo>
                      <a:pt x="97" y="16"/>
                      <a:pt x="97" y="16"/>
                      <a:pt x="97" y="16"/>
                    </a:cubicBezTo>
                    <a:cubicBezTo>
                      <a:pt x="89" y="16"/>
                      <a:pt x="89" y="16"/>
                      <a:pt x="89" y="16"/>
                    </a:cubicBezTo>
                    <a:cubicBezTo>
                      <a:pt x="89" y="15"/>
                      <a:pt x="89" y="15"/>
                      <a:pt x="89" y="15"/>
                    </a:cubicBezTo>
                    <a:cubicBezTo>
                      <a:pt x="91" y="15"/>
                      <a:pt x="91" y="15"/>
                      <a:pt x="91" y="15"/>
                    </a:cubicBezTo>
                    <a:cubicBezTo>
                      <a:pt x="92" y="15"/>
                      <a:pt x="92" y="15"/>
                      <a:pt x="92" y="15"/>
                    </a:cubicBezTo>
                    <a:cubicBezTo>
                      <a:pt x="92" y="15"/>
                      <a:pt x="92" y="15"/>
                      <a:pt x="92" y="15"/>
                    </a:cubicBezTo>
                    <a:cubicBezTo>
                      <a:pt x="93" y="2"/>
                      <a:pt x="93" y="2"/>
                      <a:pt x="93" y="2"/>
                    </a:cubicBezTo>
                    <a:cubicBezTo>
                      <a:pt x="93" y="1"/>
                      <a:pt x="93" y="1"/>
                      <a:pt x="93" y="1"/>
                    </a:cubicBezTo>
                    <a:cubicBezTo>
                      <a:pt x="93" y="1"/>
                      <a:pt x="93" y="1"/>
                      <a:pt x="92" y="1"/>
                    </a:cubicBezTo>
                    <a:cubicBezTo>
                      <a:pt x="90" y="1"/>
                      <a:pt x="90" y="1"/>
                      <a:pt x="90" y="1"/>
                    </a:cubicBezTo>
                    <a:close/>
                    <a:moveTo>
                      <a:pt x="109" y="3"/>
                    </a:moveTo>
                    <a:cubicBezTo>
                      <a:pt x="109" y="2"/>
                      <a:pt x="109" y="2"/>
                      <a:pt x="109" y="2"/>
                    </a:cubicBezTo>
                    <a:cubicBezTo>
                      <a:pt x="113" y="3"/>
                      <a:pt x="113" y="3"/>
                      <a:pt x="113" y="3"/>
                    </a:cubicBezTo>
                    <a:cubicBezTo>
                      <a:pt x="113" y="3"/>
                      <a:pt x="113" y="3"/>
                      <a:pt x="113" y="3"/>
                    </a:cubicBezTo>
                    <a:cubicBezTo>
                      <a:pt x="112" y="3"/>
                      <a:pt x="112" y="3"/>
                      <a:pt x="112" y="3"/>
                    </a:cubicBezTo>
                    <a:cubicBezTo>
                      <a:pt x="112" y="3"/>
                      <a:pt x="112" y="3"/>
                      <a:pt x="111" y="4"/>
                    </a:cubicBezTo>
                    <a:cubicBezTo>
                      <a:pt x="111" y="4"/>
                      <a:pt x="111" y="4"/>
                      <a:pt x="111" y="4"/>
                    </a:cubicBezTo>
                    <a:cubicBezTo>
                      <a:pt x="105" y="17"/>
                      <a:pt x="105" y="17"/>
                      <a:pt x="105" y="17"/>
                    </a:cubicBezTo>
                    <a:cubicBezTo>
                      <a:pt x="104" y="17"/>
                      <a:pt x="104" y="17"/>
                      <a:pt x="104" y="17"/>
                    </a:cubicBezTo>
                    <a:cubicBezTo>
                      <a:pt x="103" y="3"/>
                      <a:pt x="103" y="3"/>
                      <a:pt x="103" y="3"/>
                    </a:cubicBezTo>
                    <a:cubicBezTo>
                      <a:pt x="103" y="3"/>
                      <a:pt x="103" y="2"/>
                      <a:pt x="103" y="2"/>
                    </a:cubicBezTo>
                    <a:cubicBezTo>
                      <a:pt x="103" y="2"/>
                      <a:pt x="103" y="2"/>
                      <a:pt x="102" y="2"/>
                    </a:cubicBezTo>
                    <a:cubicBezTo>
                      <a:pt x="102" y="2"/>
                      <a:pt x="102" y="2"/>
                      <a:pt x="102" y="2"/>
                    </a:cubicBezTo>
                    <a:cubicBezTo>
                      <a:pt x="102" y="1"/>
                      <a:pt x="102" y="1"/>
                      <a:pt x="102" y="1"/>
                    </a:cubicBezTo>
                    <a:cubicBezTo>
                      <a:pt x="106" y="2"/>
                      <a:pt x="106" y="2"/>
                      <a:pt x="106" y="2"/>
                    </a:cubicBezTo>
                    <a:cubicBezTo>
                      <a:pt x="106" y="2"/>
                      <a:pt x="106" y="2"/>
                      <a:pt x="106" y="2"/>
                    </a:cubicBezTo>
                    <a:cubicBezTo>
                      <a:pt x="105" y="2"/>
                      <a:pt x="105" y="2"/>
                      <a:pt x="105" y="2"/>
                    </a:cubicBezTo>
                    <a:cubicBezTo>
                      <a:pt x="105" y="2"/>
                      <a:pt x="105" y="2"/>
                      <a:pt x="105" y="2"/>
                    </a:cubicBezTo>
                    <a:cubicBezTo>
                      <a:pt x="105" y="3"/>
                      <a:pt x="105" y="3"/>
                      <a:pt x="105" y="3"/>
                    </a:cubicBezTo>
                    <a:cubicBezTo>
                      <a:pt x="105" y="14"/>
                      <a:pt x="105" y="14"/>
                      <a:pt x="105" y="14"/>
                    </a:cubicBezTo>
                    <a:cubicBezTo>
                      <a:pt x="106" y="14"/>
                      <a:pt x="106" y="14"/>
                      <a:pt x="106" y="14"/>
                    </a:cubicBezTo>
                    <a:cubicBezTo>
                      <a:pt x="110" y="4"/>
                      <a:pt x="110" y="4"/>
                      <a:pt x="110" y="4"/>
                    </a:cubicBezTo>
                    <a:cubicBezTo>
                      <a:pt x="110" y="4"/>
                      <a:pt x="110" y="4"/>
                      <a:pt x="110" y="3"/>
                    </a:cubicBezTo>
                    <a:cubicBezTo>
                      <a:pt x="110" y="3"/>
                      <a:pt x="110" y="3"/>
                      <a:pt x="110" y="3"/>
                    </a:cubicBezTo>
                    <a:cubicBezTo>
                      <a:pt x="109" y="3"/>
                      <a:pt x="109" y="3"/>
                      <a:pt x="109" y="3"/>
                    </a:cubicBezTo>
                    <a:close/>
                    <a:moveTo>
                      <a:pt x="116" y="5"/>
                    </a:moveTo>
                    <a:cubicBezTo>
                      <a:pt x="116" y="5"/>
                      <a:pt x="116" y="5"/>
                      <a:pt x="116" y="5"/>
                    </a:cubicBezTo>
                    <a:cubicBezTo>
                      <a:pt x="117" y="5"/>
                      <a:pt x="117" y="5"/>
                      <a:pt x="117" y="5"/>
                    </a:cubicBezTo>
                    <a:cubicBezTo>
                      <a:pt x="117" y="5"/>
                      <a:pt x="117" y="6"/>
                      <a:pt x="117" y="6"/>
                    </a:cubicBezTo>
                    <a:cubicBezTo>
                      <a:pt x="113" y="18"/>
                      <a:pt x="113" y="18"/>
                      <a:pt x="113" y="18"/>
                    </a:cubicBezTo>
                    <a:cubicBezTo>
                      <a:pt x="113" y="18"/>
                      <a:pt x="113" y="19"/>
                      <a:pt x="113" y="19"/>
                    </a:cubicBezTo>
                    <a:cubicBezTo>
                      <a:pt x="112" y="19"/>
                      <a:pt x="112" y="19"/>
                      <a:pt x="112" y="19"/>
                    </a:cubicBezTo>
                    <a:cubicBezTo>
                      <a:pt x="111" y="18"/>
                      <a:pt x="111" y="18"/>
                      <a:pt x="111" y="18"/>
                    </a:cubicBezTo>
                    <a:cubicBezTo>
                      <a:pt x="111" y="19"/>
                      <a:pt x="111" y="19"/>
                      <a:pt x="111" y="19"/>
                    </a:cubicBezTo>
                    <a:cubicBezTo>
                      <a:pt x="120" y="22"/>
                      <a:pt x="120" y="22"/>
                      <a:pt x="120" y="22"/>
                    </a:cubicBezTo>
                    <a:cubicBezTo>
                      <a:pt x="122" y="19"/>
                      <a:pt x="122" y="19"/>
                      <a:pt x="122" y="19"/>
                    </a:cubicBezTo>
                    <a:cubicBezTo>
                      <a:pt x="122" y="18"/>
                      <a:pt x="122" y="18"/>
                      <a:pt x="122" y="18"/>
                    </a:cubicBezTo>
                    <a:cubicBezTo>
                      <a:pt x="121" y="19"/>
                      <a:pt x="120" y="20"/>
                      <a:pt x="120" y="20"/>
                    </a:cubicBezTo>
                    <a:cubicBezTo>
                      <a:pt x="119" y="21"/>
                      <a:pt x="118" y="21"/>
                      <a:pt x="117" y="20"/>
                    </a:cubicBezTo>
                    <a:cubicBezTo>
                      <a:pt x="115" y="20"/>
                      <a:pt x="115" y="20"/>
                      <a:pt x="115" y="20"/>
                    </a:cubicBezTo>
                    <a:cubicBezTo>
                      <a:pt x="115" y="20"/>
                      <a:pt x="114" y="19"/>
                      <a:pt x="114" y="19"/>
                    </a:cubicBezTo>
                    <a:cubicBezTo>
                      <a:pt x="114" y="19"/>
                      <a:pt x="114" y="19"/>
                      <a:pt x="114" y="19"/>
                    </a:cubicBezTo>
                    <a:cubicBezTo>
                      <a:pt x="116" y="12"/>
                      <a:pt x="116" y="12"/>
                      <a:pt x="116" y="12"/>
                    </a:cubicBezTo>
                    <a:cubicBezTo>
                      <a:pt x="119" y="13"/>
                      <a:pt x="119" y="13"/>
                      <a:pt x="119" y="13"/>
                    </a:cubicBezTo>
                    <a:cubicBezTo>
                      <a:pt x="120" y="13"/>
                      <a:pt x="120" y="13"/>
                      <a:pt x="120" y="14"/>
                    </a:cubicBezTo>
                    <a:cubicBezTo>
                      <a:pt x="120" y="14"/>
                      <a:pt x="120" y="15"/>
                      <a:pt x="120" y="15"/>
                    </a:cubicBezTo>
                    <a:cubicBezTo>
                      <a:pt x="120" y="16"/>
                      <a:pt x="120" y="16"/>
                      <a:pt x="120" y="16"/>
                    </a:cubicBezTo>
                    <a:cubicBezTo>
                      <a:pt x="120" y="16"/>
                      <a:pt x="120" y="16"/>
                      <a:pt x="120" y="16"/>
                    </a:cubicBezTo>
                    <a:cubicBezTo>
                      <a:pt x="122" y="11"/>
                      <a:pt x="122" y="11"/>
                      <a:pt x="122" y="11"/>
                    </a:cubicBezTo>
                    <a:cubicBezTo>
                      <a:pt x="122" y="11"/>
                      <a:pt x="122" y="11"/>
                      <a:pt x="122" y="11"/>
                    </a:cubicBezTo>
                    <a:cubicBezTo>
                      <a:pt x="121" y="11"/>
                      <a:pt x="121" y="11"/>
                      <a:pt x="121" y="11"/>
                    </a:cubicBezTo>
                    <a:cubicBezTo>
                      <a:pt x="121" y="12"/>
                      <a:pt x="121" y="12"/>
                      <a:pt x="121" y="12"/>
                    </a:cubicBezTo>
                    <a:cubicBezTo>
                      <a:pt x="120" y="13"/>
                      <a:pt x="120" y="13"/>
                      <a:pt x="119" y="12"/>
                    </a:cubicBezTo>
                    <a:cubicBezTo>
                      <a:pt x="117" y="12"/>
                      <a:pt x="117" y="12"/>
                      <a:pt x="117" y="12"/>
                    </a:cubicBezTo>
                    <a:cubicBezTo>
                      <a:pt x="118" y="6"/>
                      <a:pt x="118" y="6"/>
                      <a:pt x="118" y="6"/>
                    </a:cubicBezTo>
                    <a:cubicBezTo>
                      <a:pt x="118" y="6"/>
                      <a:pt x="119" y="6"/>
                      <a:pt x="119" y="6"/>
                    </a:cubicBezTo>
                    <a:cubicBezTo>
                      <a:pt x="119" y="6"/>
                      <a:pt x="119" y="6"/>
                      <a:pt x="119" y="6"/>
                    </a:cubicBezTo>
                    <a:cubicBezTo>
                      <a:pt x="122" y="7"/>
                      <a:pt x="122" y="7"/>
                      <a:pt x="122" y="7"/>
                    </a:cubicBezTo>
                    <a:cubicBezTo>
                      <a:pt x="122" y="7"/>
                      <a:pt x="123" y="7"/>
                      <a:pt x="123" y="8"/>
                    </a:cubicBezTo>
                    <a:cubicBezTo>
                      <a:pt x="124" y="8"/>
                      <a:pt x="124" y="9"/>
                      <a:pt x="124" y="10"/>
                    </a:cubicBezTo>
                    <a:cubicBezTo>
                      <a:pt x="125" y="10"/>
                      <a:pt x="125" y="10"/>
                      <a:pt x="125" y="10"/>
                    </a:cubicBezTo>
                    <a:cubicBezTo>
                      <a:pt x="125" y="7"/>
                      <a:pt x="125" y="7"/>
                      <a:pt x="125" y="7"/>
                    </a:cubicBezTo>
                    <a:cubicBezTo>
                      <a:pt x="116" y="4"/>
                      <a:pt x="116" y="4"/>
                      <a:pt x="116" y="4"/>
                    </a:cubicBezTo>
                    <a:cubicBezTo>
                      <a:pt x="116" y="5"/>
                      <a:pt x="116" y="5"/>
                      <a:pt x="116" y="5"/>
                    </a:cubicBezTo>
                    <a:close/>
                    <a:moveTo>
                      <a:pt x="136" y="17"/>
                    </a:moveTo>
                    <a:cubicBezTo>
                      <a:pt x="136" y="18"/>
                      <a:pt x="135" y="19"/>
                      <a:pt x="134" y="19"/>
                    </a:cubicBezTo>
                    <a:cubicBezTo>
                      <a:pt x="133" y="19"/>
                      <a:pt x="133" y="19"/>
                      <a:pt x="132" y="19"/>
                    </a:cubicBezTo>
                    <a:cubicBezTo>
                      <a:pt x="131" y="26"/>
                      <a:pt x="131" y="26"/>
                      <a:pt x="131" y="26"/>
                    </a:cubicBezTo>
                    <a:cubicBezTo>
                      <a:pt x="131" y="26"/>
                      <a:pt x="131" y="27"/>
                      <a:pt x="131" y="27"/>
                    </a:cubicBezTo>
                    <a:cubicBezTo>
                      <a:pt x="131" y="27"/>
                      <a:pt x="131" y="27"/>
                      <a:pt x="132" y="27"/>
                    </a:cubicBezTo>
                    <a:cubicBezTo>
                      <a:pt x="132" y="27"/>
                      <a:pt x="132" y="27"/>
                      <a:pt x="132" y="27"/>
                    </a:cubicBezTo>
                    <a:cubicBezTo>
                      <a:pt x="132" y="28"/>
                      <a:pt x="132" y="28"/>
                      <a:pt x="132" y="28"/>
                    </a:cubicBezTo>
                    <a:cubicBezTo>
                      <a:pt x="130" y="27"/>
                      <a:pt x="130" y="27"/>
                      <a:pt x="130" y="27"/>
                    </a:cubicBezTo>
                    <a:cubicBezTo>
                      <a:pt x="130" y="18"/>
                      <a:pt x="130" y="18"/>
                      <a:pt x="130" y="18"/>
                    </a:cubicBezTo>
                    <a:cubicBezTo>
                      <a:pt x="129" y="17"/>
                      <a:pt x="129" y="17"/>
                      <a:pt x="129" y="17"/>
                    </a:cubicBezTo>
                    <a:cubicBezTo>
                      <a:pt x="126" y="23"/>
                      <a:pt x="126" y="23"/>
                      <a:pt x="126" y="23"/>
                    </a:cubicBezTo>
                    <a:cubicBezTo>
                      <a:pt x="125" y="24"/>
                      <a:pt x="125" y="24"/>
                      <a:pt x="126" y="24"/>
                    </a:cubicBezTo>
                    <a:cubicBezTo>
                      <a:pt x="126" y="24"/>
                      <a:pt x="126" y="24"/>
                      <a:pt x="126" y="24"/>
                    </a:cubicBezTo>
                    <a:cubicBezTo>
                      <a:pt x="126" y="25"/>
                      <a:pt x="126" y="25"/>
                      <a:pt x="126" y="25"/>
                    </a:cubicBezTo>
                    <a:cubicBezTo>
                      <a:pt x="126" y="25"/>
                      <a:pt x="126" y="25"/>
                      <a:pt x="126" y="25"/>
                    </a:cubicBezTo>
                    <a:cubicBezTo>
                      <a:pt x="122" y="23"/>
                      <a:pt x="122" y="23"/>
                      <a:pt x="122" y="23"/>
                    </a:cubicBezTo>
                    <a:cubicBezTo>
                      <a:pt x="123" y="23"/>
                      <a:pt x="123" y="23"/>
                      <a:pt x="123" y="23"/>
                    </a:cubicBezTo>
                    <a:cubicBezTo>
                      <a:pt x="123" y="23"/>
                      <a:pt x="123" y="23"/>
                      <a:pt x="123" y="23"/>
                    </a:cubicBezTo>
                    <a:cubicBezTo>
                      <a:pt x="123" y="23"/>
                      <a:pt x="124" y="23"/>
                      <a:pt x="124" y="23"/>
                    </a:cubicBezTo>
                    <a:cubicBezTo>
                      <a:pt x="124" y="23"/>
                      <a:pt x="124" y="23"/>
                      <a:pt x="124" y="23"/>
                    </a:cubicBezTo>
                    <a:cubicBezTo>
                      <a:pt x="130" y="11"/>
                      <a:pt x="130" y="11"/>
                      <a:pt x="130" y="11"/>
                    </a:cubicBezTo>
                    <a:cubicBezTo>
                      <a:pt x="130" y="11"/>
                      <a:pt x="130" y="11"/>
                      <a:pt x="130" y="10"/>
                    </a:cubicBezTo>
                    <a:cubicBezTo>
                      <a:pt x="130" y="10"/>
                      <a:pt x="130" y="10"/>
                      <a:pt x="130" y="10"/>
                    </a:cubicBezTo>
                    <a:cubicBezTo>
                      <a:pt x="129" y="10"/>
                      <a:pt x="129" y="10"/>
                      <a:pt x="129" y="10"/>
                    </a:cubicBezTo>
                    <a:cubicBezTo>
                      <a:pt x="130" y="9"/>
                      <a:pt x="130" y="9"/>
                      <a:pt x="130" y="9"/>
                    </a:cubicBezTo>
                    <a:cubicBezTo>
                      <a:pt x="134" y="12"/>
                      <a:pt x="134" y="12"/>
                      <a:pt x="134" y="12"/>
                    </a:cubicBezTo>
                    <a:cubicBezTo>
                      <a:pt x="135" y="12"/>
                      <a:pt x="136" y="13"/>
                      <a:pt x="137" y="14"/>
                    </a:cubicBezTo>
                    <a:cubicBezTo>
                      <a:pt x="137" y="15"/>
                      <a:pt x="137" y="16"/>
                      <a:pt x="136" y="17"/>
                    </a:cubicBezTo>
                    <a:close/>
                    <a:moveTo>
                      <a:pt x="129" y="17"/>
                    </a:moveTo>
                    <a:cubicBezTo>
                      <a:pt x="131" y="18"/>
                      <a:pt x="131" y="18"/>
                      <a:pt x="131" y="18"/>
                    </a:cubicBezTo>
                    <a:cubicBezTo>
                      <a:pt x="131" y="18"/>
                      <a:pt x="132" y="18"/>
                      <a:pt x="133" y="18"/>
                    </a:cubicBezTo>
                    <a:cubicBezTo>
                      <a:pt x="134" y="18"/>
                      <a:pt x="134" y="17"/>
                      <a:pt x="135" y="16"/>
                    </a:cubicBezTo>
                    <a:cubicBezTo>
                      <a:pt x="135" y="15"/>
                      <a:pt x="136" y="15"/>
                      <a:pt x="135" y="14"/>
                    </a:cubicBezTo>
                    <a:cubicBezTo>
                      <a:pt x="135" y="13"/>
                      <a:pt x="135" y="12"/>
                      <a:pt x="133" y="12"/>
                    </a:cubicBezTo>
                    <a:cubicBezTo>
                      <a:pt x="133" y="11"/>
                      <a:pt x="133" y="11"/>
                      <a:pt x="133" y="11"/>
                    </a:cubicBezTo>
                    <a:cubicBezTo>
                      <a:pt x="132" y="11"/>
                      <a:pt x="132" y="11"/>
                      <a:pt x="132" y="11"/>
                    </a:cubicBezTo>
                    <a:cubicBezTo>
                      <a:pt x="132" y="11"/>
                      <a:pt x="132" y="11"/>
                      <a:pt x="132" y="12"/>
                    </a:cubicBezTo>
                    <a:cubicBezTo>
                      <a:pt x="129" y="17"/>
                      <a:pt x="129" y="17"/>
                      <a:pt x="129" y="17"/>
                    </a:cubicBezTo>
                    <a:close/>
                    <a:moveTo>
                      <a:pt x="141" y="25"/>
                    </a:moveTo>
                    <a:cubicBezTo>
                      <a:pt x="142" y="27"/>
                      <a:pt x="142" y="28"/>
                      <a:pt x="142" y="28"/>
                    </a:cubicBezTo>
                    <a:cubicBezTo>
                      <a:pt x="142" y="29"/>
                      <a:pt x="142" y="30"/>
                      <a:pt x="142" y="30"/>
                    </a:cubicBezTo>
                    <a:cubicBezTo>
                      <a:pt x="141" y="31"/>
                      <a:pt x="141" y="32"/>
                      <a:pt x="140" y="32"/>
                    </a:cubicBezTo>
                    <a:cubicBezTo>
                      <a:pt x="139" y="32"/>
                      <a:pt x="138" y="32"/>
                      <a:pt x="137" y="32"/>
                    </a:cubicBezTo>
                    <a:cubicBezTo>
                      <a:pt x="137" y="31"/>
                      <a:pt x="136" y="30"/>
                      <a:pt x="136" y="29"/>
                    </a:cubicBezTo>
                    <a:cubicBezTo>
                      <a:pt x="135" y="28"/>
                      <a:pt x="136" y="27"/>
                      <a:pt x="136" y="26"/>
                    </a:cubicBezTo>
                    <a:cubicBezTo>
                      <a:pt x="136" y="26"/>
                      <a:pt x="136" y="26"/>
                      <a:pt x="136" y="26"/>
                    </a:cubicBezTo>
                    <a:cubicBezTo>
                      <a:pt x="134" y="30"/>
                      <a:pt x="134" y="30"/>
                      <a:pt x="134" y="30"/>
                    </a:cubicBezTo>
                    <a:cubicBezTo>
                      <a:pt x="134" y="30"/>
                      <a:pt x="134" y="30"/>
                      <a:pt x="134" y="30"/>
                    </a:cubicBezTo>
                    <a:cubicBezTo>
                      <a:pt x="135" y="30"/>
                      <a:pt x="135" y="30"/>
                      <a:pt x="135" y="30"/>
                    </a:cubicBezTo>
                    <a:cubicBezTo>
                      <a:pt x="135" y="30"/>
                      <a:pt x="135" y="30"/>
                      <a:pt x="136" y="31"/>
                    </a:cubicBezTo>
                    <a:cubicBezTo>
                      <a:pt x="136" y="31"/>
                      <a:pt x="136" y="32"/>
                      <a:pt x="137" y="32"/>
                    </a:cubicBezTo>
                    <a:cubicBezTo>
                      <a:pt x="138" y="33"/>
                      <a:pt x="139" y="33"/>
                      <a:pt x="140" y="33"/>
                    </a:cubicBezTo>
                    <a:cubicBezTo>
                      <a:pt x="142" y="33"/>
                      <a:pt x="142" y="32"/>
                      <a:pt x="143" y="31"/>
                    </a:cubicBezTo>
                    <a:cubicBezTo>
                      <a:pt x="144" y="30"/>
                      <a:pt x="144" y="29"/>
                      <a:pt x="144" y="28"/>
                    </a:cubicBezTo>
                    <a:cubicBezTo>
                      <a:pt x="144" y="27"/>
                      <a:pt x="143" y="26"/>
                      <a:pt x="142" y="25"/>
                    </a:cubicBezTo>
                    <a:cubicBezTo>
                      <a:pt x="141" y="23"/>
                      <a:pt x="141" y="22"/>
                      <a:pt x="141" y="22"/>
                    </a:cubicBezTo>
                    <a:cubicBezTo>
                      <a:pt x="141" y="21"/>
                      <a:pt x="141" y="20"/>
                      <a:pt x="141" y="20"/>
                    </a:cubicBezTo>
                    <a:cubicBezTo>
                      <a:pt x="142" y="19"/>
                      <a:pt x="142" y="19"/>
                      <a:pt x="143" y="19"/>
                    </a:cubicBezTo>
                    <a:cubicBezTo>
                      <a:pt x="144" y="18"/>
                      <a:pt x="144" y="18"/>
                      <a:pt x="145" y="19"/>
                    </a:cubicBezTo>
                    <a:cubicBezTo>
                      <a:pt x="146" y="20"/>
                      <a:pt x="147" y="20"/>
                      <a:pt x="147" y="21"/>
                    </a:cubicBezTo>
                    <a:cubicBezTo>
                      <a:pt x="147" y="22"/>
                      <a:pt x="147" y="23"/>
                      <a:pt x="147" y="24"/>
                    </a:cubicBezTo>
                    <a:cubicBezTo>
                      <a:pt x="147" y="24"/>
                      <a:pt x="147" y="24"/>
                      <a:pt x="147" y="24"/>
                    </a:cubicBezTo>
                    <a:cubicBezTo>
                      <a:pt x="149" y="21"/>
                      <a:pt x="149" y="21"/>
                      <a:pt x="149" y="21"/>
                    </a:cubicBezTo>
                    <a:cubicBezTo>
                      <a:pt x="149" y="21"/>
                      <a:pt x="149" y="21"/>
                      <a:pt x="148" y="21"/>
                    </a:cubicBezTo>
                    <a:cubicBezTo>
                      <a:pt x="148" y="21"/>
                      <a:pt x="148" y="21"/>
                      <a:pt x="148" y="21"/>
                    </a:cubicBezTo>
                    <a:cubicBezTo>
                      <a:pt x="148" y="21"/>
                      <a:pt x="147" y="20"/>
                      <a:pt x="147" y="20"/>
                    </a:cubicBezTo>
                    <a:cubicBezTo>
                      <a:pt x="147" y="19"/>
                      <a:pt x="146" y="19"/>
                      <a:pt x="146" y="19"/>
                    </a:cubicBezTo>
                    <a:cubicBezTo>
                      <a:pt x="145" y="18"/>
                      <a:pt x="144" y="18"/>
                      <a:pt x="143" y="18"/>
                    </a:cubicBezTo>
                    <a:cubicBezTo>
                      <a:pt x="141" y="18"/>
                      <a:pt x="141" y="19"/>
                      <a:pt x="140" y="19"/>
                    </a:cubicBezTo>
                    <a:cubicBezTo>
                      <a:pt x="139" y="20"/>
                      <a:pt x="139" y="21"/>
                      <a:pt x="139" y="22"/>
                    </a:cubicBezTo>
                    <a:cubicBezTo>
                      <a:pt x="140" y="23"/>
                      <a:pt x="140" y="24"/>
                      <a:pt x="141" y="25"/>
                    </a:cubicBezTo>
                    <a:close/>
                    <a:moveTo>
                      <a:pt x="154" y="26"/>
                    </a:moveTo>
                    <a:cubicBezTo>
                      <a:pt x="154" y="26"/>
                      <a:pt x="154" y="26"/>
                      <a:pt x="154" y="26"/>
                    </a:cubicBezTo>
                    <a:cubicBezTo>
                      <a:pt x="159" y="31"/>
                      <a:pt x="159" y="31"/>
                      <a:pt x="159" y="31"/>
                    </a:cubicBezTo>
                    <a:cubicBezTo>
                      <a:pt x="159" y="31"/>
                      <a:pt x="159" y="31"/>
                      <a:pt x="159" y="31"/>
                    </a:cubicBezTo>
                    <a:cubicBezTo>
                      <a:pt x="158" y="30"/>
                      <a:pt x="158" y="30"/>
                      <a:pt x="158" y="30"/>
                    </a:cubicBezTo>
                    <a:cubicBezTo>
                      <a:pt x="157" y="29"/>
                      <a:pt x="157" y="29"/>
                      <a:pt x="157" y="29"/>
                    </a:cubicBezTo>
                    <a:cubicBezTo>
                      <a:pt x="157" y="29"/>
                      <a:pt x="157" y="29"/>
                      <a:pt x="156" y="30"/>
                    </a:cubicBezTo>
                    <a:cubicBezTo>
                      <a:pt x="147" y="39"/>
                      <a:pt x="147" y="39"/>
                      <a:pt x="147" y="39"/>
                    </a:cubicBezTo>
                    <a:cubicBezTo>
                      <a:pt x="147" y="39"/>
                      <a:pt x="147" y="39"/>
                      <a:pt x="147" y="40"/>
                    </a:cubicBezTo>
                    <a:cubicBezTo>
                      <a:pt x="147" y="40"/>
                      <a:pt x="147" y="40"/>
                      <a:pt x="148" y="40"/>
                    </a:cubicBezTo>
                    <a:cubicBezTo>
                      <a:pt x="149" y="42"/>
                      <a:pt x="149" y="42"/>
                      <a:pt x="149" y="42"/>
                    </a:cubicBezTo>
                    <a:cubicBezTo>
                      <a:pt x="149" y="42"/>
                      <a:pt x="149" y="42"/>
                      <a:pt x="149" y="42"/>
                    </a:cubicBezTo>
                    <a:cubicBezTo>
                      <a:pt x="143" y="37"/>
                      <a:pt x="143" y="37"/>
                      <a:pt x="143" y="37"/>
                    </a:cubicBezTo>
                    <a:cubicBezTo>
                      <a:pt x="144" y="37"/>
                      <a:pt x="144" y="37"/>
                      <a:pt x="144" y="37"/>
                    </a:cubicBezTo>
                    <a:cubicBezTo>
                      <a:pt x="145" y="38"/>
                      <a:pt x="145" y="38"/>
                      <a:pt x="145" y="38"/>
                    </a:cubicBezTo>
                    <a:cubicBezTo>
                      <a:pt x="146" y="38"/>
                      <a:pt x="146" y="38"/>
                      <a:pt x="146" y="38"/>
                    </a:cubicBezTo>
                    <a:cubicBezTo>
                      <a:pt x="146" y="38"/>
                      <a:pt x="146" y="38"/>
                      <a:pt x="146" y="38"/>
                    </a:cubicBezTo>
                    <a:cubicBezTo>
                      <a:pt x="155" y="29"/>
                      <a:pt x="155" y="29"/>
                      <a:pt x="155" y="29"/>
                    </a:cubicBezTo>
                    <a:cubicBezTo>
                      <a:pt x="155" y="28"/>
                      <a:pt x="156" y="28"/>
                      <a:pt x="156" y="28"/>
                    </a:cubicBezTo>
                    <a:cubicBezTo>
                      <a:pt x="156" y="28"/>
                      <a:pt x="155" y="28"/>
                      <a:pt x="155" y="27"/>
                    </a:cubicBezTo>
                    <a:cubicBezTo>
                      <a:pt x="154" y="26"/>
                      <a:pt x="154" y="26"/>
                      <a:pt x="154" y="26"/>
                    </a:cubicBezTo>
                    <a:close/>
                    <a:moveTo>
                      <a:pt x="155" y="50"/>
                    </a:moveTo>
                    <a:cubicBezTo>
                      <a:pt x="156" y="50"/>
                      <a:pt x="156" y="50"/>
                      <a:pt x="156" y="50"/>
                    </a:cubicBezTo>
                    <a:cubicBezTo>
                      <a:pt x="155" y="49"/>
                      <a:pt x="155" y="49"/>
                      <a:pt x="155" y="49"/>
                    </a:cubicBezTo>
                    <a:cubicBezTo>
                      <a:pt x="155" y="49"/>
                      <a:pt x="155" y="49"/>
                      <a:pt x="155" y="49"/>
                    </a:cubicBezTo>
                    <a:cubicBezTo>
                      <a:pt x="155" y="49"/>
                      <a:pt x="155" y="48"/>
                      <a:pt x="155" y="48"/>
                    </a:cubicBezTo>
                    <a:cubicBezTo>
                      <a:pt x="165" y="40"/>
                      <a:pt x="165" y="40"/>
                      <a:pt x="165" y="40"/>
                    </a:cubicBezTo>
                    <a:cubicBezTo>
                      <a:pt x="166" y="40"/>
                      <a:pt x="166" y="40"/>
                      <a:pt x="166" y="40"/>
                    </a:cubicBezTo>
                    <a:cubicBezTo>
                      <a:pt x="166" y="40"/>
                      <a:pt x="166" y="40"/>
                      <a:pt x="167" y="40"/>
                    </a:cubicBezTo>
                    <a:cubicBezTo>
                      <a:pt x="167" y="41"/>
                      <a:pt x="167" y="42"/>
                      <a:pt x="167" y="42"/>
                    </a:cubicBezTo>
                    <a:cubicBezTo>
                      <a:pt x="167" y="43"/>
                      <a:pt x="167" y="43"/>
                      <a:pt x="166" y="45"/>
                    </a:cubicBezTo>
                    <a:cubicBezTo>
                      <a:pt x="166" y="45"/>
                      <a:pt x="166" y="45"/>
                      <a:pt x="166" y="45"/>
                    </a:cubicBezTo>
                    <a:cubicBezTo>
                      <a:pt x="169" y="42"/>
                      <a:pt x="169" y="42"/>
                      <a:pt x="169" y="42"/>
                    </a:cubicBezTo>
                    <a:cubicBezTo>
                      <a:pt x="163" y="35"/>
                      <a:pt x="163" y="35"/>
                      <a:pt x="163" y="35"/>
                    </a:cubicBezTo>
                    <a:cubicBezTo>
                      <a:pt x="160" y="37"/>
                      <a:pt x="160" y="37"/>
                      <a:pt x="160" y="37"/>
                    </a:cubicBezTo>
                    <a:cubicBezTo>
                      <a:pt x="160" y="37"/>
                      <a:pt x="160" y="37"/>
                      <a:pt x="160" y="37"/>
                    </a:cubicBezTo>
                    <a:cubicBezTo>
                      <a:pt x="162" y="37"/>
                      <a:pt x="163" y="37"/>
                      <a:pt x="163" y="37"/>
                    </a:cubicBezTo>
                    <a:cubicBezTo>
                      <a:pt x="163" y="37"/>
                      <a:pt x="164" y="37"/>
                      <a:pt x="164" y="38"/>
                    </a:cubicBezTo>
                    <a:cubicBezTo>
                      <a:pt x="165" y="38"/>
                      <a:pt x="165" y="38"/>
                      <a:pt x="165" y="38"/>
                    </a:cubicBezTo>
                    <a:cubicBezTo>
                      <a:pt x="165" y="39"/>
                      <a:pt x="165" y="39"/>
                      <a:pt x="164" y="39"/>
                    </a:cubicBezTo>
                    <a:cubicBezTo>
                      <a:pt x="154" y="47"/>
                      <a:pt x="154" y="47"/>
                      <a:pt x="154" y="47"/>
                    </a:cubicBezTo>
                    <a:cubicBezTo>
                      <a:pt x="154" y="47"/>
                      <a:pt x="154" y="47"/>
                      <a:pt x="154" y="47"/>
                    </a:cubicBezTo>
                    <a:cubicBezTo>
                      <a:pt x="154" y="47"/>
                      <a:pt x="153" y="47"/>
                      <a:pt x="153" y="47"/>
                    </a:cubicBezTo>
                    <a:cubicBezTo>
                      <a:pt x="153" y="46"/>
                      <a:pt x="153" y="46"/>
                      <a:pt x="153" y="46"/>
                    </a:cubicBezTo>
                    <a:cubicBezTo>
                      <a:pt x="152" y="47"/>
                      <a:pt x="152" y="47"/>
                      <a:pt x="152" y="47"/>
                    </a:cubicBezTo>
                    <a:cubicBezTo>
                      <a:pt x="155" y="50"/>
                      <a:pt x="155" y="50"/>
                      <a:pt x="155" y="50"/>
                    </a:cubicBezTo>
                    <a:close/>
                    <a:moveTo>
                      <a:pt x="174" y="54"/>
                    </a:moveTo>
                    <a:cubicBezTo>
                      <a:pt x="174" y="54"/>
                      <a:pt x="175" y="54"/>
                      <a:pt x="175" y="53"/>
                    </a:cubicBezTo>
                    <a:cubicBezTo>
                      <a:pt x="175" y="53"/>
                      <a:pt x="175" y="53"/>
                      <a:pt x="174" y="53"/>
                    </a:cubicBezTo>
                    <a:cubicBezTo>
                      <a:pt x="174" y="52"/>
                      <a:pt x="174" y="52"/>
                      <a:pt x="174" y="52"/>
                    </a:cubicBezTo>
                    <a:cubicBezTo>
                      <a:pt x="175" y="52"/>
                      <a:pt x="175" y="52"/>
                      <a:pt x="175" y="52"/>
                    </a:cubicBezTo>
                    <a:cubicBezTo>
                      <a:pt x="177" y="55"/>
                      <a:pt x="177" y="55"/>
                      <a:pt x="177" y="55"/>
                    </a:cubicBezTo>
                    <a:cubicBezTo>
                      <a:pt x="176" y="55"/>
                      <a:pt x="176" y="55"/>
                      <a:pt x="176" y="55"/>
                    </a:cubicBezTo>
                    <a:cubicBezTo>
                      <a:pt x="176" y="55"/>
                      <a:pt x="176" y="55"/>
                      <a:pt x="176" y="55"/>
                    </a:cubicBezTo>
                    <a:cubicBezTo>
                      <a:pt x="176" y="55"/>
                      <a:pt x="176" y="55"/>
                      <a:pt x="175" y="55"/>
                    </a:cubicBezTo>
                    <a:cubicBezTo>
                      <a:pt x="175" y="55"/>
                      <a:pt x="175" y="55"/>
                      <a:pt x="174" y="55"/>
                    </a:cubicBezTo>
                    <a:cubicBezTo>
                      <a:pt x="166" y="56"/>
                      <a:pt x="166" y="56"/>
                      <a:pt x="166" y="56"/>
                    </a:cubicBezTo>
                    <a:cubicBezTo>
                      <a:pt x="162" y="58"/>
                      <a:pt x="162" y="58"/>
                      <a:pt x="162" y="58"/>
                    </a:cubicBezTo>
                    <a:cubicBezTo>
                      <a:pt x="162" y="59"/>
                      <a:pt x="162" y="59"/>
                      <a:pt x="162" y="59"/>
                    </a:cubicBezTo>
                    <a:cubicBezTo>
                      <a:pt x="161" y="59"/>
                      <a:pt x="162" y="59"/>
                      <a:pt x="162" y="60"/>
                    </a:cubicBezTo>
                    <a:cubicBezTo>
                      <a:pt x="162" y="60"/>
                      <a:pt x="162" y="60"/>
                      <a:pt x="162" y="60"/>
                    </a:cubicBezTo>
                    <a:cubicBezTo>
                      <a:pt x="162" y="61"/>
                      <a:pt x="162" y="61"/>
                      <a:pt x="162" y="61"/>
                    </a:cubicBezTo>
                    <a:cubicBezTo>
                      <a:pt x="159" y="56"/>
                      <a:pt x="159" y="56"/>
                      <a:pt x="159" y="56"/>
                    </a:cubicBezTo>
                    <a:cubicBezTo>
                      <a:pt x="160" y="56"/>
                      <a:pt x="160" y="56"/>
                      <a:pt x="160" y="56"/>
                    </a:cubicBezTo>
                    <a:cubicBezTo>
                      <a:pt x="160" y="57"/>
                      <a:pt x="160" y="57"/>
                      <a:pt x="160" y="57"/>
                    </a:cubicBezTo>
                    <a:cubicBezTo>
                      <a:pt x="160" y="57"/>
                      <a:pt x="160" y="57"/>
                      <a:pt x="161" y="57"/>
                    </a:cubicBezTo>
                    <a:cubicBezTo>
                      <a:pt x="161" y="57"/>
                      <a:pt x="161" y="57"/>
                      <a:pt x="161" y="57"/>
                    </a:cubicBezTo>
                    <a:cubicBezTo>
                      <a:pt x="165" y="55"/>
                      <a:pt x="165" y="55"/>
                      <a:pt x="165" y="55"/>
                    </a:cubicBezTo>
                    <a:cubicBezTo>
                      <a:pt x="171" y="48"/>
                      <a:pt x="171" y="48"/>
                      <a:pt x="171" y="48"/>
                    </a:cubicBezTo>
                    <a:cubicBezTo>
                      <a:pt x="171" y="48"/>
                      <a:pt x="171" y="48"/>
                      <a:pt x="171" y="47"/>
                    </a:cubicBezTo>
                    <a:cubicBezTo>
                      <a:pt x="171" y="47"/>
                      <a:pt x="171" y="47"/>
                      <a:pt x="171" y="47"/>
                    </a:cubicBezTo>
                    <a:cubicBezTo>
                      <a:pt x="171" y="46"/>
                      <a:pt x="171" y="46"/>
                      <a:pt x="171" y="46"/>
                    </a:cubicBezTo>
                    <a:cubicBezTo>
                      <a:pt x="171" y="46"/>
                      <a:pt x="171" y="46"/>
                      <a:pt x="171" y="46"/>
                    </a:cubicBezTo>
                    <a:cubicBezTo>
                      <a:pt x="173" y="50"/>
                      <a:pt x="173" y="50"/>
                      <a:pt x="173" y="50"/>
                    </a:cubicBezTo>
                    <a:cubicBezTo>
                      <a:pt x="173" y="50"/>
                      <a:pt x="173" y="50"/>
                      <a:pt x="173" y="50"/>
                    </a:cubicBezTo>
                    <a:cubicBezTo>
                      <a:pt x="173" y="49"/>
                      <a:pt x="173" y="49"/>
                      <a:pt x="173" y="49"/>
                    </a:cubicBezTo>
                    <a:cubicBezTo>
                      <a:pt x="172" y="49"/>
                      <a:pt x="172" y="49"/>
                      <a:pt x="172" y="49"/>
                    </a:cubicBezTo>
                    <a:cubicBezTo>
                      <a:pt x="172" y="49"/>
                      <a:pt x="172" y="49"/>
                      <a:pt x="171" y="49"/>
                    </a:cubicBezTo>
                    <a:cubicBezTo>
                      <a:pt x="167" y="55"/>
                      <a:pt x="167" y="55"/>
                      <a:pt x="167" y="55"/>
                    </a:cubicBezTo>
                    <a:cubicBezTo>
                      <a:pt x="167" y="55"/>
                      <a:pt x="167" y="55"/>
                      <a:pt x="167" y="55"/>
                    </a:cubicBezTo>
                    <a:lnTo>
                      <a:pt x="174" y="54"/>
                    </a:lnTo>
                    <a:close/>
                  </a:path>
                </a:pathLst>
              </a:custGeom>
              <a:solidFill>
                <a:srgbClr val="FFFFFF"/>
              </a:solidFill>
              <a:ln w="3175" cap="flat">
                <a:solidFill>
                  <a:srgbClr val="FFFFFF"/>
                </a:solidFill>
                <a:prstDash val="solid"/>
                <a:miter lim="800000"/>
              </a:ln>
            </p:spPr>
            <p:txBody>
              <a:bodyPr anchor="ctr"/>
              <a:lstStyle/>
              <a:p>
                <a:pPr algn="ctr"/>
                <a:endParaRPr dirty="0"/>
              </a:p>
            </p:txBody>
          </p:sp>
          <p:sp>
            <p:nvSpPr>
              <p:cNvPr id="44" name="íŝ1îḓè"/>
              <p:cNvSpPr/>
              <p:nvPr/>
            </p:nvSpPr>
            <p:spPr bwMode="auto">
              <a:xfrm>
                <a:off x="3667126" y="3184525"/>
                <a:ext cx="492125" cy="496888"/>
              </a:xfrm>
              <a:custGeom>
                <a:avLst/>
                <a:gdLst>
                  <a:gd name="T0" fmla="*/ 74 w 149"/>
                  <a:gd name="T1" fmla="*/ 0 h 149"/>
                  <a:gd name="T2" fmla="*/ 149 w 149"/>
                  <a:gd name="T3" fmla="*/ 74 h 149"/>
                  <a:gd name="T4" fmla="*/ 74 w 149"/>
                  <a:gd name="T5" fmla="*/ 149 h 149"/>
                  <a:gd name="T6" fmla="*/ 0 w 149"/>
                  <a:gd name="T7" fmla="*/ 74 h 149"/>
                  <a:gd name="T8" fmla="*/ 74 w 149"/>
                  <a:gd name="T9" fmla="*/ 0 h 149"/>
                  <a:gd name="T10" fmla="*/ 74 w 149"/>
                  <a:gd name="T11" fmla="*/ 2 h 149"/>
                  <a:gd name="T12" fmla="*/ 2 w 149"/>
                  <a:gd name="T13" fmla="*/ 74 h 149"/>
                  <a:gd name="T14" fmla="*/ 74 w 149"/>
                  <a:gd name="T15" fmla="*/ 146 h 149"/>
                  <a:gd name="T16" fmla="*/ 146 w 149"/>
                  <a:gd name="T17" fmla="*/ 74 h 149"/>
                  <a:gd name="T18" fmla="*/ 74 w 149"/>
                  <a:gd name="T19"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149">
                    <a:moveTo>
                      <a:pt x="74" y="0"/>
                    </a:moveTo>
                    <a:cubicBezTo>
                      <a:pt x="115" y="0"/>
                      <a:pt x="149" y="33"/>
                      <a:pt x="149" y="74"/>
                    </a:cubicBezTo>
                    <a:cubicBezTo>
                      <a:pt x="149" y="115"/>
                      <a:pt x="115" y="149"/>
                      <a:pt x="74" y="149"/>
                    </a:cubicBezTo>
                    <a:cubicBezTo>
                      <a:pt x="33" y="149"/>
                      <a:pt x="0" y="115"/>
                      <a:pt x="0" y="74"/>
                    </a:cubicBezTo>
                    <a:cubicBezTo>
                      <a:pt x="0" y="33"/>
                      <a:pt x="33" y="0"/>
                      <a:pt x="74" y="0"/>
                    </a:cubicBezTo>
                    <a:close/>
                    <a:moveTo>
                      <a:pt x="74" y="2"/>
                    </a:moveTo>
                    <a:cubicBezTo>
                      <a:pt x="35" y="2"/>
                      <a:pt x="2" y="34"/>
                      <a:pt x="2" y="74"/>
                    </a:cubicBezTo>
                    <a:cubicBezTo>
                      <a:pt x="2" y="114"/>
                      <a:pt x="35" y="146"/>
                      <a:pt x="74" y="146"/>
                    </a:cubicBezTo>
                    <a:cubicBezTo>
                      <a:pt x="114" y="146"/>
                      <a:pt x="146" y="114"/>
                      <a:pt x="146" y="74"/>
                    </a:cubicBezTo>
                    <a:cubicBezTo>
                      <a:pt x="146" y="34"/>
                      <a:pt x="114" y="2"/>
                      <a:pt x="74" y="2"/>
                    </a:cubicBezTo>
                    <a:close/>
                  </a:path>
                </a:pathLst>
              </a:custGeom>
              <a:solidFill>
                <a:srgbClr val="00523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45" name="iṣḷîďê"/>
              <p:cNvSpPr/>
              <p:nvPr/>
            </p:nvSpPr>
            <p:spPr bwMode="auto">
              <a:xfrm>
                <a:off x="3775076" y="3248025"/>
                <a:ext cx="274638" cy="146050"/>
              </a:xfrm>
              <a:custGeom>
                <a:avLst/>
                <a:gdLst>
                  <a:gd name="T0" fmla="*/ 10 w 83"/>
                  <a:gd name="T1" fmla="*/ 43 h 44"/>
                  <a:gd name="T2" fmla="*/ 18 w 83"/>
                  <a:gd name="T3" fmla="*/ 39 h 44"/>
                  <a:gd name="T4" fmla="*/ 67 w 83"/>
                  <a:gd name="T5" fmla="*/ 39 h 44"/>
                  <a:gd name="T6" fmla="*/ 73 w 83"/>
                  <a:gd name="T7" fmla="*/ 42 h 44"/>
                  <a:gd name="T8" fmla="*/ 76 w 83"/>
                  <a:gd name="T9" fmla="*/ 43 h 44"/>
                  <a:gd name="T10" fmla="*/ 83 w 83"/>
                  <a:gd name="T11" fmla="*/ 35 h 44"/>
                  <a:gd name="T12" fmla="*/ 76 w 83"/>
                  <a:gd name="T13" fmla="*/ 37 h 44"/>
                  <a:gd name="T14" fmla="*/ 69 w 83"/>
                  <a:gd name="T15" fmla="*/ 33 h 44"/>
                  <a:gd name="T16" fmla="*/ 70 w 83"/>
                  <a:gd name="T17" fmla="*/ 26 h 44"/>
                  <a:gd name="T18" fmla="*/ 64 w 83"/>
                  <a:gd name="T19" fmla="*/ 30 h 44"/>
                  <a:gd name="T20" fmla="*/ 59 w 83"/>
                  <a:gd name="T21" fmla="*/ 31 h 44"/>
                  <a:gd name="T22" fmla="*/ 56 w 83"/>
                  <a:gd name="T23" fmla="*/ 29 h 44"/>
                  <a:gd name="T24" fmla="*/ 56 w 83"/>
                  <a:gd name="T25" fmla="*/ 24 h 44"/>
                  <a:gd name="T26" fmla="*/ 58 w 83"/>
                  <a:gd name="T27" fmla="*/ 23 h 44"/>
                  <a:gd name="T28" fmla="*/ 58 w 83"/>
                  <a:gd name="T29" fmla="*/ 19 h 44"/>
                  <a:gd name="T30" fmla="*/ 54 w 83"/>
                  <a:gd name="T31" fmla="*/ 19 h 44"/>
                  <a:gd name="T32" fmla="*/ 53 w 83"/>
                  <a:gd name="T33" fmla="*/ 21 h 44"/>
                  <a:gd name="T34" fmla="*/ 44 w 83"/>
                  <a:gd name="T35" fmla="*/ 21 h 44"/>
                  <a:gd name="T36" fmla="*/ 43 w 83"/>
                  <a:gd name="T37" fmla="*/ 18 h 44"/>
                  <a:gd name="T38" fmla="*/ 44 w 83"/>
                  <a:gd name="T39" fmla="*/ 13 h 44"/>
                  <a:gd name="T40" fmla="*/ 43 w 83"/>
                  <a:gd name="T41" fmla="*/ 8 h 44"/>
                  <a:gd name="T42" fmla="*/ 43 w 83"/>
                  <a:gd name="T43" fmla="*/ 6 h 44"/>
                  <a:gd name="T44" fmla="*/ 43 w 83"/>
                  <a:gd name="T45" fmla="*/ 2 h 44"/>
                  <a:gd name="T46" fmla="*/ 43 w 83"/>
                  <a:gd name="T47" fmla="*/ 0 h 44"/>
                  <a:gd name="T48" fmla="*/ 40 w 83"/>
                  <a:gd name="T49" fmla="*/ 0 h 44"/>
                  <a:gd name="T50" fmla="*/ 39 w 83"/>
                  <a:gd name="T51" fmla="*/ 2 h 44"/>
                  <a:gd name="T52" fmla="*/ 39 w 83"/>
                  <a:gd name="T53" fmla="*/ 6 h 44"/>
                  <a:gd name="T54" fmla="*/ 39 w 83"/>
                  <a:gd name="T55" fmla="*/ 8 h 44"/>
                  <a:gd name="T56" fmla="*/ 38 w 83"/>
                  <a:gd name="T57" fmla="*/ 13 h 44"/>
                  <a:gd name="T58" fmla="*/ 38 w 83"/>
                  <a:gd name="T59" fmla="*/ 18 h 44"/>
                  <a:gd name="T60" fmla="*/ 38 w 83"/>
                  <a:gd name="T61" fmla="*/ 21 h 44"/>
                  <a:gd name="T62" fmla="*/ 30 w 83"/>
                  <a:gd name="T63" fmla="*/ 21 h 44"/>
                  <a:gd name="T64" fmla="*/ 29 w 83"/>
                  <a:gd name="T65" fmla="*/ 19 h 44"/>
                  <a:gd name="T66" fmla="*/ 25 w 83"/>
                  <a:gd name="T67" fmla="*/ 19 h 44"/>
                  <a:gd name="T68" fmla="*/ 25 w 83"/>
                  <a:gd name="T69" fmla="*/ 23 h 44"/>
                  <a:gd name="T70" fmla="*/ 26 w 83"/>
                  <a:gd name="T71" fmla="*/ 24 h 44"/>
                  <a:gd name="T72" fmla="*/ 27 w 83"/>
                  <a:gd name="T73" fmla="*/ 29 h 44"/>
                  <a:gd name="T74" fmla="*/ 22 w 83"/>
                  <a:gd name="T75" fmla="*/ 31 h 44"/>
                  <a:gd name="T76" fmla="*/ 13 w 83"/>
                  <a:gd name="T77" fmla="*/ 26 h 44"/>
                  <a:gd name="T78" fmla="*/ 13 w 83"/>
                  <a:gd name="T79" fmla="*/ 35 h 44"/>
                  <a:gd name="T80" fmla="*/ 7 w 83"/>
                  <a:gd name="T81" fmla="*/ 37 h 44"/>
                  <a:gd name="T82" fmla="*/ 0 w 83"/>
                  <a:gd name="T83" fmla="*/ 34 h 44"/>
                  <a:gd name="T84" fmla="*/ 5 w 83"/>
                  <a:gd name="T85" fmla="*/ 42 h 44"/>
                  <a:gd name="T86" fmla="*/ 10 w 83"/>
                  <a:gd name="T87" fmla="*/ 4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3" h="44">
                    <a:moveTo>
                      <a:pt x="10" y="43"/>
                    </a:moveTo>
                    <a:cubicBezTo>
                      <a:pt x="18" y="39"/>
                      <a:pt x="18" y="39"/>
                      <a:pt x="18" y="39"/>
                    </a:cubicBezTo>
                    <a:cubicBezTo>
                      <a:pt x="67" y="39"/>
                      <a:pt x="67" y="39"/>
                      <a:pt x="67" y="39"/>
                    </a:cubicBezTo>
                    <a:cubicBezTo>
                      <a:pt x="73" y="42"/>
                      <a:pt x="73" y="42"/>
                      <a:pt x="73" y="42"/>
                    </a:cubicBezTo>
                    <a:cubicBezTo>
                      <a:pt x="74" y="43"/>
                      <a:pt x="75" y="43"/>
                      <a:pt x="76" y="43"/>
                    </a:cubicBezTo>
                    <a:cubicBezTo>
                      <a:pt x="80" y="42"/>
                      <a:pt x="83" y="35"/>
                      <a:pt x="83" y="35"/>
                    </a:cubicBezTo>
                    <a:cubicBezTo>
                      <a:pt x="83" y="35"/>
                      <a:pt x="79" y="38"/>
                      <a:pt x="76" y="37"/>
                    </a:cubicBezTo>
                    <a:cubicBezTo>
                      <a:pt x="73" y="37"/>
                      <a:pt x="69" y="36"/>
                      <a:pt x="69" y="33"/>
                    </a:cubicBezTo>
                    <a:cubicBezTo>
                      <a:pt x="69" y="30"/>
                      <a:pt x="70" y="27"/>
                      <a:pt x="70" y="26"/>
                    </a:cubicBezTo>
                    <a:cubicBezTo>
                      <a:pt x="70" y="26"/>
                      <a:pt x="67" y="29"/>
                      <a:pt x="64" y="30"/>
                    </a:cubicBezTo>
                    <a:cubicBezTo>
                      <a:pt x="61" y="32"/>
                      <a:pt x="60" y="31"/>
                      <a:pt x="59" y="31"/>
                    </a:cubicBezTo>
                    <a:cubicBezTo>
                      <a:pt x="57" y="30"/>
                      <a:pt x="56" y="29"/>
                      <a:pt x="56" y="29"/>
                    </a:cubicBezTo>
                    <a:cubicBezTo>
                      <a:pt x="56" y="24"/>
                      <a:pt x="56" y="24"/>
                      <a:pt x="56" y="24"/>
                    </a:cubicBezTo>
                    <a:cubicBezTo>
                      <a:pt x="58" y="23"/>
                      <a:pt x="58" y="23"/>
                      <a:pt x="58" y="23"/>
                    </a:cubicBezTo>
                    <a:cubicBezTo>
                      <a:pt x="58" y="19"/>
                      <a:pt x="58" y="19"/>
                      <a:pt x="58" y="19"/>
                    </a:cubicBezTo>
                    <a:cubicBezTo>
                      <a:pt x="54" y="19"/>
                      <a:pt x="54" y="19"/>
                      <a:pt x="54" y="19"/>
                    </a:cubicBezTo>
                    <a:cubicBezTo>
                      <a:pt x="54" y="19"/>
                      <a:pt x="54" y="21"/>
                      <a:pt x="53" y="21"/>
                    </a:cubicBezTo>
                    <a:cubicBezTo>
                      <a:pt x="52" y="21"/>
                      <a:pt x="44" y="21"/>
                      <a:pt x="44" y="21"/>
                    </a:cubicBezTo>
                    <a:cubicBezTo>
                      <a:pt x="44" y="21"/>
                      <a:pt x="43" y="20"/>
                      <a:pt x="43" y="18"/>
                    </a:cubicBezTo>
                    <a:cubicBezTo>
                      <a:pt x="44" y="17"/>
                      <a:pt x="44" y="17"/>
                      <a:pt x="44" y="13"/>
                    </a:cubicBezTo>
                    <a:cubicBezTo>
                      <a:pt x="44" y="10"/>
                      <a:pt x="44" y="9"/>
                      <a:pt x="43" y="8"/>
                    </a:cubicBezTo>
                    <a:cubicBezTo>
                      <a:pt x="43" y="7"/>
                      <a:pt x="42" y="7"/>
                      <a:pt x="43" y="6"/>
                    </a:cubicBezTo>
                    <a:cubicBezTo>
                      <a:pt x="44" y="5"/>
                      <a:pt x="44" y="4"/>
                      <a:pt x="43" y="2"/>
                    </a:cubicBezTo>
                    <a:cubicBezTo>
                      <a:pt x="42" y="1"/>
                      <a:pt x="43" y="2"/>
                      <a:pt x="43" y="0"/>
                    </a:cubicBezTo>
                    <a:cubicBezTo>
                      <a:pt x="40" y="0"/>
                      <a:pt x="40" y="0"/>
                      <a:pt x="40" y="0"/>
                    </a:cubicBezTo>
                    <a:cubicBezTo>
                      <a:pt x="39" y="0"/>
                      <a:pt x="40" y="1"/>
                      <a:pt x="39" y="2"/>
                    </a:cubicBezTo>
                    <a:cubicBezTo>
                      <a:pt x="38" y="3"/>
                      <a:pt x="38" y="5"/>
                      <a:pt x="39" y="6"/>
                    </a:cubicBezTo>
                    <a:cubicBezTo>
                      <a:pt x="39" y="7"/>
                      <a:pt x="40" y="7"/>
                      <a:pt x="39" y="8"/>
                    </a:cubicBezTo>
                    <a:cubicBezTo>
                      <a:pt x="38" y="9"/>
                      <a:pt x="38" y="10"/>
                      <a:pt x="38" y="13"/>
                    </a:cubicBezTo>
                    <a:cubicBezTo>
                      <a:pt x="38" y="16"/>
                      <a:pt x="38" y="17"/>
                      <a:pt x="38" y="18"/>
                    </a:cubicBezTo>
                    <a:cubicBezTo>
                      <a:pt x="39" y="20"/>
                      <a:pt x="38" y="21"/>
                      <a:pt x="38" y="21"/>
                    </a:cubicBezTo>
                    <a:cubicBezTo>
                      <a:pt x="37" y="21"/>
                      <a:pt x="30" y="21"/>
                      <a:pt x="30" y="21"/>
                    </a:cubicBezTo>
                    <a:cubicBezTo>
                      <a:pt x="30" y="21"/>
                      <a:pt x="29" y="20"/>
                      <a:pt x="29" y="19"/>
                    </a:cubicBezTo>
                    <a:cubicBezTo>
                      <a:pt x="25" y="19"/>
                      <a:pt x="25" y="19"/>
                      <a:pt x="25" y="19"/>
                    </a:cubicBezTo>
                    <a:cubicBezTo>
                      <a:pt x="25" y="23"/>
                      <a:pt x="25" y="23"/>
                      <a:pt x="25" y="23"/>
                    </a:cubicBezTo>
                    <a:cubicBezTo>
                      <a:pt x="26" y="24"/>
                      <a:pt x="26" y="24"/>
                      <a:pt x="26" y="24"/>
                    </a:cubicBezTo>
                    <a:cubicBezTo>
                      <a:pt x="27" y="29"/>
                      <a:pt x="27" y="29"/>
                      <a:pt x="27" y="29"/>
                    </a:cubicBezTo>
                    <a:cubicBezTo>
                      <a:pt x="27" y="29"/>
                      <a:pt x="24" y="31"/>
                      <a:pt x="22" y="31"/>
                    </a:cubicBezTo>
                    <a:cubicBezTo>
                      <a:pt x="19" y="31"/>
                      <a:pt x="13" y="26"/>
                      <a:pt x="13" y="26"/>
                    </a:cubicBezTo>
                    <a:cubicBezTo>
                      <a:pt x="13" y="26"/>
                      <a:pt x="14" y="33"/>
                      <a:pt x="13" y="35"/>
                    </a:cubicBezTo>
                    <a:cubicBezTo>
                      <a:pt x="13" y="37"/>
                      <a:pt x="10" y="37"/>
                      <a:pt x="7" y="37"/>
                    </a:cubicBezTo>
                    <a:cubicBezTo>
                      <a:pt x="4" y="37"/>
                      <a:pt x="0" y="35"/>
                      <a:pt x="0" y="34"/>
                    </a:cubicBezTo>
                    <a:cubicBezTo>
                      <a:pt x="0" y="34"/>
                      <a:pt x="3" y="40"/>
                      <a:pt x="5" y="42"/>
                    </a:cubicBezTo>
                    <a:cubicBezTo>
                      <a:pt x="7" y="44"/>
                      <a:pt x="10" y="43"/>
                      <a:pt x="10" y="43"/>
                    </a:cubicBezTo>
                    <a:close/>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46" name="iṧlîḋe"/>
              <p:cNvSpPr/>
              <p:nvPr/>
            </p:nvSpPr>
            <p:spPr bwMode="auto">
              <a:xfrm>
                <a:off x="3614738" y="3370263"/>
                <a:ext cx="596900" cy="241300"/>
              </a:xfrm>
              <a:custGeom>
                <a:avLst/>
                <a:gdLst>
                  <a:gd name="T0" fmla="*/ 58 w 181"/>
                  <a:gd name="T1" fmla="*/ 72 h 72"/>
                  <a:gd name="T2" fmla="*/ 8 w 181"/>
                  <a:gd name="T3" fmla="*/ 72 h 72"/>
                  <a:gd name="T4" fmla="*/ 3 w 181"/>
                  <a:gd name="T5" fmla="*/ 63 h 72"/>
                  <a:gd name="T6" fmla="*/ 6 w 181"/>
                  <a:gd name="T7" fmla="*/ 63 h 72"/>
                  <a:gd name="T8" fmla="*/ 11 w 181"/>
                  <a:gd name="T9" fmla="*/ 55 h 72"/>
                  <a:gd name="T10" fmla="*/ 14 w 181"/>
                  <a:gd name="T11" fmla="*/ 55 h 72"/>
                  <a:gd name="T12" fmla="*/ 14 w 181"/>
                  <a:gd name="T13" fmla="*/ 29 h 72"/>
                  <a:gd name="T14" fmla="*/ 0 w 181"/>
                  <a:gd name="T15" fmla="*/ 4 h 72"/>
                  <a:gd name="T16" fmla="*/ 30 w 181"/>
                  <a:gd name="T17" fmla="*/ 0 h 72"/>
                  <a:gd name="T18" fmla="*/ 58 w 181"/>
                  <a:gd name="T19" fmla="*/ 8 h 72"/>
                  <a:gd name="T20" fmla="*/ 51 w 181"/>
                  <a:gd name="T21" fmla="*/ 25 h 72"/>
                  <a:gd name="T22" fmla="*/ 131 w 181"/>
                  <a:gd name="T23" fmla="*/ 25 h 72"/>
                  <a:gd name="T24" fmla="*/ 122 w 181"/>
                  <a:gd name="T25" fmla="*/ 8 h 72"/>
                  <a:gd name="T26" fmla="*/ 150 w 181"/>
                  <a:gd name="T27" fmla="*/ 0 h 72"/>
                  <a:gd name="T28" fmla="*/ 181 w 181"/>
                  <a:gd name="T29" fmla="*/ 5 h 72"/>
                  <a:gd name="T30" fmla="*/ 166 w 181"/>
                  <a:gd name="T31" fmla="*/ 28 h 72"/>
                  <a:gd name="T32" fmla="*/ 166 w 181"/>
                  <a:gd name="T33" fmla="*/ 55 h 72"/>
                  <a:gd name="T34" fmla="*/ 171 w 181"/>
                  <a:gd name="T35" fmla="*/ 55 h 72"/>
                  <a:gd name="T36" fmla="*/ 178 w 181"/>
                  <a:gd name="T37" fmla="*/ 65 h 72"/>
                  <a:gd name="T38" fmla="*/ 174 w 181"/>
                  <a:gd name="T39" fmla="*/ 72 h 72"/>
                  <a:gd name="T40" fmla="*/ 58 w 181"/>
                  <a:gd name="T4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1" h="72">
                    <a:moveTo>
                      <a:pt x="58" y="72"/>
                    </a:moveTo>
                    <a:cubicBezTo>
                      <a:pt x="8" y="72"/>
                      <a:pt x="8" y="72"/>
                      <a:pt x="8" y="72"/>
                    </a:cubicBezTo>
                    <a:cubicBezTo>
                      <a:pt x="3" y="63"/>
                      <a:pt x="3" y="63"/>
                      <a:pt x="3" y="63"/>
                    </a:cubicBezTo>
                    <a:cubicBezTo>
                      <a:pt x="6" y="63"/>
                      <a:pt x="6" y="63"/>
                      <a:pt x="6" y="63"/>
                    </a:cubicBezTo>
                    <a:cubicBezTo>
                      <a:pt x="7" y="61"/>
                      <a:pt x="10" y="57"/>
                      <a:pt x="11" y="55"/>
                    </a:cubicBezTo>
                    <a:cubicBezTo>
                      <a:pt x="12" y="55"/>
                      <a:pt x="13" y="55"/>
                      <a:pt x="14" y="55"/>
                    </a:cubicBezTo>
                    <a:cubicBezTo>
                      <a:pt x="14" y="45"/>
                      <a:pt x="14" y="39"/>
                      <a:pt x="14" y="29"/>
                    </a:cubicBezTo>
                    <a:cubicBezTo>
                      <a:pt x="6" y="25"/>
                      <a:pt x="0" y="19"/>
                      <a:pt x="0" y="4"/>
                    </a:cubicBezTo>
                    <a:cubicBezTo>
                      <a:pt x="13" y="19"/>
                      <a:pt x="25" y="20"/>
                      <a:pt x="30" y="0"/>
                    </a:cubicBezTo>
                    <a:cubicBezTo>
                      <a:pt x="40" y="22"/>
                      <a:pt x="50" y="16"/>
                      <a:pt x="58" y="8"/>
                    </a:cubicBezTo>
                    <a:cubicBezTo>
                      <a:pt x="59" y="17"/>
                      <a:pt x="51" y="24"/>
                      <a:pt x="51" y="25"/>
                    </a:cubicBezTo>
                    <a:cubicBezTo>
                      <a:pt x="131" y="25"/>
                      <a:pt x="131" y="25"/>
                      <a:pt x="131" y="25"/>
                    </a:cubicBezTo>
                    <a:cubicBezTo>
                      <a:pt x="128" y="21"/>
                      <a:pt x="123" y="15"/>
                      <a:pt x="122" y="8"/>
                    </a:cubicBezTo>
                    <a:cubicBezTo>
                      <a:pt x="131" y="18"/>
                      <a:pt x="141" y="23"/>
                      <a:pt x="150" y="0"/>
                    </a:cubicBezTo>
                    <a:cubicBezTo>
                      <a:pt x="160" y="23"/>
                      <a:pt x="169" y="16"/>
                      <a:pt x="181" y="5"/>
                    </a:cubicBezTo>
                    <a:cubicBezTo>
                      <a:pt x="178" y="23"/>
                      <a:pt x="174" y="23"/>
                      <a:pt x="166" y="28"/>
                    </a:cubicBezTo>
                    <a:cubicBezTo>
                      <a:pt x="166" y="38"/>
                      <a:pt x="166" y="45"/>
                      <a:pt x="166" y="55"/>
                    </a:cubicBezTo>
                    <a:cubicBezTo>
                      <a:pt x="168" y="55"/>
                      <a:pt x="169" y="55"/>
                      <a:pt x="171" y="55"/>
                    </a:cubicBezTo>
                    <a:cubicBezTo>
                      <a:pt x="178" y="65"/>
                      <a:pt x="178" y="65"/>
                      <a:pt x="178" y="65"/>
                    </a:cubicBezTo>
                    <a:cubicBezTo>
                      <a:pt x="174" y="72"/>
                      <a:pt x="174" y="72"/>
                      <a:pt x="174" y="72"/>
                    </a:cubicBezTo>
                    <a:lnTo>
                      <a:pt x="58" y="7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47" name="ïṩľïḓè"/>
              <p:cNvSpPr/>
              <p:nvPr/>
            </p:nvSpPr>
            <p:spPr bwMode="auto">
              <a:xfrm>
                <a:off x="3624263" y="3381375"/>
                <a:ext cx="577850" cy="200025"/>
              </a:xfrm>
              <a:custGeom>
                <a:avLst/>
                <a:gdLst>
                  <a:gd name="T0" fmla="*/ 130 w 175"/>
                  <a:gd name="T1" fmla="*/ 51 h 60"/>
                  <a:gd name="T2" fmla="*/ 130 w 175"/>
                  <a:gd name="T3" fmla="*/ 50 h 60"/>
                  <a:gd name="T4" fmla="*/ 48 w 175"/>
                  <a:gd name="T5" fmla="*/ 50 h 60"/>
                  <a:gd name="T6" fmla="*/ 48 w 175"/>
                  <a:gd name="T7" fmla="*/ 51 h 60"/>
                  <a:gd name="T8" fmla="*/ 52 w 175"/>
                  <a:gd name="T9" fmla="*/ 51 h 60"/>
                  <a:gd name="T10" fmla="*/ 48 w 175"/>
                  <a:gd name="T11" fmla="*/ 60 h 60"/>
                  <a:gd name="T12" fmla="*/ 7 w 175"/>
                  <a:gd name="T13" fmla="*/ 60 h 60"/>
                  <a:gd name="T14" fmla="*/ 10 w 175"/>
                  <a:gd name="T15" fmla="*/ 54 h 60"/>
                  <a:gd name="T16" fmla="*/ 14 w 175"/>
                  <a:gd name="T17" fmla="*/ 54 h 60"/>
                  <a:gd name="T18" fmla="*/ 13 w 175"/>
                  <a:gd name="T19" fmla="*/ 25 h 60"/>
                  <a:gd name="T20" fmla="*/ 0 w 175"/>
                  <a:gd name="T21" fmla="*/ 7 h 60"/>
                  <a:gd name="T22" fmla="*/ 28 w 175"/>
                  <a:gd name="T23" fmla="*/ 0 h 60"/>
                  <a:gd name="T24" fmla="*/ 55 w 175"/>
                  <a:gd name="T25" fmla="*/ 7 h 60"/>
                  <a:gd name="T26" fmla="*/ 48 w 175"/>
                  <a:gd name="T27" fmla="*/ 22 h 60"/>
                  <a:gd name="T28" fmla="*/ 127 w 175"/>
                  <a:gd name="T29" fmla="*/ 22 h 60"/>
                  <a:gd name="T30" fmla="*/ 119 w 175"/>
                  <a:gd name="T31" fmla="*/ 7 h 60"/>
                  <a:gd name="T32" fmla="*/ 147 w 175"/>
                  <a:gd name="T33" fmla="*/ 0 h 60"/>
                  <a:gd name="T34" fmla="*/ 175 w 175"/>
                  <a:gd name="T35" fmla="*/ 7 h 60"/>
                  <a:gd name="T36" fmla="*/ 161 w 175"/>
                  <a:gd name="T37" fmla="*/ 24 h 60"/>
                  <a:gd name="T38" fmla="*/ 161 w 175"/>
                  <a:gd name="T39" fmla="*/ 53 h 60"/>
                  <a:gd name="T40" fmla="*/ 165 w 175"/>
                  <a:gd name="T41" fmla="*/ 53 h 60"/>
                  <a:gd name="T42" fmla="*/ 169 w 175"/>
                  <a:gd name="T43" fmla="*/ 60 h 60"/>
                  <a:gd name="T44" fmla="*/ 128 w 175"/>
                  <a:gd name="T45" fmla="*/ 60 h 60"/>
                  <a:gd name="T46" fmla="*/ 124 w 175"/>
                  <a:gd name="T47" fmla="*/ 51 h 60"/>
                  <a:gd name="T48" fmla="*/ 130 w 175"/>
                  <a:gd name="T49" fmla="*/ 5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5" h="60">
                    <a:moveTo>
                      <a:pt x="130" y="51"/>
                    </a:moveTo>
                    <a:cubicBezTo>
                      <a:pt x="130" y="50"/>
                      <a:pt x="130" y="50"/>
                      <a:pt x="130" y="50"/>
                    </a:cubicBezTo>
                    <a:cubicBezTo>
                      <a:pt x="48" y="50"/>
                      <a:pt x="48" y="50"/>
                      <a:pt x="48" y="50"/>
                    </a:cubicBezTo>
                    <a:cubicBezTo>
                      <a:pt x="48" y="51"/>
                      <a:pt x="48" y="51"/>
                      <a:pt x="48" y="51"/>
                    </a:cubicBezTo>
                    <a:cubicBezTo>
                      <a:pt x="52" y="51"/>
                      <a:pt x="52" y="51"/>
                      <a:pt x="52" y="51"/>
                    </a:cubicBezTo>
                    <a:cubicBezTo>
                      <a:pt x="48" y="60"/>
                      <a:pt x="48" y="60"/>
                      <a:pt x="48" y="60"/>
                    </a:cubicBezTo>
                    <a:cubicBezTo>
                      <a:pt x="34" y="60"/>
                      <a:pt x="20" y="60"/>
                      <a:pt x="7" y="60"/>
                    </a:cubicBezTo>
                    <a:cubicBezTo>
                      <a:pt x="8" y="58"/>
                      <a:pt x="9" y="56"/>
                      <a:pt x="10" y="54"/>
                    </a:cubicBezTo>
                    <a:cubicBezTo>
                      <a:pt x="11" y="54"/>
                      <a:pt x="12" y="54"/>
                      <a:pt x="14" y="54"/>
                    </a:cubicBezTo>
                    <a:cubicBezTo>
                      <a:pt x="14" y="44"/>
                      <a:pt x="13" y="34"/>
                      <a:pt x="13" y="25"/>
                    </a:cubicBezTo>
                    <a:cubicBezTo>
                      <a:pt x="5" y="20"/>
                      <a:pt x="1" y="14"/>
                      <a:pt x="0" y="7"/>
                    </a:cubicBezTo>
                    <a:cubicBezTo>
                      <a:pt x="12" y="18"/>
                      <a:pt x="22" y="17"/>
                      <a:pt x="28" y="0"/>
                    </a:cubicBezTo>
                    <a:cubicBezTo>
                      <a:pt x="37" y="22"/>
                      <a:pt x="47" y="15"/>
                      <a:pt x="55" y="7"/>
                    </a:cubicBezTo>
                    <a:cubicBezTo>
                      <a:pt x="55" y="14"/>
                      <a:pt x="50" y="17"/>
                      <a:pt x="48" y="22"/>
                    </a:cubicBezTo>
                    <a:cubicBezTo>
                      <a:pt x="127" y="22"/>
                      <a:pt x="127" y="22"/>
                      <a:pt x="127" y="22"/>
                    </a:cubicBezTo>
                    <a:cubicBezTo>
                      <a:pt x="125" y="18"/>
                      <a:pt x="120" y="14"/>
                      <a:pt x="119" y="7"/>
                    </a:cubicBezTo>
                    <a:cubicBezTo>
                      <a:pt x="127" y="15"/>
                      <a:pt x="137" y="22"/>
                      <a:pt x="147" y="0"/>
                    </a:cubicBezTo>
                    <a:cubicBezTo>
                      <a:pt x="153" y="17"/>
                      <a:pt x="163" y="18"/>
                      <a:pt x="175" y="7"/>
                    </a:cubicBezTo>
                    <a:cubicBezTo>
                      <a:pt x="173" y="14"/>
                      <a:pt x="169" y="19"/>
                      <a:pt x="161" y="24"/>
                    </a:cubicBezTo>
                    <a:cubicBezTo>
                      <a:pt x="161" y="34"/>
                      <a:pt x="161" y="44"/>
                      <a:pt x="161" y="53"/>
                    </a:cubicBezTo>
                    <a:cubicBezTo>
                      <a:pt x="162" y="53"/>
                      <a:pt x="164" y="53"/>
                      <a:pt x="165" y="53"/>
                    </a:cubicBezTo>
                    <a:cubicBezTo>
                      <a:pt x="166" y="55"/>
                      <a:pt x="167" y="58"/>
                      <a:pt x="169" y="60"/>
                    </a:cubicBezTo>
                    <a:cubicBezTo>
                      <a:pt x="155" y="60"/>
                      <a:pt x="142" y="60"/>
                      <a:pt x="128" y="60"/>
                    </a:cubicBezTo>
                    <a:cubicBezTo>
                      <a:pt x="124" y="51"/>
                      <a:pt x="124" y="51"/>
                      <a:pt x="124" y="51"/>
                    </a:cubicBezTo>
                    <a:lnTo>
                      <a:pt x="130" y="51"/>
                    </a:lnTo>
                    <a:close/>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48" name="iṣľïdê"/>
              <p:cNvSpPr/>
              <p:nvPr/>
            </p:nvSpPr>
            <p:spPr bwMode="auto">
              <a:xfrm>
                <a:off x="4065588" y="3490913"/>
                <a:ext cx="17463"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49" name="îšļíḍe"/>
              <p:cNvSpPr/>
              <p:nvPr/>
            </p:nvSpPr>
            <p:spPr bwMode="auto">
              <a:xfrm>
                <a:off x="3740151" y="3490913"/>
                <a:ext cx="1587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50" name="íṧľîḋe"/>
              <p:cNvSpPr/>
              <p:nvPr/>
            </p:nvSpPr>
            <p:spPr bwMode="auto">
              <a:xfrm>
                <a:off x="4125913" y="3490913"/>
                <a:ext cx="1587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51" name="îŝľîdê"/>
              <p:cNvSpPr/>
              <p:nvPr/>
            </p:nvSpPr>
            <p:spPr bwMode="auto">
              <a:xfrm>
                <a:off x="3709988" y="3490913"/>
                <a:ext cx="1587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52" name="îṧlîḓè"/>
              <p:cNvSpPr/>
              <p:nvPr/>
            </p:nvSpPr>
            <p:spPr bwMode="auto">
              <a:xfrm>
                <a:off x="4095751" y="3490913"/>
                <a:ext cx="17463"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53" name="iṥḻîḍe"/>
              <p:cNvSpPr/>
              <p:nvPr/>
            </p:nvSpPr>
            <p:spPr bwMode="auto">
              <a:xfrm>
                <a:off x="3663951" y="3460750"/>
                <a:ext cx="495300"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54" name="iṩļïďe"/>
              <p:cNvSpPr/>
              <p:nvPr/>
            </p:nvSpPr>
            <p:spPr bwMode="auto">
              <a:xfrm>
                <a:off x="3663951" y="3473450"/>
                <a:ext cx="115888" cy="4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55" name="iṧliḋé"/>
              <p:cNvSpPr/>
              <p:nvPr/>
            </p:nvSpPr>
            <p:spPr bwMode="auto">
              <a:xfrm>
                <a:off x="3789363" y="3473450"/>
                <a:ext cx="42863" cy="4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56" name="ïs1íde"/>
              <p:cNvSpPr/>
              <p:nvPr/>
            </p:nvSpPr>
            <p:spPr bwMode="auto">
              <a:xfrm>
                <a:off x="3851276" y="3473450"/>
                <a:ext cx="57150" cy="4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57" name="iṣļíde"/>
              <p:cNvSpPr/>
              <p:nvPr/>
            </p:nvSpPr>
            <p:spPr bwMode="auto">
              <a:xfrm>
                <a:off x="3917951" y="3473450"/>
                <a:ext cx="55563" cy="4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58" name="îS1idê"/>
              <p:cNvSpPr/>
              <p:nvPr/>
            </p:nvSpPr>
            <p:spPr bwMode="auto">
              <a:xfrm>
                <a:off x="3994151" y="3473450"/>
                <a:ext cx="42863" cy="4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59" name="íŝlíḓê"/>
              <p:cNvSpPr/>
              <p:nvPr/>
            </p:nvSpPr>
            <p:spPr bwMode="auto">
              <a:xfrm>
                <a:off x="4046538" y="3473450"/>
                <a:ext cx="112713" cy="4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60" name="íšḷíḍè"/>
              <p:cNvSpPr/>
              <p:nvPr/>
            </p:nvSpPr>
            <p:spPr bwMode="auto">
              <a:xfrm>
                <a:off x="3979863" y="3473450"/>
                <a:ext cx="7938" cy="4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61" name="îṣļïďé"/>
              <p:cNvSpPr/>
              <p:nvPr/>
            </p:nvSpPr>
            <p:spPr bwMode="auto">
              <a:xfrm>
                <a:off x="3838576" y="3473450"/>
                <a:ext cx="6350" cy="4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62" name="išľïḑê"/>
              <p:cNvSpPr/>
              <p:nvPr/>
            </p:nvSpPr>
            <p:spPr bwMode="auto">
              <a:xfrm>
                <a:off x="3851276" y="3384550"/>
                <a:ext cx="26988" cy="6350"/>
              </a:xfrm>
              <a:custGeom>
                <a:avLst/>
                <a:gdLst>
                  <a:gd name="T0" fmla="*/ 8 w 8"/>
                  <a:gd name="T1" fmla="*/ 0 h 2"/>
                  <a:gd name="T2" fmla="*/ 8 w 8"/>
                  <a:gd name="T3" fmla="*/ 2 h 2"/>
                  <a:gd name="T4" fmla="*/ 0 w 8"/>
                  <a:gd name="T5" fmla="*/ 2 h 2"/>
                  <a:gd name="T6" fmla="*/ 8 w 8"/>
                  <a:gd name="T7" fmla="*/ 0 h 2"/>
                  <a:gd name="T8" fmla="*/ 8 w 8"/>
                  <a:gd name="T9" fmla="*/ 0 h 2"/>
                  <a:gd name="T10" fmla="*/ 8 w 8"/>
                  <a:gd name="T11" fmla="*/ 0 h 2"/>
                </a:gdLst>
                <a:ahLst/>
                <a:cxnLst>
                  <a:cxn ang="0">
                    <a:pos x="T0" y="T1"/>
                  </a:cxn>
                  <a:cxn ang="0">
                    <a:pos x="T2" y="T3"/>
                  </a:cxn>
                  <a:cxn ang="0">
                    <a:pos x="T4" y="T5"/>
                  </a:cxn>
                  <a:cxn ang="0">
                    <a:pos x="T6" y="T7"/>
                  </a:cxn>
                  <a:cxn ang="0">
                    <a:pos x="T8" y="T9"/>
                  </a:cxn>
                  <a:cxn ang="0">
                    <a:pos x="T10" y="T11"/>
                  </a:cxn>
                </a:cxnLst>
                <a:rect l="0" t="0" r="r" b="b"/>
                <a:pathLst>
                  <a:path w="8" h="2">
                    <a:moveTo>
                      <a:pt x="8" y="0"/>
                    </a:moveTo>
                    <a:cubicBezTo>
                      <a:pt x="8" y="2"/>
                      <a:pt x="8" y="2"/>
                      <a:pt x="8" y="2"/>
                    </a:cubicBezTo>
                    <a:cubicBezTo>
                      <a:pt x="0" y="2"/>
                      <a:pt x="0" y="2"/>
                      <a:pt x="0" y="2"/>
                    </a:cubicBezTo>
                    <a:cubicBezTo>
                      <a:pt x="0" y="2"/>
                      <a:pt x="0" y="0"/>
                      <a:pt x="8" y="0"/>
                    </a:cubicBezTo>
                    <a:close/>
                    <a:moveTo>
                      <a:pt x="8" y="0"/>
                    </a:moveTo>
                    <a:cubicBezTo>
                      <a:pt x="8" y="0"/>
                      <a:pt x="8" y="0"/>
                      <a:pt x="8" y="0"/>
                    </a:cubicBezTo>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63" name="íṣlíḋê"/>
              <p:cNvSpPr/>
              <p:nvPr/>
            </p:nvSpPr>
            <p:spPr bwMode="auto">
              <a:xfrm>
                <a:off x="3817938" y="3384550"/>
                <a:ext cx="26988" cy="15875"/>
              </a:xfrm>
              <a:custGeom>
                <a:avLst/>
                <a:gdLst>
                  <a:gd name="T0" fmla="*/ 7 w 8"/>
                  <a:gd name="T1" fmla="*/ 0 h 5"/>
                  <a:gd name="T2" fmla="*/ 8 w 8"/>
                  <a:gd name="T3" fmla="*/ 2 h 5"/>
                  <a:gd name="T4" fmla="*/ 1 w 8"/>
                  <a:gd name="T5" fmla="*/ 5 h 5"/>
                  <a:gd name="T6" fmla="*/ 7 w 8"/>
                  <a:gd name="T7" fmla="*/ 0 h 5"/>
                  <a:gd name="T8" fmla="*/ 7 w 8"/>
                  <a:gd name="T9" fmla="*/ 0 h 5"/>
                  <a:gd name="T10" fmla="*/ 7 w 8"/>
                  <a:gd name="T11" fmla="*/ 0 h 5"/>
                </a:gdLst>
                <a:ahLst/>
                <a:cxnLst>
                  <a:cxn ang="0">
                    <a:pos x="T0" y="T1"/>
                  </a:cxn>
                  <a:cxn ang="0">
                    <a:pos x="T2" y="T3"/>
                  </a:cxn>
                  <a:cxn ang="0">
                    <a:pos x="T4" y="T5"/>
                  </a:cxn>
                  <a:cxn ang="0">
                    <a:pos x="T6" y="T7"/>
                  </a:cxn>
                  <a:cxn ang="0">
                    <a:pos x="T8" y="T9"/>
                  </a:cxn>
                  <a:cxn ang="0">
                    <a:pos x="T10" y="T11"/>
                  </a:cxn>
                </a:cxnLst>
                <a:rect l="0" t="0" r="r" b="b"/>
                <a:pathLst>
                  <a:path w="8" h="5">
                    <a:moveTo>
                      <a:pt x="7" y="0"/>
                    </a:moveTo>
                    <a:cubicBezTo>
                      <a:pt x="8" y="2"/>
                      <a:pt x="8" y="2"/>
                      <a:pt x="8" y="2"/>
                    </a:cubicBezTo>
                    <a:cubicBezTo>
                      <a:pt x="1" y="5"/>
                      <a:pt x="1" y="5"/>
                      <a:pt x="1" y="5"/>
                    </a:cubicBezTo>
                    <a:cubicBezTo>
                      <a:pt x="1" y="5"/>
                      <a:pt x="0" y="2"/>
                      <a:pt x="7" y="0"/>
                    </a:cubicBezTo>
                    <a:close/>
                    <a:moveTo>
                      <a:pt x="7" y="0"/>
                    </a:moveTo>
                    <a:cubicBezTo>
                      <a:pt x="7" y="0"/>
                      <a:pt x="7" y="0"/>
                      <a:pt x="7" y="0"/>
                    </a:cubicBezTo>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64" name="ïSḷíḓé"/>
              <p:cNvSpPr/>
              <p:nvPr/>
            </p:nvSpPr>
            <p:spPr bwMode="auto">
              <a:xfrm>
                <a:off x="3983038" y="3384550"/>
                <a:ext cx="26988" cy="15875"/>
              </a:xfrm>
              <a:custGeom>
                <a:avLst/>
                <a:gdLst>
                  <a:gd name="T0" fmla="*/ 1 w 8"/>
                  <a:gd name="T1" fmla="*/ 0 h 5"/>
                  <a:gd name="T2" fmla="*/ 0 w 8"/>
                  <a:gd name="T3" fmla="*/ 2 h 5"/>
                  <a:gd name="T4" fmla="*/ 7 w 8"/>
                  <a:gd name="T5" fmla="*/ 5 h 5"/>
                  <a:gd name="T6" fmla="*/ 1 w 8"/>
                  <a:gd name="T7" fmla="*/ 0 h 5"/>
                  <a:gd name="T8" fmla="*/ 1 w 8"/>
                  <a:gd name="T9" fmla="*/ 0 h 5"/>
                  <a:gd name="T10" fmla="*/ 1 w 8"/>
                  <a:gd name="T11" fmla="*/ 0 h 5"/>
                </a:gdLst>
                <a:ahLst/>
                <a:cxnLst>
                  <a:cxn ang="0">
                    <a:pos x="T0" y="T1"/>
                  </a:cxn>
                  <a:cxn ang="0">
                    <a:pos x="T2" y="T3"/>
                  </a:cxn>
                  <a:cxn ang="0">
                    <a:pos x="T4" y="T5"/>
                  </a:cxn>
                  <a:cxn ang="0">
                    <a:pos x="T6" y="T7"/>
                  </a:cxn>
                  <a:cxn ang="0">
                    <a:pos x="T8" y="T9"/>
                  </a:cxn>
                  <a:cxn ang="0">
                    <a:pos x="T10" y="T11"/>
                  </a:cxn>
                </a:cxnLst>
                <a:rect l="0" t="0" r="r" b="b"/>
                <a:pathLst>
                  <a:path w="8" h="5">
                    <a:moveTo>
                      <a:pt x="1" y="0"/>
                    </a:moveTo>
                    <a:cubicBezTo>
                      <a:pt x="0" y="2"/>
                      <a:pt x="0" y="2"/>
                      <a:pt x="0" y="2"/>
                    </a:cubicBezTo>
                    <a:cubicBezTo>
                      <a:pt x="7" y="5"/>
                      <a:pt x="7" y="5"/>
                      <a:pt x="7" y="5"/>
                    </a:cubicBezTo>
                    <a:cubicBezTo>
                      <a:pt x="7" y="5"/>
                      <a:pt x="8" y="2"/>
                      <a:pt x="1" y="0"/>
                    </a:cubicBezTo>
                    <a:close/>
                    <a:moveTo>
                      <a:pt x="1" y="0"/>
                    </a:moveTo>
                    <a:cubicBezTo>
                      <a:pt x="1" y="0"/>
                      <a:pt x="1" y="0"/>
                      <a:pt x="1" y="0"/>
                    </a:cubicBezTo>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65" name="iṩľíḓè"/>
              <p:cNvSpPr/>
              <p:nvPr/>
            </p:nvSpPr>
            <p:spPr bwMode="auto">
              <a:xfrm>
                <a:off x="3884613" y="3384550"/>
                <a:ext cx="26988" cy="6350"/>
              </a:xfrm>
              <a:custGeom>
                <a:avLst/>
                <a:gdLst>
                  <a:gd name="T0" fmla="*/ 8 w 8"/>
                  <a:gd name="T1" fmla="*/ 0 h 2"/>
                  <a:gd name="T2" fmla="*/ 8 w 8"/>
                  <a:gd name="T3" fmla="*/ 2 h 2"/>
                  <a:gd name="T4" fmla="*/ 0 w 8"/>
                  <a:gd name="T5" fmla="*/ 2 h 2"/>
                  <a:gd name="T6" fmla="*/ 8 w 8"/>
                  <a:gd name="T7" fmla="*/ 0 h 2"/>
                  <a:gd name="T8" fmla="*/ 8 w 8"/>
                  <a:gd name="T9" fmla="*/ 0 h 2"/>
                  <a:gd name="T10" fmla="*/ 8 w 8"/>
                  <a:gd name="T11" fmla="*/ 0 h 2"/>
                </a:gdLst>
                <a:ahLst/>
                <a:cxnLst>
                  <a:cxn ang="0">
                    <a:pos x="T0" y="T1"/>
                  </a:cxn>
                  <a:cxn ang="0">
                    <a:pos x="T2" y="T3"/>
                  </a:cxn>
                  <a:cxn ang="0">
                    <a:pos x="T4" y="T5"/>
                  </a:cxn>
                  <a:cxn ang="0">
                    <a:pos x="T6" y="T7"/>
                  </a:cxn>
                  <a:cxn ang="0">
                    <a:pos x="T8" y="T9"/>
                  </a:cxn>
                  <a:cxn ang="0">
                    <a:pos x="T10" y="T11"/>
                  </a:cxn>
                </a:cxnLst>
                <a:rect l="0" t="0" r="r" b="b"/>
                <a:pathLst>
                  <a:path w="8" h="2">
                    <a:moveTo>
                      <a:pt x="8" y="0"/>
                    </a:moveTo>
                    <a:cubicBezTo>
                      <a:pt x="8" y="2"/>
                      <a:pt x="8" y="2"/>
                      <a:pt x="8" y="2"/>
                    </a:cubicBezTo>
                    <a:cubicBezTo>
                      <a:pt x="0" y="2"/>
                      <a:pt x="0" y="2"/>
                      <a:pt x="0" y="2"/>
                    </a:cubicBezTo>
                    <a:cubicBezTo>
                      <a:pt x="0" y="2"/>
                      <a:pt x="0" y="0"/>
                      <a:pt x="8" y="0"/>
                    </a:cubicBezTo>
                    <a:close/>
                    <a:moveTo>
                      <a:pt x="8" y="0"/>
                    </a:moveTo>
                    <a:cubicBezTo>
                      <a:pt x="8" y="0"/>
                      <a:pt x="8" y="0"/>
                      <a:pt x="8" y="0"/>
                    </a:cubicBezTo>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66" name="íṧlíḓè"/>
              <p:cNvSpPr/>
              <p:nvPr/>
            </p:nvSpPr>
            <p:spPr bwMode="auto">
              <a:xfrm>
                <a:off x="3917951" y="3384550"/>
                <a:ext cx="25400" cy="6350"/>
              </a:xfrm>
              <a:custGeom>
                <a:avLst/>
                <a:gdLst>
                  <a:gd name="T0" fmla="*/ 8 w 8"/>
                  <a:gd name="T1" fmla="*/ 0 h 2"/>
                  <a:gd name="T2" fmla="*/ 8 w 8"/>
                  <a:gd name="T3" fmla="*/ 2 h 2"/>
                  <a:gd name="T4" fmla="*/ 0 w 8"/>
                  <a:gd name="T5" fmla="*/ 2 h 2"/>
                  <a:gd name="T6" fmla="*/ 8 w 8"/>
                  <a:gd name="T7" fmla="*/ 0 h 2"/>
                  <a:gd name="T8" fmla="*/ 8 w 8"/>
                  <a:gd name="T9" fmla="*/ 0 h 2"/>
                  <a:gd name="T10" fmla="*/ 8 w 8"/>
                  <a:gd name="T11" fmla="*/ 0 h 2"/>
                </a:gdLst>
                <a:ahLst/>
                <a:cxnLst>
                  <a:cxn ang="0">
                    <a:pos x="T0" y="T1"/>
                  </a:cxn>
                  <a:cxn ang="0">
                    <a:pos x="T2" y="T3"/>
                  </a:cxn>
                  <a:cxn ang="0">
                    <a:pos x="T4" y="T5"/>
                  </a:cxn>
                  <a:cxn ang="0">
                    <a:pos x="T6" y="T7"/>
                  </a:cxn>
                  <a:cxn ang="0">
                    <a:pos x="T8" y="T9"/>
                  </a:cxn>
                  <a:cxn ang="0">
                    <a:pos x="T10" y="T11"/>
                  </a:cxn>
                </a:cxnLst>
                <a:rect l="0" t="0" r="r" b="b"/>
                <a:pathLst>
                  <a:path w="8" h="2">
                    <a:moveTo>
                      <a:pt x="8" y="0"/>
                    </a:moveTo>
                    <a:cubicBezTo>
                      <a:pt x="8" y="2"/>
                      <a:pt x="8" y="2"/>
                      <a:pt x="8" y="2"/>
                    </a:cubicBezTo>
                    <a:cubicBezTo>
                      <a:pt x="0" y="2"/>
                      <a:pt x="0" y="2"/>
                      <a:pt x="0" y="2"/>
                    </a:cubicBezTo>
                    <a:cubicBezTo>
                      <a:pt x="0" y="2"/>
                      <a:pt x="0" y="0"/>
                      <a:pt x="8" y="0"/>
                    </a:cubicBezTo>
                    <a:close/>
                    <a:moveTo>
                      <a:pt x="8" y="0"/>
                    </a:moveTo>
                    <a:cubicBezTo>
                      <a:pt x="8" y="0"/>
                      <a:pt x="8" y="0"/>
                      <a:pt x="8" y="0"/>
                    </a:cubicBezTo>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67" name="îŝ1îďè"/>
              <p:cNvSpPr/>
              <p:nvPr/>
            </p:nvSpPr>
            <p:spPr bwMode="auto">
              <a:xfrm>
                <a:off x="3951288" y="3384550"/>
                <a:ext cx="25400" cy="6350"/>
              </a:xfrm>
              <a:custGeom>
                <a:avLst/>
                <a:gdLst>
                  <a:gd name="T0" fmla="*/ 8 w 8"/>
                  <a:gd name="T1" fmla="*/ 0 h 2"/>
                  <a:gd name="T2" fmla="*/ 8 w 8"/>
                  <a:gd name="T3" fmla="*/ 2 h 2"/>
                  <a:gd name="T4" fmla="*/ 0 w 8"/>
                  <a:gd name="T5" fmla="*/ 2 h 2"/>
                  <a:gd name="T6" fmla="*/ 8 w 8"/>
                  <a:gd name="T7" fmla="*/ 0 h 2"/>
                  <a:gd name="T8" fmla="*/ 8 w 8"/>
                  <a:gd name="T9" fmla="*/ 0 h 2"/>
                  <a:gd name="T10" fmla="*/ 8 w 8"/>
                  <a:gd name="T11" fmla="*/ 0 h 2"/>
                </a:gdLst>
                <a:ahLst/>
                <a:cxnLst>
                  <a:cxn ang="0">
                    <a:pos x="T0" y="T1"/>
                  </a:cxn>
                  <a:cxn ang="0">
                    <a:pos x="T2" y="T3"/>
                  </a:cxn>
                  <a:cxn ang="0">
                    <a:pos x="T4" y="T5"/>
                  </a:cxn>
                  <a:cxn ang="0">
                    <a:pos x="T6" y="T7"/>
                  </a:cxn>
                  <a:cxn ang="0">
                    <a:pos x="T8" y="T9"/>
                  </a:cxn>
                  <a:cxn ang="0">
                    <a:pos x="T10" y="T11"/>
                  </a:cxn>
                </a:cxnLst>
                <a:rect l="0" t="0" r="r" b="b"/>
                <a:pathLst>
                  <a:path w="8" h="2">
                    <a:moveTo>
                      <a:pt x="8" y="0"/>
                    </a:moveTo>
                    <a:cubicBezTo>
                      <a:pt x="8" y="2"/>
                      <a:pt x="8" y="2"/>
                      <a:pt x="8" y="2"/>
                    </a:cubicBezTo>
                    <a:cubicBezTo>
                      <a:pt x="0" y="2"/>
                      <a:pt x="0" y="2"/>
                      <a:pt x="0" y="2"/>
                    </a:cubicBezTo>
                    <a:cubicBezTo>
                      <a:pt x="0" y="2"/>
                      <a:pt x="0" y="0"/>
                      <a:pt x="8" y="0"/>
                    </a:cubicBezTo>
                    <a:close/>
                    <a:moveTo>
                      <a:pt x="8" y="0"/>
                    </a:moveTo>
                    <a:cubicBezTo>
                      <a:pt x="8" y="0"/>
                      <a:pt x="8" y="0"/>
                      <a:pt x="8" y="0"/>
                    </a:cubicBezTo>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68" name="îṥ1íḓe"/>
              <p:cNvSpPr/>
              <p:nvPr/>
            </p:nvSpPr>
            <p:spPr bwMode="auto">
              <a:xfrm>
                <a:off x="3771901" y="3484563"/>
                <a:ext cx="7938" cy="60325"/>
              </a:xfrm>
              <a:prstGeom prst="rect">
                <a:avLst/>
              </a:prstGeom>
              <a:solidFill>
                <a:srgbClr val="FFFFFF"/>
              </a:solidFill>
              <a:ln w="0" cap="flat">
                <a:solidFill>
                  <a:srgbClr val="FFFFFF"/>
                </a:solidFill>
                <a:prstDash val="solid"/>
                <a:miter lim="800000"/>
              </a:ln>
            </p:spPr>
            <p:txBody>
              <a:bodyPr anchor="ctr"/>
              <a:lstStyle/>
              <a:p>
                <a:pPr algn="ctr"/>
                <a:endParaRPr dirty="0"/>
              </a:p>
            </p:txBody>
          </p:sp>
          <p:sp>
            <p:nvSpPr>
              <p:cNvPr id="69" name="íSļïḋè"/>
              <p:cNvSpPr/>
              <p:nvPr/>
            </p:nvSpPr>
            <p:spPr bwMode="auto">
              <a:xfrm>
                <a:off x="3786188" y="3484563"/>
                <a:ext cx="46038" cy="60325"/>
              </a:xfrm>
              <a:custGeom>
                <a:avLst/>
                <a:gdLst>
                  <a:gd name="T0" fmla="*/ 8 w 29"/>
                  <a:gd name="T1" fmla="*/ 0 h 38"/>
                  <a:gd name="T2" fmla="*/ 20 w 29"/>
                  <a:gd name="T3" fmla="*/ 0 h 38"/>
                  <a:gd name="T4" fmla="*/ 29 w 29"/>
                  <a:gd name="T5" fmla="*/ 8 h 38"/>
                  <a:gd name="T6" fmla="*/ 29 w 29"/>
                  <a:gd name="T7" fmla="*/ 38 h 38"/>
                  <a:gd name="T8" fmla="*/ 0 w 29"/>
                  <a:gd name="T9" fmla="*/ 38 h 38"/>
                  <a:gd name="T10" fmla="*/ 0 w 29"/>
                  <a:gd name="T11" fmla="*/ 8 h 38"/>
                  <a:gd name="T12" fmla="*/ 8 w 29"/>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9" h="38">
                    <a:moveTo>
                      <a:pt x="8" y="0"/>
                    </a:moveTo>
                    <a:lnTo>
                      <a:pt x="20" y="0"/>
                    </a:lnTo>
                    <a:lnTo>
                      <a:pt x="29" y="8"/>
                    </a:lnTo>
                    <a:lnTo>
                      <a:pt x="29" y="38"/>
                    </a:lnTo>
                    <a:lnTo>
                      <a:pt x="0" y="38"/>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70" name="îṡḻiḑè"/>
              <p:cNvSpPr/>
              <p:nvPr/>
            </p:nvSpPr>
            <p:spPr bwMode="auto">
              <a:xfrm>
                <a:off x="3994151" y="3484563"/>
                <a:ext cx="46038" cy="60325"/>
              </a:xfrm>
              <a:custGeom>
                <a:avLst/>
                <a:gdLst>
                  <a:gd name="T0" fmla="*/ 8 w 29"/>
                  <a:gd name="T1" fmla="*/ 0 h 38"/>
                  <a:gd name="T2" fmla="*/ 18 w 29"/>
                  <a:gd name="T3" fmla="*/ 0 h 38"/>
                  <a:gd name="T4" fmla="*/ 29 w 29"/>
                  <a:gd name="T5" fmla="*/ 8 h 38"/>
                  <a:gd name="T6" fmla="*/ 29 w 29"/>
                  <a:gd name="T7" fmla="*/ 38 h 38"/>
                  <a:gd name="T8" fmla="*/ 0 w 29"/>
                  <a:gd name="T9" fmla="*/ 38 h 38"/>
                  <a:gd name="T10" fmla="*/ 0 w 29"/>
                  <a:gd name="T11" fmla="*/ 8 h 38"/>
                  <a:gd name="T12" fmla="*/ 8 w 29"/>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9" h="38">
                    <a:moveTo>
                      <a:pt x="8" y="0"/>
                    </a:moveTo>
                    <a:lnTo>
                      <a:pt x="18" y="0"/>
                    </a:lnTo>
                    <a:lnTo>
                      <a:pt x="29" y="8"/>
                    </a:lnTo>
                    <a:lnTo>
                      <a:pt x="29" y="38"/>
                    </a:lnTo>
                    <a:lnTo>
                      <a:pt x="0" y="38"/>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71" name="iš1iḍé"/>
              <p:cNvSpPr/>
              <p:nvPr/>
            </p:nvSpPr>
            <p:spPr bwMode="auto">
              <a:xfrm>
                <a:off x="3851276" y="3484563"/>
                <a:ext cx="122238" cy="60325"/>
              </a:xfrm>
              <a:custGeom>
                <a:avLst/>
                <a:gdLst>
                  <a:gd name="T0" fmla="*/ 9 w 77"/>
                  <a:gd name="T1" fmla="*/ 0 h 38"/>
                  <a:gd name="T2" fmla="*/ 69 w 77"/>
                  <a:gd name="T3" fmla="*/ 0 h 38"/>
                  <a:gd name="T4" fmla="*/ 77 w 77"/>
                  <a:gd name="T5" fmla="*/ 8 h 38"/>
                  <a:gd name="T6" fmla="*/ 77 w 77"/>
                  <a:gd name="T7" fmla="*/ 38 h 38"/>
                  <a:gd name="T8" fmla="*/ 0 w 77"/>
                  <a:gd name="T9" fmla="*/ 38 h 38"/>
                  <a:gd name="T10" fmla="*/ 0 w 77"/>
                  <a:gd name="T11" fmla="*/ 8 h 38"/>
                  <a:gd name="T12" fmla="*/ 9 w 77"/>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77" h="38">
                    <a:moveTo>
                      <a:pt x="9" y="0"/>
                    </a:moveTo>
                    <a:lnTo>
                      <a:pt x="69" y="0"/>
                    </a:lnTo>
                    <a:lnTo>
                      <a:pt x="77" y="8"/>
                    </a:lnTo>
                    <a:lnTo>
                      <a:pt x="77" y="38"/>
                    </a:lnTo>
                    <a:lnTo>
                      <a:pt x="0" y="38"/>
                    </a:lnTo>
                    <a:lnTo>
                      <a:pt x="0" y="8"/>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72" name="î$ḻïḓé"/>
              <p:cNvSpPr/>
              <p:nvPr/>
            </p:nvSpPr>
            <p:spPr bwMode="auto">
              <a:xfrm>
                <a:off x="4046538" y="3484563"/>
                <a:ext cx="6350" cy="60325"/>
              </a:xfrm>
              <a:prstGeom prst="rect">
                <a:avLst/>
              </a:prstGeom>
              <a:solidFill>
                <a:srgbClr val="FFFFFF"/>
              </a:solidFill>
              <a:ln w="0" cap="flat">
                <a:solidFill>
                  <a:srgbClr val="FFFFFF"/>
                </a:solidFill>
                <a:prstDash val="solid"/>
                <a:miter lim="800000"/>
              </a:ln>
            </p:spPr>
            <p:txBody>
              <a:bodyPr anchor="ctr"/>
              <a:lstStyle/>
              <a:p>
                <a:pPr algn="ctr"/>
                <a:endParaRPr dirty="0"/>
              </a:p>
            </p:txBody>
          </p:sp>
          <p:sp>
            <p:nvSpPr>
              <p:cNvPr id="73" name="ïṩ1íḓe"/>
              <p:cNvSpPr/>
              <p:nvPr/>
            </p:nvSpPr>
            <p:spPr bwMode="auto">
              <a:xfrm>
                <a:off x="3838576" y="3484563"/>
                <a:ext cx="6350" cy="60325"/>
              </a:xfrm>
              <a:prstGeom prst="rect">
                <a:avLst/>
              </a:prstGeom>
              <a:solidFill>
                <a:srgbClr val="FFFFFF"/>
              </a:solidFill>
              <a:ln w="0" cap="flat">
                <a:solidFill>
                  <a:srgbClr val="FFFFFF"/>
                </a:solidFill>
                <a:prstDash val="solid"/>
                <a:miter lim="800000"/>
              </a:ln>
            </p:spPr>
            <p:txBody>
              <a:bodyPr anchor="ctr"/>
              <a:lstStyle/>
              <a:p>
                <a:pPr algn="ctr"/>
                <a:endParaRPr dirty="0"/>
              </a:p>
            </p:txBody>
          </p:sp>
          <p:sp>
            <p:nvSpPr>
              <p:cNvPr id="74" name="íṧḷíďê"/>
              <p:cNvSpPr/>
              <p:nvPr/>
            </p:nvSpPr>
            <p:spPr bwMode="auto">
              <a:xfrm>
                <a:off x="3979863" y="3484563"/>
                <a:ext cx="3175" cy="60325"/>
              </a:xfrm>
              <a:prstGeom prst="rect">
                <a:avLst/>
              </a:prstGeom>
              <a:solidFill>
                <a:srgbClr val="FFFFFF"/>
              </a:solidFill>
              <a:ln w="0" cap="flat">
                <a:solidFill>
                  <a:srgbClr val="FFFFFF"/>
                </a:solidFill>
                <a:prstDash val="solid"/>
                <a:miter lim="800000"/>
              </a:ln>
            </p:spPr>
            <p:txBody>
              <a:bodyPr anchor="ctr"/>
              <a:lstStyle/>
              <a:p>
                <a:pPr algn="ctr"/>
                <a:endParaRPr dirty="0"/>
              </a:p>
            </p:txBody>
          </p:sp>
          <p:sp>
            <p:nvSpPr>
              <p:cNvPr id="75" name="îṥļïḓè"/>
              <p:cNvSpPr/>
              <p:nvPr/>
            </p:nvSpPr>
            <p:spPr bwMode="auto">
              <a:xfrm>
                <a:off x="3811588" y="3551238"/>
                <a:ext cx="204788" cy="3175"/>
              </a:xfrm>
              <a:prstGeom prst="rect">
                <a:avLst/>
              </a:prstGeom>
              <a:solidFill>
                <a:srgbClr val="1E267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76" name="îṣlîḋe"/>
              <p:cNvSpPr/>
              <p:nvPr/>
            </p:nvSpPr>
            <p:spPr bwMode="auto">
              <a:xfrm>
                <a:off x="3805238" y="3557588"/>
                <a:ext cx="214313" cy="3175"/>
              </a:xfrm>
              <a:prstGeom prst="rect">
                <a:avLst/>
              </a:prstGeom>
              <a:solidFill>
                <a:srgbClr val="1E267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77" name="íṩ1íďé"/>
              <p:cNvSpPr/>
              <p:nvPr/>
            </p:nvSpPr>
            <p:spPr bwMode="auto">
              <a:xfrm>
                <a:off x="3802063" y="3567113"/>
                <a:ext cx="220663" cy="1588"/>
              </a:xfrm>
              <a:prstGeom prst="rect">
                <a:avLst/>
              </a:prstGeom>
              <a:solidFill>
                <a:srgbClr val="1E267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78" name="iŝlidê"/>
              <p:cNvSpPr/>
              <p:nvPr/>
            </p:nvSpPr>
            <p:spPr bwMode="auto">
              <a:xfrm>
                <a:off x="3802063" y="3570288"/>
                <a:ext cx="223838" cy="3175"/>
              </a:xfrm>
              <a:prstGeom prst="rect">
                <a:avLst/>
              </a:prstGeom>
              <a:solidFill>
                <a:srgbClr val="1E267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79" name="i$ḷîḑê"/>
              <p:cNvSpPr/>
              <p:nvPr/>
            </p:nvSpPr>
            <p:spPr bwMode="auto">
              <a:xfrm>
                <a:off x="3795713" y="3581400"/>
                <a:ext cx="234950" cy="3175"/>
              </a:xfrm>
              <a:prstGeom prst="rect">
                <a:avLst/>
              </a:prstGeom>
              <a:solidFill>
                <a:srgbClr val="1E267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80" name="ïş1íḍê"/>
              <p:cNvSpPr/>
              <p:nvPr/>
            </p:nvSpPr>
            <p:spPr bwMode="auto">
              <a:xfrm>
                <a:off x="3633788" y="3587750"/>
                <a:ext cx="560388" cy="6350"/>
              </a:xfrm>
              <a:custGeom>
                <a:avLst/>
                <a:gdLst>
                  <a:gd name="T0" fmla="*/ 0 w 353"/>
                  <a:gd name="T1" fmla="*/ 0 h 4"/>
                  <a:gd name="T2" fmla="*/ 353 w 353"/>
                  <a:gd name="T3" fmla="*/ 0 h 4"/>
                  <a:gd name="T4" fmla="*/ 351 w 353"/>
                  <a:gd name="T5" fmla="*/ 4 h 4"/>
                  <a:gd name="T6" fmla="*/ 2 w 353"/>
                  <a:gd name="T7" fmla="*/ 4 h 4"/>
                  <a:gd name="T8" fmla="*/ 0 w 353"/>
                  <a:gd name="T9" fmla="*/ 0 h 4"/>
                </a:gdLst>
                <a:ahLst/>
                <a:cxnLst>
                  <a:cxn ang="0">
                    <a:pos x="T0" y="T1"/>
                  </a:cxn>
                  <a:cxn ang="0">
                    <a:pos x="T2" y="T3"/>
                  </a:cxn>
                  <a:cxn ang="0">
                    <a:pos x="T4" y="T5"/>
                  </a:cxn>
                  <a:cxn ang="0">
                    <a:pos x="T6" y="T7"/>
                  </a:cxn>
                  <a:cxn ang="0">
                    <a:pos x="T8" y="T9"/>
                  </a:cxn>
                </a:cxnLst>
                <a:rect l="0" t="0" r="r" b="b"/>
                <a:pathLst>
                  <a:path w="353" h="4">
                    <a:moveTo>
                      <a:pt x="0" y="0"/>
                    </a:moveTo>
                    <a:lnTo>
                      <a:pt x="353" y="0"/>
                    </a:lnTo>
                    <a:lnTo>
                      <a:pt x="351" y="4"/>
                    </a:lnTo>
                    <a:lnTo>
                      <a:pt x="2" y="4"/>
                    </a:lnTo>
                    <a:lnTo>
                      <a:pt x="0" y="0"/>
                    </a:lnTo>
                    <a:close/>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81" name="iṥľîḋe"/>
              <p:cNvSpPr/>
              <p:nvPr/>
            </p:nvSpPr>
            <p:spPr bwMode="auto">
              <a:xfrm>
                <a:off x="3640138" y="3600450"/>
                <a:ext cx="547688" cy="6350"/>
              </a:xfrm>
              <a:custGeom>
                <a:avLst/>
                <a:gdLst>
                  <a:gd name="T0" fmla="*/ 0 w 345"/>
                  <a:gd name="T1" fmla="*/ 0 h 4"/>
                  <a:gd name="T2" fmla="*/ 345 w 345"/>
                  <a:gd name="T3" fmla="*/ 0 h 4"/>
                  <a:gd name="T4" fmla="*/ 343 w 345"/>
                  <a:gd name="T5" fmla="*/ 4 h 4"/>
                  <a:gd name="T6" fmla="*/ 2 w 345"/>
                  <a:gd name="T7" fmla="*/ 4 h 4"/>
                  <a:gd name="T8" fmla="*/ 0 w 345"/>
                  <a:gd name="T9" fmla="*/ 0 h 4"/>
                </a:gdLst>
                <a:ahLst/>
                <a:cxnLst>
                  <a:cxn ang="0">
                    <a:pos x="T0" y="T1"/>
                  </a:cxn>
                  <a:cxn ang="0">
                    <a:pos x="T2" y="T3"/>
                  </a:cxn>
                  <a:cxn ang="0">
                    <a:pos x="T4" y="T5"/>
                  </a:cxn>
                  <a:cxn ang="0">
                    <a:pos x="T6" y="T7"/>
                  </a:cxn>
                  <a:cxn ang="0">
                    <a:pos x="T8" y="T9"/>
                  </a:cxn>
                </a:cxnLst>
                <a:rect l="0" t="0" r="r" b="b"/>
                <a:pathLst>
                  <a:path w="345" h="4">
                    <a:moveTo>
                      <a:pt x="0" y="0"/>
                    </a:moveTo>
                    <a:lnTo>
                      <a:pt x="345" y="0"/>
                    </a:lnTo>
                    <a:lnTo>
                      <a:pt x="343" y="4"/>
                    </a:lnTo>
                    <a:lnTo>
                      <a:pt x="2" y="4"/>
                    </a:lnTo>
                    <a:lnTo>
                      <a:pt x="0" y="0"/>
                    </a:lnTo>
                    <a:close/>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82" name="ís1ide"/>
              <p:cNvSpPr/>
              <p:nvPr/>
            </p:nvSpPr>
            <p:spPr bwMode="auto">
              <a:xfrm>
                <a:off x="3736976" y="3406775"/>
                <a:ext cx="352425" cy="4763"/>
              </a:xfrm>
              <a:prstGeom prst="rect">
                <a:avLst/>
              </a:prstGeom>
              <a:solidFill>
                <a:srgbClr val="1E267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83" name="išḻide"/>
              <p:cNvSpPr/>
              <p:nvPr/>
            </p:nvSpPr>
            <p:spPr bwMode="auto">
              <a:xfrm>
                <a:off x="3746501" y="3417888"/>
                <a:ext cx="33338" cy="3175"/>
              </a:xfrm>
              <a:prstGeom prst="rect">
                <a:avLst/>
              </a:prstGeom>
              <a:solidFill>
                <a:srgbClr val="1E267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84" name="íŝľîḓé"/>
              <p:cNvSpPr/>
              <p:nvPr/>
            </p:nvSpPr>
            <p:spPr bwMode="auto">
              <a:xfrm>
                <a:off x="3805238" y="3417888"/>
                <a:ext cx="211138" cy="1588"/>
              </a:xfrm>
              <a:prstGeom prst="rect">
                <a:avLst/>
              </a:prstGeom>
              <a:solidFill>
                <a:srgbClr val="1E267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85" name="îşḻíďè"/>
              <p:cNvSpPr/>
              <p:nvPr/>
            </p:nvSpPr>
            <p:spPr bwMode="auto">
              <a:xfrm>
                <a:off x="3811588" y="3421063"/>
                <a:ext cx="3175" cy="301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86" name="iş1iḍè"/>
              <p:cNvSpPr/>
              <p:nvPr/>
            </p:nvSpPr>
            <p:spPr bwMode="auto">
              <a:xfrm>
                <a:off x="3802063" y="3421063"/>
                <a:ext cx="3175" cy="301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87" name="iṣľiḑê"/>
              <p:cNvSpPr/>
              <p:nvPr/>
            </p:nvSpPr>
            <p:spPr bwMode="auto">
              <a:xfrm>
                <a:off x="3789363" y="3421063"/>
                <a:ext cx="6350" cy="301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88" name="ï$1íḍé"/>
              <p:cNvSpPr/>
              <p:nvPr/>
            </p:nvSpPr>
            <p:spPr bwMode="auto">
              <a:xfrm>
                <a:off x="3822701" y="3421063"/>
                <a:ext cx="6350" cy="30163"/>
              </a:xfrm>
              <a:custGeom>
                <a:avLst/>
                <a:gdLst>
                  <a:gd name="T0" fmla="*/ 0 w 2"/>
                  <a:gd name="T1" fmla="*/ 0 h 9"/>
                  <a:gd name="T2" fmla="*/ 2 w 2"/>
                  <a:gd name="T3" fmla="*/ 0 h 9"/>
                  <a:gd name="T4" fmla="*/ 2 w 2"/>
                  <a:gd name="T5" fmla="*/ 9 h 9"/>
                  <a:gd name="T6" fmla="*/ 0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cubicBezTo>
                      <a:pt x="1" y="0"/>
                      <a:pt x="1" y="0"/>
                      <a:pt x="2" y="0"/>
                    </a:cubicBezTo>
                    <a:cubicBezTo>
                      <a:pt x="2" y="3"/>
                      <a:pt x="2" y="6"/>
                      <a:pt x="2" y="9"/>
                    </a:cubicBezTo>
                    <a:cubicBezTo>
                      <a:pt x="1" y="9"/>
                      <a:pt x="1"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89" name="ïŝḻïḓé"/>
              <p:cNvSpPr/>
              <p:nvPr/>
            </p:nvSpPr>
            <p:spPr bwMode="auto">
              <a:xfrm>
                <a:off x="3832226" y="3421063"/>
                <a:ext cx="6350" cy="30163"/>
              </a:xfrm>
              <a:custGeom>
                <a:avLst/>
                <a:gdLst>
                  <a:gd name="T0" fmla="*/ 0 w 2"/>
                  <a:gd name="T1" fmla="*/ 0 h 9"/>
                  <a:gd name="T2" fmla="*/ 2 w 2"/>
                  <a:gd name="T3" fmla="*/ 0 h 9"/>
                  <a:gd name="T4" fmla="*/ 2 w 2"/>
                  <a:gd name="T5" fmla="*/ 9 h 9"/>
                  <a:gd name="T6" fmla="*/ 0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cubicBezTo>
                      <a:pt x="1" y="0"/>
                      <a:pt x="1" y="0"/>
                      <a:pt x="2" y="0"/>
                    </a:cubicBezTo>
                    <a:cubicBezTo>
                      <a:pt x="2" y="3"/>
                      <a:pt x="2" y="6"/>
                      <a:pt x="2" y="9"/>
                    </a:cubicBezTo>
                    <a:cubicBezTo>
                      <a:pt x="1" y="9"/>
                      <a:pt x="1"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90" name="íṥḷïďè"/>
              <p:cNvSpPr/>
              <p:nvPr/>
            </p:nvSpPr>
            <p:spPr bwMode="auto">
              <a:xfrm>
                <a:off x="3844926" y="3421063"/>
                <a:ext cx="3175" cy="30163"/>
              </a:xfrm>
              <a:custGeom>
                <a:avLst/>
                <a:gdLst>
                  <a:gd name="T0" fmla="*/ 0 w 1"/>
                  <a:gd name="T1" fmla="*/ 0 h 9"/>
                  <a:gd name="T2" fmla="*/ 1 w 1"/>
                  <a:gd name="T3" fmla="*/ 0 h 9"/>
                  <a:gd name="T4" fmla="*/ 1 w 1"/>
                  <a:gd name="T5" fmla="*/ 9 h 9"/>
                  <a:gd name="T6" fmla="*/ 0 w 1"/>
                  <a:gd name="T7" fmla="*/ 9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1" y="0"/>
                      <a:pt x="1" y="0"/>
                    </a:cubicBezTo>
                    <a:cubicBezTo>
                      <a:pt x="1" y="3"/>
                      <a:pt x="1" y="6"/>
                      <a:pt x="1" y="9"/>
                    </a:cubicBezTo>
                    <a:cubicBezTo>
                      <a:pt x="1" y="9"/>
                      <a:pt x="0"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91" name="işlïďe"/>
              <p:cNvSpPr/>
              <p:nvPr/>
            </p:nvSpPr>
            <p:spPr bwMode="auto">
              <a:xfrm>
                <a:off x="3854451" y="3421063"/>
                <a:ext cx="7938" cy="30163"/>
              </a:xfrm>
              <a:custGeom>
                <a:avLst/>
                <a:gdLst>
                  <a:gd name="T0" fmla="*/ 0 w 2"/>
                  <a:gd name="T1" fmla="*/ 0 h 9"/>
                  <a:gd name="T2" fmla="*/ 2 w 2"/>
                  <a:gd name="T3" fmla="*/ 0 h 9"/>
                  <a:gd name="T4" fmla="*/ 2 w 2"/>
                  <a:gd name="T5" fmla="*/ 9 h 9"/>
                  <a:gd name="T6" fmla="*/ 0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cubicBezTo>
                      <a:pt x="0" y="0"/>
                      <a:pt x="1" y="0"/>
                      <a:pt x="2" y="0"/>
                    </a:cubicBezTo>
                    <a:cubicBezTo>
                      <a:pt x="2" y="3"/>
                      <a:pt x="2" y="6"/>
                      <a:pt x="2" y="9"/>
                    </a:cubicBezTo>
                    <a:cubicBezTo>
                      <a:pt x="1" y="9"/>
                      <a:pt x="0"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92" name="iSļîďè"/>
              <p:cNvSpPr/>
              <p:nvPr/>
            </p:nvSpPr>
            <p:spPr bwMode="auto">
              <a:xfrm>
                <a:off x="3865563" y="3421063"/>
                <a:ext cx="6350" cy="30163"/>
              </a:xfrm>
              <a:custGeom>
                <a:avLst/>
                <a:gdLst>
                  <a:gd name="T0" fmla="*/ 0 w 2"/>
                  <a:gd name="T1" fmla="*/ 0 h 9"/>
                  <a:gd name="T2" fmla="*/ 2 w 2"/>
                  <a:gd name="T3" fmla="*/ 0 h 9"/>
                  <a:gd name="T4" fmla="*/ 2 w 2"/>
                  <a:gd name="T5" fmla="*/ 9 h 9"/>
                  <a:gd name="T6" fmla="*/ 0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cubicBezTo>
                      <a:pt x="1" y="0"/>
                      <a:pt x="1" y="0"/>
                      <a:pt x="2" y="0"/>
                    </a:cubicBezTo>
                    <a:cubicBezTo>
                      <a:pt x="2" y="3"/>
                      <a:pt x="2" y="6"/>
                      <a:pt x="2" y="9"/>
                    </a:cubicBezTo>
                    <a:cubicBezTo>
                      <a:pt x="1" y="9"/>
                      <a:pt x="1"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93" name="îṩ1îďé"/>
              <p:cNvSpPr/>
              <p:nvPr/>
            </p:nvSpPr>
            <p:spPr bwMode="auto">
              <a:xfrm>
                <a:off x="3878263" y="3421063"/>
                <a:ext cx="3175" cy="30163"/>
              </a:xfrm>
              <a:custGeom>
                <a:avLst/>
                <a:gdLst>
                  <a:gd name="T0" fmla="*/ 0 w 1"/>
                  <a:gd name="T1" fmla="*/ 0 h 9"/>
                  <a:gd name="T2" fmla="*/ 1 w 1"/>
                  <a:gd name="T3" fmla="*/ 0 h 9"/>
                  <a:gd name="T4" fmla="*/ 1 w 1"/>
                  <a:gd name="T5" fmla="*/ 9 h 9"/>
                  <a:gd name="T6" fmla="*/ 0 w 1"/>
                  <a:gd name="T7" fmla="*/ 9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1" y="0"/>
                      <a:pt x="1" y="0"/>
                    </a:cubicBezTo>
                    <a:cubicBezTo>
                      <a:pt x="1" y="3"/>
                      <a:pt x="1" y="6"/>
                      <a:pt x="1" y="9"/>
                    </a:cubicBezTo>
                    <a:cubicBezTo>
                      <a:pt x="1" y="9"/>
                      <a:pt x="0"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94" name="ísľiḑe"/>
              <p:cNvSpPr/>
              <p:nvPr/>
            </p:nvSpPr>
            <p:spPr bwMode="auto">
              <a:xfrm>
                <a:off x="3887788" y="3421063"/>
                <a:ext cx="3175" cy="30163"/>
              </a:xfrm>
              <a:custGeom>
                <a:avLst/>
                <a:gdLst>
                  <a:gd name="T0" fmla="*/ 0 w 1"/>
                  <a:gd name="T1" fmla="*/ 0 h 9"/>
                  <a:gd name="T2" fmla="*/ 1 w 1"/>
                  <a:gd name="T3" fmla="*/ 0 h 9"/>
                  <a:gd name="T4" fmla="*/ 1 w 1"/>
                  <a:gd name="T5" fmla="*/ 9 h 9"/>
                  <a:gd name="T6" fmla="*/ 0 w 1"/>
                  <a:gd name="T7" fmla="*/ 9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1" y="0"/>
                      <a:pt x="1" y="0"/>
                    </a:cubicBezTo>
                    <a:cubicBezTo>
                      <a:pt x="1" y="3"/>
                      <a:pt x="1" y="6"/>
                      <a:pt x="1" y="9"/>
                    </a:cubicBezTo>
                    <a:cubicBezTo>
                      <a:pt x="1" y="9"/>
                      <a:pt x="0"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95" name="î$líḑê"/>
              <p:cNvSpPr/>
              <p:nvPr/>
            </p:nvSpPr>
            <p:spPr bwMode="auto">
              <a:xfrm>
                <a:off x="3897313" y="3421063"/>
                <a:ext cx="7938" cy="30163"/>
              </a:xfrm>
              <a:custGeom>
                <a:avLst/>
                <a:gdLst>
                  <a:gd name="T0" fmla="*/ 0 w 2"/>
                  <a:gd name="T1" fmla="*/ 0 h 9"/>
                  <a:gd name="T2" fmla="*/ 2 w 2"/>
                  <a:gd name="T3" fmla="*/ 0 h 9"/>
                  <a:gd name="T4" fmla="*/ 2 w 2"/>
                  <a:gd name="T5" fmla="*/ 9 h 9"/>
                  <a:gd name="T6" fmla="*/ 0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cubicBezTo>
                      <a:pt x="1" y="0"/>
                      <a:pt x="1" y="0"/>
                      <a:pt x="2" y="0"/>
                    </a:cubicBezTo>
                    <a:cubicBezTo>
                      <a:pt x="2" y="3"/>
                      <a:pt x="2" y="6"/>
                      <a:pt x="2" y="9"/>
                    </a:cubicBezTo>
                    <a:cubicBezTo>
                      <a:pt x="1" y="9"/>
                      <a:pt x="1"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96" name="í$ļiḓé"/>
              <p:cNvSpPr/>
              <p:nvPr/>
            </p:nvSpPr>
            <p:spPr bwMode="auto">
              <a:xfrm>
                <a:off x="3908426" y="3421063"/>
                <a:ext cx="6350" cy="30163"/>
              </a:xfrm>
              <a:custGeom>
                <a:avLst/>
                <a:gdLst>
                  <a:gd name="T0" fmla="*/ 0 w 2"/>
                  <a:gd name="T1" fmla="*/ 0 h 9"/>
                  <a:gd name="T2" fmla="*/ 2 w 2"/>
                  <a:gd name="T3" fmla="*/ 0 h 9"/>
                  <a:gd name="T4" fmla="*/ 2 w 2"/>
                  <a:gd name="T5" fmla="*/ 9 h 9"/>
                  <a:gd name="T6" fmla="*/ 0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cubicBezTo>
                      <a:pt x="1" y="0"/>
                      <a:pt x="1" y="0"/>
                      <a:pt x="2" y="0"/>
                    </a:cubicBezTo>
                    <a:cubicBezTo>
                      <a:pt x="2" y="3"/>
                      <a:pt x="2" y="6"/>
                      <a:pt x="2" y="9"/>
                    </a:cubicBezTo>
                    <a:cubicBezTo>
                      <a:pt x="1" y="9"/>
                      <a:pt x="1"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97" name="îSlïḍè"/>
              <p:cNvSpPr/>
              <p:nvPr/>
            </p:nvSpPr>
            <p:spPr bwMode="auto">
              <a:xfrm>
                <a:off x="3921126" y="3421063"/>
                <a:ext cx="3175" cy="30163"/>
              </a:xfrm>
              <a:custGeom>
                <a:avLst/>
                <a:gdLst>
                  <a:gd name="T0" fmla="*/ 0 w 1"/>
                  <a:gd name="T1" fmla="*/ 0 h 9"/>
                  <a:gd name="T2" fmla="*/ 1 w 1"/>
                  <a:gd name="T3" fmla="*/ 0 h 9"/>
                  <a:gd name="T4" fmla="*/ 1 w 1"/>
                  <a:gd name="T5" fmla="*/ 9 h 9"/>
                  <a:gd name="T6" fmla="*/ 0 w 1"/>
                  <a:gd name="T7" fmla="*/ 9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1" y="0"/>
                      <a:pt x="1" y="0"/>
                    </a:cubicBezTo>
                    <a:cubicBezTo>
                      <a:pt x="1" y="3"/>
                      <a:pt x="1" y="6"/>
                      <a:pt x="1" y="9"/>
                    </a:cubicBezTo>
                    <a:cubicBezTo>
                      <a:pt x="1" y="9"/>
                      <a:pt x="0"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98" name="i$ḷídè"/>
              <p:cNvSpPr/>
              <p:nvPr/>
            </p:nvSpPr>
            <p:spPr bwMode="auto">
              <a:xfrm>
                <a:off x="3930651" y="3421063"/>
                <a:ext cx="3175" cy="30163"/>
              </a:xfrm>
              <a:custGeom>
                <a:avLst/>
                <a:gdLst>
                  <a:gd name="T0" fmla="*/ 0 w 1"/>
                  <a:gd name="T1" fmla="*/ 0 h 9"/>
                  <a:gd name="T2" fmla="*/ 1 w 1"/>
                  <a:gd name="T3" fmla="*/ 0 h 9"/>
                  <a:gd name="T4" fmla="*/ 1 w 1"/>
                  <a:gd name="T5" fmla="*/ 9 h 9"/>
                  <a:gd name="T6" fmla="*/ 0 w 1"/>
                  <a:gd name="T7" fmla="*/ 9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1" y="0"/>
                      <a:pt x="1" y="0"/>
                    </a:cubicBezTo>
                    <a:cubicBezTo>
                      <a:pt x="1" y="3"/>
                      <a:pt x="1" y="6"/>
                      <a:pt x="1" y="9"/>
                    </a:cubicBezTo>
                    <a:cubicBezTo>
                      <a:pt x="1" y="9"/>
                      <a:pt x="0"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99" name="îṧḷíḑê"/>
              <p:cNvSpPr/>
              <p:nvPr/>
            </p:nvSpPr>
            <p:spPr bwMode="auto">
              <a:xfrm>
                <a:off x="3940176" y="3421063"/>
                <a:ext cx="7938" cy="30163"/>
              </a:xfrm>
              <a:custGeom>
                <a:avLst/>
                <a:gdLst>
                  <a:gd name="T0" fmla="*/ 0 w 2"/>
                  <a:gd name="T1" fmla="*/ 0 h 9"/>
                  <a:gd name="T2" fmla="*/ 2 w 2"/>
                  <a:gd name="T3" fmla="*/ 0 h 9"/>
                  <a:gd name="T4" fmla="*/ 2 w 2"/>
                  <a:gd name="T5" fmla="*/ 9 h 9"/>
                  <a:gd name="T6" fmla="*/ 0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cubicBezTo>
                      <a:pt x="1" y="0"/>
                      <a:pt x="1" y="0"/>
                      <a:pt x="2" y="0"/>
                    </a:cubicBezTo>
                    <a:cubicBezTo>
                      <a:pt x="2" y="3"/>
                      <a:pt x="2" y="6"/>
                      <a:pt x="2" y="9"/>
                    </a:cubicBezTo>
                    <a:cubicBezTo>
                      <a:pt x="1" y="9"/>
                      <a:pt x="1"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100" name="ïSľïḋê"/>
              <p:cNvSpPr/>
              <p:nvPr/>
            </p:nvSpPr>
            <p:spPr bwMode="auto">
              <a:xfrm>
                <a:off x="3951288" y="3421063"/>
                <a:ext cx="6350" cy="30163"/>
              </a:xfrm>
              <a:custGeom>
                <a:avLst/>
                <a:gdLst>
                  <a:gd name="T0" fmla="*/ 0 w 2"/>
                  <a:gd name="T1" fmla="*/ 0 h 9"/>
                  <a:gd name="T2" fmla="*/ 2 w 2"/>
                  <a:gd name="T3" fmla="*/ 0 h 9"/>
                  <a:gd name="T4" fmla="*/ 2 w 2"/>
                  <a:gd name="T5" fmla="*/ 9 h 9"/>
                  <a:gd name="T6" fmla="*/ 0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cubicBezTo>
                      <a:pt x="1" y="0"/>
                      <a:pt x="2" y="0"/>
                      <a:pt x="2" y="0"/>
                    </a:cubicBezTo>
                    <a:cubicBezTo>
                      <a:pt x="2" y="3"/>
                      <a:pt x="2" y="6"/>
                      <a:pt x="2" y="9"/>
                    </a:cubicBezTo>
                    <a:cubicBezTo>
                      <a:pt x="2" y="9"/>
                      <a:pt x="1"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101" name="ïṧľïdé"/>
              <p:cNvSpPr/>
              <p:nvPr/>
            </p:nvSpPr>
            <p:spPr bwMode="auto">
              <a:xfrm>
                <a:off x="3963988" y="3421063"/>
                <a:ext cx="3175" cy="30163"/>
              </a:xfrm>
              <a:custGeom>
                <a:avLst/>
                <a:gdLst>
                  <a:gd name="T0" fmla="*/ 0 w 1"/>
                  <a:gd name="T1" fmla="*/ 0 h 9"/>
                  <a:gd name="T2" fmla="*/ 1 w 1"/>
                  <a:gd name="T3" fmla="*/ 0 h 9"/>
                  <a:gd name="T4" fmla="*/ 1 w 1"/>
                  <a:gd name="T5" fmla="*/ 9 h 9"/>
                  <a:gd name="T6" fmla="*/ 0 w 1"/>
                  <a:gd name="T7" fmla="*/ 9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1" y="0"/>
                      <a:pt x="1" y="0"/>
                    </a:cubicBezTo>
                    <a:cubicBezTo>
                      <a:pt x="1" y="3"/>
                      <a:pt x="1" y="6"/>
                      <a:pt x="1" y="9"/>
                    </a:cubicBezTo>
                    <a:cubicBezTo>
                      <a:pt x="1" y="9"/>
                      <a:pt x="0"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102" name="ïṥļíďê"/>
              <p:cNvSpPr/>
              <p:nvPr/>
            </p:nvSpPr>
            <p:spPr bwMode="auto">
              <a:xfrm>
                <a:off x="3973513" y="3421063"/>
                <a:ext cx="6350" cy="30163"/>
              </a:xfrm>
              <a:custGeom>
                <a:avLst/>
                <a:gdLst>
                  <a:gd name="T0" fmla="*/ 0 w 2"/>
                  <a:gd name="T1" fmla="*/ 0 h 9"/>
                  <a:gd name="T2" fmla="*/ 2 w 2"/>
                  <a:gd name="T3" fmla="*/ 0 h 9"/>
                  <a:gd name="T4" fmla="*/ 2 w 2"/>
                  <a:gd name="T5" fmla="*/ 9 h 9"/>
                  <a:gd name="T6" fmla="*/ 0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cubicBezTo>
                      <a:pt x="1" y="0"/>
                      <a:pt x="1" y="0"/>
                      <a:pt x="2" y="0"/>
                    </a:cubicBezTo>
                    <a:cubicBezTo>
                      <a:pt x="2" y="3"/>
                      <a:pt x="2" y="6"/>
                      <a:pt x="2" y="9"/>
                    </a:cubicBezTo>
                    <a:cubicBezTo>
                      <a:pt x="1" y="9"/>
                      <a:pt x="1"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103" name="íṥḷïdè"/>
              <p:cNvSpPr/>
              <p:nvPr/>
            </p:nvSpPr>
            <p:spPr bwMode="auto">
              <a:xfrm>
                <a:off x="3983038" y="3421063"/>
                <a:ext cx="7938" cy="30163"/>
              </a:xfrm>
              <a:custGeom>
                <a:avLst/>
                <a:gdLst>
                  <a:gd name="T0" fmla="*/ 0 w 2"/>
                  <a:gd name="T1" fmla="*/ 0 h 9"/>
                  <a:gd name="T2" fmla="*/ 2 w 2"/>
                  <a:gd name="T3" fmla="*/ 0 h 9"/>
                  <a:gd name="T4" fmla="*/ 2 w 2"/>
                  <a:gd name="T5" fmla="*/ 9 h 9"/>
                  <a:gd name="T6" fmla="*/ 0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cubicBezTo>
                      <a:pt x="1" y="0"/>
                      <a:pt x="1" y="0"/>
                      <a:pt x="2" y="0"/>
                    </a:cubicBezTo>
                    <a:cubicBezTo>
                      <a:pt x="2" y="3"/>
                      <a:pt x="2" y="6"/>
                      <a:pt x="2" y="9"/>
                    </a:cubicBezTo>
                    <a:cubicBezTo>
                      <a:pt x="1" y="9"/>
                      <a:pt x="1"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104" name="í$1ïḑê"/>
              <p:cNvSpPr/>
              <p:nvPr/>
            </p:nvSpPr>
            <p:spPr bwMode="auto">
              <a:xfrm>
                <a:off x="3997326" y="3421063"/>
                <a:ext cx="3175" cy="30163"/>
              </a:xfrm>
              <a:custGeom>
                <a:avLst/>
                <a:gdLst>
                  <a:gd name="T0" fmla="*/ 0 w 1"/>
                  <a:gd name="T1" fmla="*/ 0 h 9"/>
                  <a:gd name="T2" fmla="*/ 1 w 1"/>
                  <a:gd name="T3" fmla="*/ 0 h 9"/>
                  <a:gd name="T4" fmla="*/ 1 w 1"/>
                  <a:gd name="T5" fmla="*/ 9 h 9"/>
                  <a:gd name="T6" fmla="*/ 0 w 1"/>
                  <a:gd name="T7" fmla="*/ 9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1" y="0"/>
                      <a:pt x="1" y="0"/>
                    </a:cubicBezTo>
                    <a:cubicBezTo>
                      <a:pt x="1" y="3"/>
                      <a:pt x="1" y="6"/>
                      <a:pt x="1" y="9"/>
                    </a:cubicBezTo>
                    <a:cubicBezTo>
                      <a:pt x="1" y="9"/>
                      <a:pt x="0"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105" name="i$ļïḍê"/>
              <p:cNvSpPr/>
              <p:nvPr/>
            </p:nvSpPr>
            <p:spPr bwMode="auto">
              <a:xfrm>
                <a:off x="4006851" y="3421063"/>
                <a:ext cx="3175" cy="301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106" name="íŝḷídé"/>
              <p:cNvSpPr/>
              <p:nvPr/>
            </p:nvSpPr>
            <p:spPr bwMode="auto">
              <a:xfrm>
                <a:off x="4016376" y="3421063"/>
                <a:ext cx="6350" cy="301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107" name="iṡ1iḍé"/>
              <p:cNvSpPr/>
              <p:nvPr/>
            </p:nvSpPr>
            <p:spPr bwMode="auto">
              <a:xfrm>
                <a:off x="4025901" y="3421063"/>
                <a:ext cx="7938" cy="301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108" name="îṡḻïde"/>
              <p:cNvSpPr/>
              <p:nvPr/>
            </p:nvSpPr>
            <p:spPr bwMode="auto">
              <a:xfrm>
                <a:off x="4040188" y="3417888"/>
                <a:ext cx="39688" cy="3175"/>
              </a:xfrm>
              <a:prstGeom prst="rect">
                <a:avLst/>
              </a:prstGeom>
              <a:solidFill>
                <a:srgbClr val="1E267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109" name="išḻiḑe"/>
              <p:cNvSpPr/>
              <p:nvPr/>
            </p:nvSpPr>
            <p:spPr bwMode="auto">
              <a:xfrm>
                <a:off x="3679826" y="3490913"/>
                <a:ext cx="17463"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110" name="ïSlîḑê"/>
              <p:cNvSpPr/>
              <p:nvPr/>
            </p:nvSpPr>
            <p:spPr bwMode="auto">
              <a:xfrm>
                <a:off x="3884613" y="3490913"/>
                <a:ext cx="55563" cy="53975"/>
              </a:xfrm>
              <a:custGeom>
                <a:avLst/>
                <a:gdLst>
                  <a:gd name="T0" fmla="*/ 0 w 35"/>
                  <a:gd name="T1" fmla="*/ 0 h 34"/>
                  <a:gd name="T2" fmla="*/ 35 w 35"/>
                  <a:gd name="T3" fmla="*/ 0 h 34"/>
                  <a:gd name="T4" fmla="*/ 35 w 35"/>
                  <a:gd name="T5" fmla="*/ 34 h 34"/>
                  <a:gd name="T6" fmla="*/ 0 w 35"/>
                  <a:gd name="T7" fmla="*/ 34 h 34"/>
                  <a:gd name="T8" fmla="*/ 0 w 35"/>
                  <a:gd name="T9" fmla="*/ 0 h 34"/>
                  <a:gd name="T10" fmla="*/ 0 w 35"/>
                  <a:gd name="T11" fmla="*/ 0 h 34"/>
                  <a:gd name="T12" fmla="*/ 4 w 35"/>
                  <a:gd name="T13" fmla="*/ 8 h 34"/>
                  <a:gd name="T14" fmla="*/ 4 w 35"/>
                  <a:gd name="T15" fmla="*/ 27 h 34"/>
                  <a:gd name="T16" fmla="*/ 8 w 35"/>
                  <a:gd name="T17" fmla="*/ 27 h 34"/>
                  <a:gd name="T18" fmla="*/ 8 w 35"/>
                  <a:gd name="T19" fmla="*/ 8 h 34"/>
                  <a:gd name="T20" fmla="*/ 4 w 35"/>
                  <a:gd name="T21" fmla="*/ 8 h 34"/>
                  <a:gd name="T22" fmla="*/ 4 w 35"/>
                  <a:gd name="T23" fmla="*/ 8 h 34"/>
                  <a:gd name="T24" fmla="*/ 29 w 35"/>
                  <a:gd name="T25" fmla="*/ 8 h 34"/>
                  <a:gd name="T26" fmla="*/ 29 w 35"/>
                  <a:gd name="T27" fmla="*/ 27 h 34"/>
                  <a:gd name="T28" fmla="*/ 31 w 35"/>
                  <a:gd name="T29" fmla="*/ 27 h 34"/>
                  <a:gd name="T30" fmla="*/ 31 w 35"/>
                  <a:gd name="T31" fmla="*/ 8 h 34"/>
                  <a:gd name="T32" fmla="*/ 29 w 35"/>
                  <a:gd name="T3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34">
                    <a:moveTo>
                      <a:pt x="0" y="0"/>
                    </a:moveTo>
                    <a:lnTo>
                      <a:pt x="35" y="0"/>
                    </a:lnTo>
                    <a:lnTo>
                      <a:pt x="35" y="34"/>
                    </a:lnTo>
                    <a:lnTo>
                      <a:pt x="0" y="34"/>
                    </a:lnTo>
                    <a:lnTo>
                      <a:pt x="0" y="0"/>
                    </a:lnTo>
                    <a:lnTo>
                      <a:pt x="0" y="0"/>
                    </a:lnTo>
                    <a:close/>
                    <a:moveTo>
                      <a:pt x="4" y="8"/>
                    </a:moveTo>
                    <a:lnTo>
                      <a:pt x="4" y="27"/>
                    </a:lnTo>
                    <a:lnTo>
                      <a:pt x="8" y="27"/>
                    </a:lnTo>
                    <a:lnTo>
                      <a:pt x="8" y="8"/>
                    </a:lnTo>
                    <a:lnTo>
                      <a:pt x="4" y="8"/>
                    </a:lnTo>
                    <a:lnTo>
                      <a:pt x="4" y="8"/>
                    </a:lnTo>
                    <a:close/>
                    <a:moveTo>
                      <a:pt x="29" y="8"/>
                    </a:moveTo>
                    <a:lnTo>
                      <a:pt x="29" y="27"/>
                    </a:lnTo>
                    <a:lnTo>
                      <a:pt x="31" y="27"/>
                    </a:lnTo>
                    <a:lnTo>
                      <a:pt x="31" y="8"/>
                    </a:lnTo>
                    <a:lnTo>
                      <a:pt x="29" y="8"/>
                    </a:lnTo>
                    <a:close/>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111" name="iS1ïde"/>
              <p:cNvSpPr/>
              <p:nvPr/>
            </p:nvSpPr>
            <p:spPr bwMode="auto">
              <a:xfrm>
                <a:off x="3551238" y="3067050"/>
                <a:ext cx="722313" cy="727075"/>
              </a:xfrm>
              <a:custGeom>
                <a:avLst/>
                <a:gdLst>
                  <a:gd name="T0" fmla="*/ 109 w 219"/>
                  <a:gd name="T1" fmla="*/ 0 h 218"/>
                  <a:gd name="T2" fmla="*/ 219 w 219"/>
                  <a:gd name="T3" fmla="*/ 109 h 218"/>
                  <a:gd name="T4" fmla="*/ 109 w 219"/>
                  <a:gd name="T5" fmla="*/ 218 h 218"/>
                  <a:gd name="T6" fmla="*/ 0 w 219"/>
                  <a:gd name="T7" fmla="*/ 109 h 218"/>
                  <a:gd name="T8" fmla="*/ 109 w 219"/>
                  <a:gd name="T9" fmla="*/ 0 h 218"/>
                  <a:gd name="T10" fmla="*/ 109 w 219"/>
                  <a:gd name="T11" fmla="*/ 3 h 218"/>
                  <a:gd name="T12" fmla="*/ 4 w 219"/>
                  <a:gd name="T13" fmla="*/ 109 h 218"/>
                  <a:gd name="T14" fmla="*/ 109 w 219"/>
                  <a:gd name="T15" fmla="*/ 215 h 218"/>
                  <a:gd name="T16" fmla="*/ 215 w 219"/>
                  <a:gd name="T17" fmla="*/ 109 h 218"/>
                  <a:gd name="T18" fmla="*/ 109 w 219"/>
                  <a:gd name="T19" fmla="*/ 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9" h="218">
                    <a:moveTo>
                      <a:pt x="109" y="0"/>
                    </a:moveTo>
                    <a:cubicBezTo>
                      <a:pt x="170" y="0"/>
                      <a:pt x="219" y="49"/>
                      <a:pt x="219" y="109"/>
                    </a:cubicBezTo>
                    <a:cubicBezTo>
                      <a:pt x="219" y="169"/>
                      <a:pt x="170" y="218"/>
                      <a:pt x="109" y="218"/>
                    </a:cubicBezTo>
                    <a:cubicBezTo>
                      <a:pt x="49" y="218"/>
                      <a:pt x="0" y="169"/>
                      <a:pt x="0" y="109"/>
                    </a:cubicBezTo>
                    <a:cubicBezTo>
                      <a:pt x="0" y="49"/>
                      <a:pt x="49" y="0"/>
                      <a:pt x="109" y="0"/>
                    </a:cubicBezTo>
                    <a:close/>
                    <a:moveTo>
                      <a:pt x="109" y="3"/>
                    </a:moveTo>
                    <a:cubicBezTo>
                      <a:pt x="51" y="3"/>
                      <a:pt x="4" y="51"/>
                      <a:pt x="4" y="109"/>
                    </a:cubicBezTo>
                    <a:cubicBezTo>
                      <a:pt x="4" y="167"/>
                      <a:pt x="51" y="215"/>
                      <a:pt x="109" y="215"/>
                    </a:cubicBezTo>
                    <a:cubicBezTo>
                      <a:pt x="168" y="215"/>
                      <a:pt x="215" y="167"/>
                      <a:pt x="215" y="109"/>
                    </a:cubicBezTo>
                    <a:cubicBezTo>
                      <a:pt x="215" y="51"/>
                      <a:pt x="168" y="3"/>
                      <a:pt x="109" y="3"/>
                    </a:cubicBezTo>
                    <a:close/>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grpSp>
        <p:grpSp>
          <p:nvGrpSpPr>
            <p:cNvPr id="11" name="ïṡlïḋè"/>
            <p:cNvGrpSpPr/>
            <p:nvPr/>
          </p:nvGrpSpPr>
          <p:grpSpPr>
            <a:xfrm>
              <a:off x="5777051" y="601725"/>
              <a:ext cx="1483367" cy="539516"/>
              <a:chOff x="4412452" y="3106738"/>
              <a:chExt cx="2312689" cy="841148"/>
            </a:xfrm>
          </p:grpSpPr>
          <p:grpSp>
            <p:nvGrpSpPr>
              <p:cNvPr id="14" name="îśḻîḑê"/>
              <p:cNvGrpSpPr/>
              <p:nvPr/>
            </p:nvGrpSpPr>
            <p:grpSpPr>
              <a:xfrm>
                <a:off x="4422776" y="3106738"/>
                <a:ext cx="2293937" cy="617538"/>
                <a:chOff x="4422776" y="3106738"/>
                <a:chExt cx="2293937" cy="617538"/>
              </a:xfrm>
            </p:grpSpPr>
            <p:sp>
              <p:nvSpPr>
                <p:cNvPr id="31" name="iṧļíďé"/>
                <p:cNvSpPr/>
                <p:nvPr/>
              </p:nvSpPr>
              <p:spPr bwMode="auto">
                <a:xfrm>
                  <a:off x="4811713" y="3200400"/>
                  <a:ext cx="49213" cy="100013"/>
                </a:xfrm>
                <a:custGeom>
                  <a:avLst/>
                  <a:gdLst>
                    <a:gd name="T0" fmla="*/ 0 w 15"/>
                    <a:gd name="T1" fmla="*/ 1 h 30"/>
                    <a:gd name="T2" fmla="*/ 1 w 15"/>
                    <a:gd name="T3" fmla="*/ 12 h 30"/>
                    <a:gd name="T4" fmla="*/ 0 w 15"/>
                    <a:gd name="T5" fmla="*/ 21 h 30"/>
                    <a:gd name="T6" fmla="*/ 2 w 15"/>
                    <a:gd name="T7" fmla="*/ 28 h 30"/>
                    <a:gd name="T8" fmla="*/ 7 w 15"/>
                    <a:gd name="T9" fmla="*/ 30 h 30"/>
                    <a:gd name="T10" fmla="*/ 12 w 15"/>
                    <a:gd name="T11" fmla="*/ 26 h 30"/>
                    <a:gd name="T12" fmla="*/ 15 w 15"/>
                    <a:gd name="T13" fmla="*/ 18 h 30"/>
                    <a:gd name="T14" fmla="*/ 3 w 15"/>
                    <a:gd name="T15" fmla="*/ 0 h 30"/>
                    <a:gd name="T16" fmla="*/ 0 w 15"/>
                    <a:gd name="T17"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30">
                      <a:moveTo>
                        <a:pt x="0" y="1"/>
                      </a:moveTo>
                      <a:cubicBezTo>
                        <a:pt x="1" y="12"/>
                        <a:pt x="1" y="12"/>
                        <a:pt x="1" y="12"/>
                      </a:cubicBezTo>
                      <a:cubicBezTo>
                        <a:pt x="1" y="13"/>
                        <a:pt x="0" y="18"/>
                        <a:pt x="0" y="21"/>
                      </a:cubicBezTo>
                      <a:cubicBezTo>
                        <a:pt x="0" y="24"/>
                        <a:pt x="2" y="25"/>
                        <a:pt x="2" y="28"/>
                      </a:cubicBezTo>
                      <a:cubicBezTo>
                        <a:pt x="7" y="30"/>
                        <a:pt x="7" y="30"/>
                        <a:pt x="7" y="30"/>
                      </a:cubicBezTo>
                      <a:cubicBezTo>
                        <a:pt x="9" y="27"/>
                        <a:pt x="10" y="29"/>
                        <a:pt x="12" y="26"/>
                      </a:cubicBezTo>
                      <a:cubicBezTo>
                        <a:pt x="14" y="23"/>
                        <a:pt x="14" y="21"/>
                        <a:pt x="15" y="18"/>
                      </a:cubicBezTo>
                      <a:cubicBezTo>
                        <a:pt x="12" y="7"/>
                        <a:pt x="13" y="5"/>
                        <a:pt x="3" y="0"/>
                      </a:cubicBezTo>
                      <a:lnTo>
                        <a:pt x="0" y="1"/>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2" name="iṡḷíḋè"/>
                <p:cNvSpPr/>
                <p:nvPr/>
              </p:nvSpPr>
              <p:spPr bwMode="auto">
                <a:xfrm>
                  <a:off x="5221288" y="3184525"/>
                  <a:ext cx="36513" cy="122238"/>
                </a:xfrm>
                <a:custGeom>
                  <a:avLst/>
                  <a:gdLst>
                    <a:gd name="T0" fmla="*/ 0 w 11"/>
                    <a:gd name="T1" fmla="*/ 3 h 37"/>
                    <a:gd name="T2" fmla="*/ 2 w 11"/>
                    <a:gd name="T3" fmla="*/ 14 h 37"/>
                    <a:gd name="T4" fmla="*/ 0 w 11"/>
                    <a:gd name="T5" fmla="*/ 33 h 37"/>
                    <a:gd name="T6" fmla="*/ 0 w 11"/>
                    <a:gd name="T7" fmla="*/ 36 h 37"/>
                    <a:gd name="T8" fmla="*/ 2 w 11"/>
                    <a:gd name="T9" fmla="*/ 37 h 37"/>
                    <a:gd name="T10" fmla="*/ 8 w 11"/>
                    <a:gd name="T11" fmla="*/ 27 h 37"/>
                    <a:gd name="T12" fmla="*/ 11 w 11"/>
                    <a:gd name="T13" fmla="*/ 17 h 37"/>
                    <a:gd name="T14" fmla="*/ 11 w 11"/>
                    <a:gd name="T15" fmla="*/ 15 h 37"/>
                    <a:gd name="T16" fmla="*/ 7 w 11"/>
                    <a:gd name="T17" fmla="*/ 2 h 37"/>
                    <a:gd name="T18" fmla="*/ 2 w 11"/>
                    <a:gd name="T19" fmla="*/ 0 h 37"/>
                    <a:gd name="T20" fmla="*/ 0 w 11"/>
                    <a:gd name="T21" fmla="*/ 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37">
                      <a:moveTo>
                        <a:pt x="0" y="3"/>
                      </a:moveTo>
                      <a:cubicBezTo>
                        <a:pt x="2" y="14"/>
                        <a:pt x="2" y="14"/>
                        <a:pt x="2" y="14"/>
                      </a:cubicBezTo>
                      <a:cubicBezTo>
                        <a:pt x="2" y="19"/>
                        <a:pt x="0" y="27"/>
                        <a:pt x="0" y="33"/>
                      </a:cubicBezTo>
                      <a:cubicBezTo>
                        <a:pt x="0" y="36"/>
                        <a:pt x="0" y="36"/>
                        <a:pt x="0" y="36"/>
                      </a:cubicBezTo>
                      <a:cubicBezTo>
                        <a:pt x="2" y="36"/>
                        <a:pt x="1" y="37"/>
                        <a:pt x="2" y="37"/>
                      </a:cubicBezTo>
                      <a:cubicBezTo>
                        <a:pt x="3" y="37"/>
                        <a:pt x="7" y="28"/>
                        <a:pt x="8" y="27"/>
                      </a:cubicBezTo>
                      <a:cubicBezTo>
                        <a:pt x="9" y="24"/>
                        <a:pt x="11" y="21"/>
                        <a:pt x="11" y="17"/>
                      </a:cubicBezTo>
                      <a:cubicBezTo>
                        <a:pt x="11" y="15"/>
                        <a:pt x="11" y="15"/>
                        <a:pt x="11" y="15"/>
                      </a:cubicBezTo>
                      <a:cubicBezTo>
                        <a:pt x="11" y="7"/>
                        <a:pt x="8" y="7"/>
                        <a:pt x="7" y="2"/>
                      </a:cubicBezTo>
                      <a:cubicBezTo>
                        <a:pt x="2" y="0"/>
                        <a:pt x="2" y="0"/>
                        <a:pt x="2" y="0"/>
                      </a:cubicBezTo>
                      <a:cubicBezTo>
                        <a:pt x="2" y="1"/>
                        <a:pt x="0" y="1"/>
                        <a:pt x="0" y="3"/>
                      </a:cubicBez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3" name="ïś1îḓè"/>
                <p:cNvSpPr/>
                <p:nvPr/>
              </p:nvSpPr>
              <p:spPr bwMode="auto">
                <a:xfrm>
                  <a:off x="4554538" y="3251200"/>
                  <a:ext cx="119063" cy="58738"/>
                </a:xfrm>
                <a:custGeom>
                  <a:avLst/>
                  <a:gdLst>
                    <a:gd name="T0" fmla="*/ 0 w 36"/>
                    <a:gd name="T1" fmla="*/ 15 h 18"/>
                    <a:gd name="T2" fmla="*/ 2 w 36"/>
                    <a:gd name="T3" fmla="*/ 16 h 18"/>
                    <a:gd name="T4" fmla="*/ 13 w 36"/>
                    <a:gd name="T5" fmla="*/ 18 h 18"/>
                    <a:gd name="T6" fmla="*/ 16 w 36"/>
                    <a:gd name="T7" fmla="*/ 18 h 18"/>
                    <a:gd name="T8" fmla="*/ 22 w 36"/>
                    <a:gd name="T9" fmla="*/ 17 h 18"/>
                    <a:gd name="T10" fmla="*/ 23 w 36"/>
                    <a:gd name="T11" fmla="*/ 17 h 18"/>
                    <a:gd name="T12" fmla="*/ 30 w 36"/>
                    <a:gd name="T13" fmla="*/ 13 h 18"/>
                    <a:gd name="T14" fmla="*/ 36 w 36"/>
                    <a:gd name="T15" fmla="*/ 8 h 18"/>
                    <a:gd name="T16" fmla="*/ 36 w 36"/>
                    <a:gd name="T17" fmla="*/ 7 h 18"/>
                    <a:gd name="T18" fmla="*/ 36 w 36"/>
                    <a:gd name="T19" fmla="*/ 4 h 18"/>
                    <a:gd name="T20" fmla="*/ 32 w 36"/>
                    <a:gd name="T21" fmla="*/ 0 h 18"/>
                    <a:gd name="T22" fmla="*/ 24 w 36"/>
                    <a:gd name="T23" fmla="*/ 3 h 18"/>
                    <a:gd name="T24" fmla="*/ 16 w 36"/>
                    <a:gd name="T25" fmla="*/ 7 h 18"/>
                    <a:gd name="T26" fmla="*/ 0 w 36"/>
                    <a:gd name="T27"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18">
                      <a:moveTo>
                        <a:pt x="0" y="15"/>
                      </a:moveTo>
                      <a:cubicBezTo>
                        <a:pt x="1" y="16"/>
                        <a:pt x="1" y="16"/>
                        <a:pt x="2" y="16"/>
                      </a:cubicBezTo>
                      <a:cubicBezTo>
                        <a:pt x="6" y="16"/>
                        <a:pt x="9" y="18"/>
                        <a:pt x="13" y="18"/>
                      </a:cubicBezTo>
                      <a:cubicBezTo>
                        <a:pt x="16" y="18"/>
                        <a:pt x="16" y="18"/>
                        <a:pt x="16" y="18"/>
                      </a:cubicBezTo>
                      <a:cubicBezTo>
                        <a:pt x="22" y="17"/>
                        <a:pt x="22" y="17"/>
                        <a:pt x="22" y="17"/>
                      </a:cubicBezTo>
                      <a:cubicBezTo>
                        <a:pt x="23" y="17"/>
                        <a:pt x="23" y="17"/>
                        <a:pt x="23" y="17"/>
                      </a:cubicBezTo>
                      <a:cubicBezTo>
                        <a:pt x="26" y="16"/>
                        <a:pt x="28" y="14"/>
                        <a:pt x="30" y="13"/>
                      </a:cubicBezTo>
                      <a:cubicBezTo>
                        <a:pt x="34" y="11"/>
                        <a:pt x="33" y="10"/>
                        <a:pt x="36" y="8"/>
                      </a:cubicBezTo>
                      <a:cubicBezTo>
                        <a:pt x="36" y="7"/>
                        <a:pt x="36" y="7"/>
                        <a:pt x="36" y="7"/>
                      </a:cubicBezTo>
                      <a:cubicBezTo>
                        <a:pt x="36" y="4"/>
                        <a:pt x="36" y="4"/>
                        <a:pt x="36" y="4"/>
                      </a:cubicBezTo>
                      <a:cubicBezTo>
                        <a:pt x="36" y="1"/>
                        <a:pt x="33" y="2"/>
                        <a:pt x="32" y="0"/>
                      </a:cubicBezTo>
                      <a:cubicBezTo>
                        <a:pt x="29" y="1"/>
                        <a:pt x="27" y="1"/>
                        <a:pt x="24" y="3"/>
                      </a:cubicBezTo>
                      <a:cubicBezTo>
                        <a:pt x="21" y="4"/>
                        <a:pt x="19" y="6"/>
                        <a:pt x="16" y="7"/>
                      </a:cubicBezTo>
                      <a:cubicBezTo>
                        <a:pt x="11" y="11"/>
                        <a:pt x="4" y="10"/>
                        <a:pt x="0" y="15"/>
                      </a:cubicBez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4" name="ï$1îḓê"/>
                <p:cNvSpPr/>
                <p:nvPr/>
              </p:nvSpPr>
              <p:spPr bwMode="auto">
                <a:xfrm>
                  <a:off x="6359526" y="3263900"/>
                  <a:ext cx="93663" cy="139700"/>
                </a:xfrm>
                <a:custGeom>
                  <a:avLst/>
                  <a:gdLst>
                    <a:gd name="T0" fmla="*/ 15 w 28"/>
                    <a:gd name="T1" fmla="*/ 1 h 42"/>
                    <a:gd name="T2" fmla="*/ 6 w 28"/>
                    <a:gd name="T3" fmla="*/ 11 h 42"/>
                    <a:gd name="T4" fmla="*/ 6 w 28"/>
                    <a:gd name="T5" fmla="*/ 13 h 42"/>
                    <a:gd name="T6" fmla="*/ 5 w 28"/>
                    <a:gd name="T7" fmla="*/ 16 h 42"/>
                    <a:gd name="T8" fmla="*/ 6 w 28"/>
                    <a:gd name="T9" fmla="*/ 20 h 42"/>
                    <a:gd name="T10" fmla="*/ 6 w 28"/>
                    <a:gd name="T11" fmla="*/ 21 h 42"/>
                    <a:gd name="T12" fmla="*/ 0 w 28"/>
                    <a:gd name="T13" fmla="*/ 38 h 42"/>
                    <a:gd name="T14" fmla="*/ 0 w 28"/>
                    <a:gd name="T15" fmla="*/ 41 h 42"/>
                    <a:gd name="T16" fmla="*/ 3 w 28"/>
                    <a:gd name="T17" fmla="*/ 42 h 42"/>
                    <a:gd name="T18" fmla="*/ 9 w 28"/>
                    <a:gd name="T19" fmla="*/ 32 h 42"/>
                    <a:gd name="T20" fmla="*/ 12 w 28"/>
                    <a:gd name="T21" fmla="*/ 26 h 42"/>
                    <a:gd name="T22" fmla="*/ 14 w 28"/>
                    <a:gd name="T23" fmla="*/ 26 h 42"/>
                    <a:gd name="T24" fmla="*/ 20 w 28"/>
                    <a:gd name="T25" fmla="*/ 26 h 42"/>
                    <a:gd name="T26" fmla="*/ 28 w 28"/>
                    <a:gd name="T27" fmla="*/ 14 h 42"/>
                    <a:gd name="T28" fmla="*/ 28 w 28"/>
                    <a:gd name="T29" fmla="*/ 6 h 42"/>
                    <a:gd name="T30" fmla="*/ 28 w 28"/>
                    <a:gd name="T31" fmla="*/ 5 h 42"/>
                    <a:gd name="T32" fmla="*/ 27 w 28"/>
                    <a:gd name="T33" fmla="*/ 3 h 42"/>
                    <a:gd name="T34" fmla="*/ 26 w 28"/>
                    <a:gd name="T35" fmla="*/ 3 h 42"/>
                    <a:gd name="T36" fmla="*/ 24 w 28"/>
                    <a:gd name="T37" fmla="*/ 3 h 42"/>
                    <a:gd name="T38" fmla="*/ 23 w 28"/>
                    <a:gd name="T39" fmla="*/ 3 h 42"/>
                    <a:gd name="T40" fmla="*/ 20 w 28"/>
                    <a:gd name="T41" fmla="*/ 0 h 42"/>
                    <a:gd name="T42" fmla="*/ 15 w 28"/>
                    <a:gd name="T43"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42">
                      <a:moveTo>
                        <a:pt x="15" y="1"/>
                      </a:moveTo>
                      <a:cubicBezTo>
                        <a:pt x="15" y="10"/>
                        <a:pt x="8" y="6"/>
                        <a:pt x="6" y="11"/>
                      </a:cubicBezTo>
                      <a:cubicBezTo>
                        <a:pt x="6" y="13"/>
                        <a:pt x="6" y="13"/>
                        <a:pt x="6" y="13"/>
                      </a:cubicBezTo>
                      <a:cubicBezTo>
                        <a:pt x="6" y="14"/>
                        <a:pt x="5" y="14"/>
                        <a:pt x="5" y="16"/>
                      </a:cubicBezTo>
                      <a:cubicBezTo>
                        <a:pt x="6" y="20"/>
                        <a:pt x="6" y="20"/>
                        <a:pt x="6" y="20"/>
                      </a:cubicBezTo>
                      <a:cubicBezTo>
                        <a:pt x="6" y="21"/>
                        <a:pt x="6" y="21"/>
                        <a:pt x="6" y="21"/>
                      </a:cubicBezTo>
                      <a:cubicBezTo>
                        <a:pt x="6" y="29"/>
                        <a:pt x="0" y="31"/>
                        <a:pt x="0" y="38"/>
                      </a:cubicBezTo>
                      <a:cubicBezTo>
                        <a:pt x="0" y="41"/>
                        <a:pt x="0" y="41"/>
                        <a:pt x="0" y="41"/>
                      </a:cubicBezTo>
                      <a:cubicBezTo>
                        <a:pt x="2" y="42"/>
                        <a:pt x="2" y="42"/>
                        <a:pt x="3" y="42"/>
                      </a:cubicBezTo>
                      <a:cubicBezTo>
                        <a:pt x="7" y="42"/>
                        <a:pt x="9" y="36"/>
                        <a:pt x="9" y="32"/>
                      </a:cubicBezTo>
                      <a:cubicBezTo>
                        <a:pt x="9" y="29"/>
                        <a:pt x="10" y="26"/>
                        <a:pt x="12" y="26"/>
                      </a:cubicBezTo>
                      <a:cubicBezTo>
                        <a:pt x="14" y="26"/>
                        <a:pt x="14" y="26"/>
                        <a:pt x="14" y="26"/>
                      </a:cubicBezTo>
                      <a:cubicBezTo>
                        <a:pt x="20" y="26"/>
                        <a:pt x="20" y="26"/>
                        <a:pt x="20" y="26"/>
                      </a:cubicBezTo>
                      <a:cubicBezTo>
                        <a:pt x="24" y="24"/>
                        <a:pt x="28" y="21"/>
                        <a:pt x="28" y="14"/>
                      </a:cubicBezTo>
                      <a:cubicBezTo>
                        <a:pt x="28" y="6"/>
                        <a:pt x="28" y="6"/>
                        <a:pt x="28" y="6"/>
                      </a:cubicBezTo>
                      <a:cubicBezTo>
                        <a:pt x="28" y="5"/>
                        <a:pt x="28" y="5"/>
                        <a:pt x="28" y="5"/>
                      </a:cubicBezTo>
                      <a:cubicBezTo>
                        <a:pt x="27" y="3"/>
                        <a:pt x="27" y="3"/>
                        <a:pt x="27" y="3"/>
                      </a:cubicBezTo>
                      <a:cubicBezTo>
                        <a:pt x="26" y="3"/>
                        <a:pt x="26" y="3"/>
                        <a:pt x="26" y="3"/>
                      </a:cubicBezTo>
                      <a:cubicBezTo>
                        <a:pt x="24" y="3"/>
                        <a:pt x="24" y="3"/>
                        <a:pt x="24" y="3"/>
                      </a:cubicBezTo>
                      <a:cubicBezTo>
                        <a:pt x="23" y="3"/>
                        <a:pt x="23" y="3"/>
                        <a:pt x="23" y="3"/>
                      </a:cubicBezTo>
                      <a:cubicBezTo>
                        <a:pt x="20" y="0"/>
                        <a:pt x="20" y="0"/>
                        <a:pt x="20" y="0"/>
                      </a:cubicBezTo>
                      <a:lnTo>
                        <a:pt x="15" y="1"/>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5" name="íṩḷiďè"/>
                <p:cNvSpPr/>
                <p:nvPr/>
              </p:nvSpPr>
              <p:spPr bwMode="auto">
                <a:xfrm>
                  <a:off x="5826126" y="3273425"/>
                  <a:ext cx="223838" cy="293688"/>
                </a:xfrm>
                <a:custGeom>
                  <a:avLst/>
                  <a:gdLst>
                    <a:gd name="T0" fmla="*/ 38 w 68"/>
                    <a:gd name="T1" fmla="*/ 16 h 88"/>
                    <a:gd name="T2" fmla="*/ 40 w 68"/>
                    <a:gd name="T3" fmla="*/ 5 h 88"/>
                    <a:gd name="T4" fmla="*/ 36 w 68"/>
                    <a:gd name="T5" fmla="*/ 1 h 88"/>
                    <a:gd name="T6" fmla="*/ 36 w 68"/>
                    <a:gd name="T7" fmla="*/ 1 h 88"/>
                    <a:gd name="T8" fmla="*/ 33 w 68"/>
                    <a:gd name="T9" fmla="*/ 0 h 88"/>
                    <a:gd name="T10" fmla="*/ 24 w 68"/>
                    <a:gd name="T11" fmla="*/ 7 h 88"/>
                    <a:gd name="T12" fmla="*/ 24 w 68"/>
                    <a:gd name="T13" fmla="*/ 8 h 88"/>
                    <a:gd name="T14" fmla="*/ 26 w 68"/>
                    <a:gd name="T15" fmla="*/ 18 h 88"/>
                    <a:gd name="T16" fmla="*/ 27 w 68"/>
                    <a:gd name="T17" fmla="*/ 28 h 88"/>
                    <a:gd name="T18" fmla="*/ 27 w 68"/>
                    <a:gd name="T19" fmla="*/ 39 h 88"/>
                    <a:gd name="T20" fmla="*/ 16 w 68"/>
                    <a:gd name="T21" fmla="*/ 48 h 88"/>
                    <a:gd name="T22" fmla="*/ 7 w 68"/>
                    <a:gd name="T23" fmla="*/ 49 h 88"/>
                    <a:gd name="T24" fmla="*/ 5 w 68"/>
                    <a:gd name="T25" fmla="*/ 49 h 88"/>
                    <a:gd name="T26" fmla="*/ 4 w 68"/>
                    <a:gd name="T27" fmla="*/ 49 h 88"/>
                    <a:gd name="T28" fmla="*/ 0 w 68"/>
                    <a:gd name="T29" fmla="*/ 54 h 88"/>
                    <a:gd name="T30" fmla="*/ 5 w 68"/>
                    <a:gd name="T31" fmla="*/ 60 h 88"/>
                    <a:gd name="T32" fmla="*/ 11 w 68"/>
                    <a:gd name="T33" fmla="*/ 60 h 88"/>
                    <a:gd name="T34" fmla="*/ 13 w 68"/>
                    <a:gd name="T35" fmla="*/ 59 h 88"/>
                    <a:gd name="T36" fmla="*/ 20 w 68"/>
                    <a:gd name="T37" fmla="*/ 66 h 88"/>
                    <a:gd name="T38" fmla="*/ 17 w 68"/>
                    <a:gd name="T39" fmla="*/ 72 h 88"/>
                    <a:gd name="T40" fmla="*/ 13 w 68"/>
                    <a:gd name="T41" fmla="*/ 76 h 88"/>
                    <a:gd name="T42" fmla="*/ 2 w 68"/>
                    <a:gd name="T43" fmla="*/ 82 h 88"/>
                    <a:gd name="T44" fmla="*/ 2 w 68"/>
                    <a:gd name="T45" fmla="*/ 83 h 88"/>
                    <a:gd name="T46" fmla="*/ 2 w 68"/>
                    <a:gd name="T47" fmla="*/ 87 h 88"/>
                    <a:gd name="T48" fmla="*/ 4 w 68"/>
                    <a:gd name="T49" fmla="*/ 88 h 88"/>
                    <a:gd name="T50" fmla="*/ 25 w 68"/>
                    <a:gd name="T51" fmla="*/ 77 h 88"/>
                    <a:gd name="T52" fmla="*/ 31 w 68"/>
                    <a:gd name="T53" fmla="*/ 69 h 88"/>
                    <a:gd name="T54" fmla="*/ 40 w 68"/>
                    <a:gd name="T55" fmla="*/ 63 h 88"/>
                    <a:gd name="T56" fmla="*/ 52 w 68"/>
                    <a:gd name="T57" fmla="*/ 70 h 88"/>
                    <a:gd name="T58" fmla="*/ 48 w 68"/>
                    <a:gd name="T59" fmla="*/ 79 h 88"/>
                    <a:gd name="T60" fmla="*/ 59 w 68"/>
                    <a:gd name="T61" fmla="*/ 81 h 88"/>
                    <a:gd name="T62" fmla="*/ 68 w 68"/>
                    <a:gd name="T63" fmla="*/ 71 h 88"/>
                    <a:gd name="T64" fmla="*/ 59 w 68"/>
                    <a:gd name="T65" fmla="*/ 62 h 88"/>
                    <a:gd name="T66" fmla="*/ 44 w 68"/>
                    <a:gd name="T67" fmla="*/ 60 h 88"/>
                    <a:gd name="T68" fmla="*/ 42 w 68"/>
                    <a:gd name="T69" fmla="*/ 60 h 88"/>
                    <a:gd name="T70" fmla="*/ 36 w 68"/>
                    <a:gd name="T71" fmla="*/ 53 h 88"/>
                    <a:gd name="T72" fmla="*/ 48 w 68"/>
                    <a:gd name="T73" fmla="*/ 42 h 88"/>
                    <a:gd name="T74" fmla="*/ 59 w 68"/>
                    <a:gd name="T75" fmla="*/ 32 h 88"/>
                    <a:gd name="T76" fmla="*/ 59 w 68"/>
                    <a:gd name="T77" fmla="*/ 30 h 88"/>
                    <a:gd name="T78" fmla="*/ 59 w 68"/>
                    <a:gd name="T79" fmla="*/ 29 h 88"/>
                    <a:gd name="T80" fmla="*/ 54 w 68"/>
                    <a:gd name="T81" fmla="*/ 26 h 88"/>
                    <a:gd name="T82" fmla="*/ 51 w 68"/>
                    <a:gd name="T83" fmla="*/ 27 h 88"/>
                    <a:gd name="T84" fmla="*/ 50 w 68"/>
                    <a:gd name="T85" fmla="*/ 27 h 88"/>
                    <a:gd name="T86" fmla="*/ 41 w 68"/>
                    <a:gd name="T87" fmla="*/ 33 h 88"/>
                    <a:gd name="T88" fmla="*/ 38 w 68"/>
                    <a:gd name="T89" fmla="*/ 28 h 88"/>
                    <a:gd name="T90" fmla="*/ 38 w 68"/>
                    <a:gd name="T91" fmla="*/ 27 h 88"/>
                    <a:gd name="T92" fmla="*/ 38 w 68"/>
                    <a:gd name="T93" fmla="*/ 1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38" y="16"/>
                      </a:moveTo>
                      <a:cubicBezTo>
                        <a:pt x="39" y="11"/>
                        <a:pt x="40" y="9"/>
                        <a:pt x="40" y="5"/>
                      </a:cubicBezTo>
                      <a:cubicBezTo>
                        <a:pt x="40" y="3"/>
                        <a:pt x="38" y="1"/>
                        <a:pt x="36" y="1"/>
                      </a:cubicBezTo>
                      <a:cubicBezTo>
                        <a:pt x="36" y="1"/>
                        <a:pt x="36" y="1"/>
                        <a:pt x="36" y="1"/>
                      </a:cubicBezTo>
                      <a:cubicBezTo>
                        <a:pt x="34" y="1"/>
                        <a:pt x="34" y="1"/>
                        <a:pt x="33" y="0"/>
                      </a:cubicBezTo>
                      <a:cubicBezTo>
                        <a:pt x="28" y="3"/>
                        <a:pt x="28" y="1"/>
                        <a:pt x="24" y="7"/>
                      </a:cubicBezTo>
                      <a:cubicBezTo>
                        <a:pt x="24" y="8"/>
                        <a:pt x="24" y="8"/>
                        <a:pt x="24" y="8"/>
                      </a:cubicBezTo>
                      <a:cubicBezTo>
                        <a:pt x="24" y="12"/>
                        <a:pt x="26" y="14"/>
                        <a:pt x="26" y="18"/>
                      </a:cubicBezTo>
                      <a:cubicBezTo>
                        <a:pt x="27" y="28"/>
                        <a:pt x="27" y="28"/>
                        <a:pt x="27" y="28"/>
                      </a:cubicBezTo>
                      <a:cubicBezTo>
                        <a:pt x="27" y="39"/>
                        <a:pt x="27" y="39"/>
                        <a:pt x="27" y="39"/>
                      </a:cubicBezTo>
                      <a:cubicBezTo>
                        <a:pt x="28" y="45"/>
                        <a:pt x="22" y="48"/>
                        <a:pt x="16" y="48"/>
                      </a:cubicBezTo>
                      <a:cubicBezTo>
                        <a:pt x="7" y="49"/>
                        <a:pt x="7" y="49"/>
                        <a:pt x="7" y="49"/>
                      </a:cubicBezTo>
                      <a:cubicBezTo>
                        <a:pt x="5" y="49"/>
                        <a:pt x="5" y="49"/>
                        <a:pt x="5" y="49"/>
                      </a:cubicBezTo>
                      <a:cubicBezTo>
                        <a:pt x="4" y="49"/>
                        <a:pt x="4" y="49"/>
                        <a:pt x="4" y="49"/>
                      </a:cubicBezTo>
                      <a:cubicBezTo>
                        <a:pt x="2" y="50"/>
                        <a:pt x="0" y="51"/>
                        <a:pt x="0" y="54"/>
                      </a:cubicBezTo>
                      <a:cubicBezTo>
                        <a:pt x="0" y="56"/>
                        <a:pt x="3" y="60"/>
                        <a:pt x="5" y="60"/>
                      </a:cubicBezTo>
                      <a:cubicBezTo>
                        <a:pt x="11" y="60"/>
                        <a:pt x="11" y="60"/>
                        <a:pt x="11" y="60"/>
                      </a:cubicBezTo>
                      <a:cubicBezTo>
                        <a:pt x="12" y="60"/>
                        <a:pt x="12" y="60"/>
                        <a:pt x="13" y="59"/>
                      </a:cubicBezTo>
                      <a:cubicBezTo>
                        <a:pt x="17" y="62"/>
                        <a:pt x="17" y="60"/>
                        <a:pt x="20" y="66"/>
                      </a:cubicBezTo>
                      <a:cubicBezTo>
                        <a:pt x="18" y="69"/>
                        <a:pt x="20" y="68"/>
                        <a:pt x="17" y="72"/>
                      </a:cubicBezTo>
                      <a:cubicBezTo>
                        <a:pt x="15" y="73"/>
                        <a:pt x="15" y="75"/>
                        <a:pt x="13" y="76"/>
                      </a:cubicBezTo>
                      <a:cubicBezTo>
                        <a:pt x="8" y="79"/>
                        <a:pt x="7" y="80"/>
                        <a:pt x="2" y="82"/>
                      </a:cubicBezTo>
                      <a:cubicBezTo>
                        <a:pt x="2" y="83"/>
                        <a:pt x="2" y="83"/>
                        <a:pt x="2" y="83"/>
                      </a:cubicBezTo>
                      <a:cubicBezTo>
                        <a:pt x="2" y="87"/>
                        <a:pt x="2" y="87"/>
                        <a:pt x="2" y="87"/>
                      </a:cubicBezTo>
                      <a:cubicBezTo>
                        <a:pt x="4" y="87"/>
                        <a:pt x="3" y="88"/>
                        <a:pt x="4" y="88"/>
                      </a:cubicBezTo>
                      <a:cubicBezTo>
                        <a:pt x="13" y="88"/>
                        <a:pt x="20" y="82"/>
                        <a:pt x="25" y="77"/>
                      </a:cubicBezTo>
                      <a:cubicBezTo>
                        <a:pt x="26" y="76"/>
                        <a:pt x="30" y="71"/>
                        <a:pt x="31" y="69"/>
                      </a:cubicBezTo>
                      <a:cubicBezTo>
                        <a:pt x="33" y="65"/>
                        <a:pt x="35" y="63"/>
                        <a:pt x="40" y="63"/>
                      </a:cubicBezTo>
                      <a:cubicBezTo>
                        <a:pt x="45" y="63"/>
                        <a:pt x="49" y="67"/>
                        <a:pt x="52" y="70"/>
                      </a:cubicBezTo>
                      <a:cubicBezTo>
                        <a:pt x="48" y="79"/>
                        <a:pt x="48" y="79"/>
                        <a:pt x="48" y="79"/>
                      </a:cubicBezTo>
                      <a:cubicBezTo>
                        <a:pt x="50" y="79"/>
                        <a:pt x="58" y="81"/>
                        <a:pt x="59" y="81"/>
                      </a:cubicBezTo>
                      <a:cubicBezTo>
                        <a:pt x="65" y="81"/>
                        <a:pt x="67" y="76"/>
                        <a:pt x="68" y="71"/>
                      </a:cubicBezTo>
                      <a:cubicBezTo>
                        <a:pt x="67" y="65"/>
                        <a:pt x="63" y="64"/>
                        <a:pt x="59" y="62"/>
                      </a:cubicBezTo>
                      <a:cubicBezTo>
                        <a:pt x="53" y="59"/>
                        <a:pt x="51" y="60"/>
                        <a:pt x="44" y="60"/>
                      </a:cubicBezTo>
                      <a:cubicBezTo>
                        <a:pt x="43" y="60"/>
                        <a:pt x="43" y="60"/>
                        <a:pt x="42" y="60"/>
                      </a:cubicBezTo>
                      <a:cubicBezTo>
                        <a:pt x="40" y="59"/>
                        <a:pt x="36" y="56"/>
                        <a:pt x="36" y="53"/>
                      </a:cubicBezTo>
                      <a:cubicBezTo>
                        <a:pt x="36" y="51"/>
                        <a:pt x="45" y="44"/>
                        <a:pt x="48" y="42"/>
                      </a:cubicBezTo>
                      <a:cubicBezTo>
                        <a:pt x="50" y="41"/>
                        <a:pt x="59" y="34"/>
                        <a:pt x="59" y="32"/>
                      </a:cubicBezTo>
                      <a:cubicBezTo>
                        <a:pt x="59" y="30"/>
                        <a:pt x="59" y="30"/>
                        <a:pt x="59" y="30"/>
                      </a:cubicBezTo>
                      <a:cubicBezTo>
                        <a:pt x="59" y="29"/>
                        <a:pt x="59" y="29"/>
                        <a:pt x="59" y="29"/>
                      </a:cubicBezTo>
                      <a:cubicBezTo>
                        <a:pt x="54" y="26"/>
                        <a:pt x="54" y="26"/>
                        <a:pt x="54" y="26"/>
                      </a:cubicBezTo>
                      <a:cubicBezTo>
                        <a:pt x="53" y="27"/>
                        <a:pt x="53" y="27"/>
                        <a:pt x="51" y="27"/>
                      </a:cubicBezTo>
                      <a:cubicBezTo>
                        <a:pt x="50" y="27"/>
                        <a:pt x="50" y="27"/>
                        <a:pt x="50" y="27"/>
                      </a:cubicBezTo>
                      <a:cubicBezTo>
                        <a:pt x="46" y="32"/>
                        <a:pt x="46" y="30"/>
                        <a:pt x="41" y="33"/>
                      </a:cubicBezTo>
                      <a:cubicBezTo>
                        <a:pt x="40" y="31"/>
                        <a:pt x="39" y="30"/>
                        <a:pt x="38" y="28"/>
                      </a:cubicBezTo>
                      <a:cubicBezTo>
                        <a:pt x="38" y="27"/>
                        <a:pt x="38" y="27"/>
                        <a:pt x="38" y="27"/>
                      </a:cubicBezTo>
                      <a:lnTo>
                        <a:pt x="38" y="16"/>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6" name="îšlîḓe"/>
                <p:cNvSpPr/>
                <p:nvPr/>
              </p:nvSpPr>
              <p:spPr bwMode="auto">
                <a:xfrm>
                  <a:off x="4518026" y="3506788"/>
                  <a:ext cx="53975" cy="71438"/>
                </a:xfrm>
                <a:custGeom>
                  <a:avLst/>
                  <a:gdLst>
                    <a:gd name="T0" fmla="*/ 14 w 16"/>
                    <a:gd name="T1" fmla="*/ 17 h 21"/>
                    <a:gd name="T2" fmla="*/ 16 w 16"/>
                    <a:gd name="T3" fmla="*/ 12 h 21"/>
                    <a:gd name="T4" fmla="*/ 11 w 16"/>
                    <a:gd name="T5" fmla="*/ 5 h 21"/>
                    <a:gd name="T6" fmla="*/ 5 w 16"/>
                    <a:gd name="T7" fmla="*/ 0 h 21"/>
                    <a:gd name="T8" fmla="*/ 2 w 16"/>
                    <a:gd name="T9" fmla="*/ 4 h 21"/>
                    <a:gd name="T10" fmla="*/ 2 w 16"/>
                    <a:gd name="T11" fmla="*/ 5 h 21"/>
                    <a:gd name="T12" fmla="*/ 2 w 16"/>
                    <a:gd name="T13" fmla="*/ 8 h 21"/>
                    <a:gd name="T14" fmla="*/ 2 w 16"/>
                    <a:gd name="T15" fmla="*/ 9 h 21"/>
                    <a:gd name="T16" fmla="*/ 0 w 16"/>
                    <a:gd name="T17" fmla="*/ 17 h 21"/>
                    <a:gd name="T18" fmla="*/ 3 w 16"/>
                    <a:gd name="T19" fmla="*/ 21 h 21"/>
                    <a:gd name="T20" fmla="*/ 4 w 16"/>
                    <a:gd name="T21" fmla="*/ 21 h 21"/>
                    <a:gd name="T22" fmla="*/ 5 w 16"/>
                    <a:gd name="T23" fmla="*/ 21 h 21"/>
                    <a:gd name="T24" fmla="*/ 14 w 16"/>
                    <a:gd name="T25"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1">
                      <a:moveTo>
                        <a:pt x="14" y="17"/>
                      </a:moveTo>
                      <a:cubicBezTo>
                        <a:pt x="14" y="15"/>
                        <a:pt x="16" y="13"/>
                        <a:pt x="16" y="12"/>
                      </a:cubicBezTo>
                      <a:cubicBezTo>
                        <a:pt x="16" y="11"/>
                        <a:pt x="12" y="7"/>
                        <a:pt x="11" y="5"/>
                      </a:cubicBezTo>
                      <a:cubicBezTo>
                        <a:pt x="11" y="3"/>
                        <a:pt x="8" y="0"/>
                        <a:pt x="5" y="0"/>
                      </a:cubicBezTo>
                      <a:cubicBezTo>
                        <a:pt x="4" y="0"/>
                        <a:pt x="3" y="3"/>
                        <a:pt x="2" y="4"/>
                      </a:cubicBezTo>
                      <a:cubicBezTo>
                        <a:pt x="2" y="5"/>
                        <a:pt x="2" y="5"/>
                        <a:pt x="2" y="5"/>
                      </a:cubicBezTo>
                      <a:cubicBezTo>
                        <a:pt x="2" y="8"/>
                        <a:pt x="2" y="8"/>
                        <a:pt x="2" y="8"/>
                      </a:cubicBezTo>
                      <a:cubicBezTo>
                        <a:pt x="2" y="9"/>
                        <a:pt x="2" y="9"/>
                        <a:pt x="2" y="9"/>
                      </a:cubicBezTo>
                      <a:cubicBezTo>
                        <a:pt x="1" y="11"/>
                        <a:pt x="0" y="14"/>
                        <a:pt x="0" y="17"/>
                      </a:cubicBezTo>
                      <a:cubicBezTo>
                        <a:pt x="0" y="19"/>
                        <a:pt x="1" y="20"/>
                        <a:pt x="3" y="21"/>
                      </a:cubicBezTo>
                      <a:cubicBezTo>
                        <a:pt x="4" y="21"/>
                        <a:pt x="4" y="21"/>
                        <a:pt x="4" y="21"/>
                      </a:cubicBezTo>
                      <a:cubicBezTo>
                        <a:pt x="5" y="21"/>
                        <a:pt x="5" y="21"/>
                        <a:pt x="5" y="21"/>
                      </a:cubicBezTo>
                      <a:cubicBezTo>
                        <a:pt x="7" y="21"/>
                        <a:pt x="11" y="17"/>
                        <a:pt x="14" y="17"/>
                      </a:cubicBez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7" name="îṧḻíďe"/>
                <p:cNvSpPr/>
                <p:nvPr/>
              </p:nvSpPr>
              <p:spPr bwMode="auto">
                <a:xfrm>
                  <a:off x="5319713" y="3133725"/>
                  <a:ext cx="222250" cy="500063"/>
                </a:xfrm>
                <a:custGeom>
                  <a:avLst/>
                  <a:gdLst>
                    <a:gd name="T0" fmla="*/ 47 w 67"/>
                    <a:gd name="T1" fmla="*/ 96 h 150"/>
                    <a:gd name="T2" fmla="*/ 51 w 67"/>
                    <a:gd name="T3" fmla="*/ 96 h 150"/>
                    <a:gd name="T4" fmla="*/ 46 w 67"/>
                    <a:gd name="T5" fmla="*/ 114 h 150"/>
                    <a:gd name="T6" fmla="*/ 42 w 67"/>
                    <a:gd name="T7" fmla="*/ 113 h 150"/>
                    <a:gd name="T8" fmla="*/ 39 w 67"/>
                    <a:gd name="T9" fmla="*/ 108 h 150"/>
                    <a:gd name="T10" fmla="*/ 21 w 67"/>
                    <a:gd name="T11" fmla="*/ 78 h 150"/>
                    <a:gd name="T12" fmla="*/ 29 w 67"/>
                    <a:gd name="T13" fmla="*/ 73 h 150"/>
                    <a:gd name="T14" fmla="*/ 32 w 67"/>
                    <a:gd name="T15" fmla="*/ 74 h 150"/>
                    <a:gd name="T16" fmla="*/ 32 w 67"/>
                    <a:gd name="T17" fmla="*/ 77 h 150"/>
                    <a:gd name="T18" fmla="*/ 32 w 67"/>
                    <a:gd name="T19" fmla="*/ 79 h 150"/>
                    <a:gd name="T20" fmla="*/ 21 w 67"/>
                    <a:gd name="T21" fmla="*/ 78 h 150"/>
                    <a:gd name="T22" fmla="*/ 53 w 67"/>
                    <a:gd name="T23" fmla="*/ 118 h 150"/>
                    <a:gd name="T24" fmla="*/ 66 w 67"/>
                    <a:gd name="T25" fmla="*/ 108 h 150"/>
                    <a:gd name="T26" fmla="*/ 60 w 67"/>
                    <a:gd name="T27" fmla="*/ 98 h 150"/>
                    <a:gd name="T28" fmla="*/ 51 w 67"/>
                    <a:gd name="T29" fmla="*/ 82 h 150"/>
                    <a:gd name="T30" fmla="*/ 47 w 67"/>
                    <a:gd name="T31" fmla="*/ 71 h 150"/>
                    <a:gd name="T32" fmla="*/ 60 w 67"/>
                    <a:gd name="T33" fmla="*/ 58 h 150"/>
                    <a:gd name="T34" fmla="*/ 53 w 67"/>
                    <a:gd name="T35" fmla="*/ 52 h 150"/>
                    <a:gd name="T36" fmla="*/ 44 w 67"/>
                    <a:gd name="T37" fmla="*/ 50 h 150"/>
                    <a:gd name="T38" fmla="*/ 48 w 67"/>
                    <a:gd name="T39" fmla="*/ 38 h 150"/>
                    <a:gd name="T40" fmla="*/ 66 w 67"/>
                    <a:gd name="T41" fmla="*/ 17 h 150"/>
                    <a:gd name="T42" fmla="*/ 66 w 67"/>
                    <a:gd name="T43" fmla="*/ 13 h 150"/>
                    <a:gd name="T44" fmla="*/ 56 w 67"/>
                    <a:gd name="T45" fmla="*/ 1 h 150"/>
                    <a:gd name="T46" fmla="*/ 55 w 67"/>
                    <a:gd name="T47" fmla="*/ 7 h 150"/>
                    <a:gd name="T48" fmla="*/ 50 w 67"/>
                    <a:gd name="T49" fmla="*/ 18 h 150"/>
                    <a:gd name="T50" fmla="*/ 42 w 67"/>
                    <a:gd name="T51" fmla="*/ 15 h 150"/>
                    <a:gd name="T52" fmla="*/ 40 w 67"/>
                    <a:gd name="T53" fmla="*/ 15 h 150"/>
                    <a:gd name="T54" fmla="*/ 41 w 67"/>
                    <a:gd name="T55" fmla="*/ 26 h 150"/>
                    <a:gd name="T56" fmla="*/ 41 w 67"/>
                    <a:gd name="T57" fmla="*/ 30 h 150"/>
                    <a:gd name="T58" fmla="*/ 37 w 67"/>
                    <a:gd name="T59" fmla="*/ 33 h 150"/>
                    <a:gd name="T60" fmla="*/ 30 w 67"/>
                    <a:gd name="T61" fmla="*/ 29 h 150"/>
                    <a:gd name="T62" fmla="*/ 9 w 67"/>
                    <a:gd name="T63" fmla="*/ 50 h 150"/>
                    <a:gd name="T64" fmla="*/ 4 w 67"/>
                    <a:gd name="T65" fmla="*/ 59 h 150"/>
                    <a:gd name="T66" fmla="*/ 23 w 67"/>
                    <a:gd name="T67" fmla="*/ 51 h 150"/>
                    <a:gd name="T68" fmla="*/ 30 w 67"/>
                    <a:gd name="T69" fmla="*/ 58 h 150"/>
                    <a:gd name="T70" fmla="*/ 26 w 67"/>
                    <a:gd name="T71" fmla="*/ 65 h 150"/>
                    <a:gd name="T72" fmla="*/ 19 w 67"/>
                    <a:gd name="T73" fmla="*/ 64 h 150"/>
                    <a:gd name="T74" fmla="*/ 16 w 67"/>
                    <a:gd name="T75" fmla="*/ 67 h 150"/>
                    <a:gd name="T76" fmla="*/ 16 w 67"/>
                    <a:gd name="T77" fmla="*/ 72 h 150"/>
                    <a:gd name="T78" fmla="*/ 3 w 67"/>
                    <a:gd name="T79" fmla="*/ 105 h 150"/>
                    <a:gd name="T80" fmla="*/ 6 w 67"/>
                    <a:gd name="T81" fmla="*/ 110 h 150"/>
                    <a:gd name="T82" fmla="*/ 9 w 67"/>
                    <a:gd name="T83" fmla="*/ 111 h 150"/>
                    <a:gd name="T84" fmla="*/ 24 w 67"/>
                    <a:gd name="T85" fmla="*/ 89 h 150"/>
                    <a:gd name="T86" fmla="*/ 32 w 67"/>
                    <a:gd name="T87" fmla="*/ 93 h 150"/>
                    <a:gd name="T88" fmla="*/ 32 w 67"/>
                    <a:gd name="T89" fmla="*/ 96 h 150"/>
                    <a:gd name="T90" fmla="*/ 29 w 67"/>
                    <a:gd name="T91" fmla="*/ 113 h 150"/>
                    <a:gd name="T92" fmla="*/ 29 w 67"/>
                    <a:gd name="T93" fmla="*/ 115 h 150"/>
                    <a:gd name="T94" fmla="*/ 22 w 67"/>
                    <a:gd name="T95" fmla="*/ 122 h 150"/>
                    <a:gd name="T96" fmla="*/ 10 w 67"/>
                    <a:gd name="T97" fmla="*/ 124 h 150"/>
                    <a:gd name="T98" fmla="*/ 15 w 67"/>
                    <a:gd name="T99" fmla="*/ 144 h 150"/>
                    <a:gd name="T100" fmla="*/ 17 w 67"/>
                    <a:gd name="T101" fmla="*/ 150 h 150"/>
                    <a:gd name="T102" fmla="*/ 38 w 67"/>
                    <a:gd name="T103" fmla="*/ 12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 h="150">
                      <a:moveTo>
                        <a:pt x="39" y="107"/>
                      </a:moveTo>
                      <a:cubicBezTo>
                        <a:pt x="39" y="103"/>
                        <a:pt x="44" y="96"/>
                        <a:pt x="47" y="96"/>
                      </a:cubicBezTo>
                      <a:cubicBezTo>
                        <a:pt x="50" y="96"/>
                        <a:pt x="50" y="96"/>
                        <a:pt x="50" y="96"/>
                      </a:cubicBezTo>
                      <a:cubicBezTo>
                        <a:pt x="51" y="96"/>
                        <a:pt x="51" y="96"/>
                        <a:pt x="51" y="96"/>
                      </a:cubicBezTo>
                      <a:cubicBezTo>
                        <a:pt x="53" y="98"/>
                        <a:pt x="55" y="101"/>
                        <a:pt x="55" y="104"/>
                      </a:cubicBezTo>
                      <a:cubicBezTo>
                        <a:pt x="55" y="108"/>
                        <a:pt x="49" y="112"/>
                        <a:pt x="46" y="114"/>
                      </a:cubicBezTo>
                      <a:cubicBezTo>
                        <a:pt x="45" y="114"/>
                        <a:pt x="45" y="113"/>
                        <a:pt x="43" y="113"/>
                      </a:cubicBezTo>
                      <a:cubicBezTo>
                        <a:pt x="42" y="113"/>
                        <a:pt x="42" y="113"/>
                        <a:pt x="42" y="113"/>
                      </a:cubicBezTo>
                      <a:cubicBezTo>
                        <a:pt x="39" y="109"/>
                        <a:pt x="39" y="109"/>
                        <a:pt x="39" y="109"/>
                      </a:cubicBezTo>
                      <a:cubicBezTo>
                        <a:pt x="39" y="108"/>
                        <a:pt x="39" y="108"/>
                        <a:pt x="39" y="108"/>
                      </a:cubicBezTo>
                      <a:cubicBezTo>
                        <a:pt x="39" y="107"/>
                        <a:pt x="39" y="107"/>
                        <a:pt x="39" y="107"/>
                      </a:cubicBezTo>
                      <a:close/>
                      <a:moveTo>
                        <a:pt x="21" y="78"/>
                      </a:moveTo>
                      <a:cubicBezTo>
                        <a:pt x="21" y="77"/>
                        <a:pt x="25" y="73"/>
                        <a:pt x="26" y="73"/>
                      </a:cubicBezTo>
                      <a:cubicBezTo>
                        <a:pt x="27" y="73"/>
                        <a:pt x="27" y="73"/>
                        <a:pt x="29" y="73"/>
                      </a:cubicBezTo>
                      <a:cubicBezTo>
                        <a:pt x="30" y="73"/>
                        <a:pt x="30" y="73"/>
                        <a:pt x="30" y="73"/>
                      </a:cubicBezTo>
                      <a:cubicBezTo>
                        <a:pt x="32" y="74"/>
                        <a:pt x="32" y="74"/>
                        <a:pt x="32" y="74"/>
                      </a:cubicBezTo>
                      <a:cubicBezTo>
                        <a:pt x="32" y="76"/>
                        <a:pt x="32" y="76"/>
                        <a:pt x="32" y="76"/>
                      </a:cubicBezTo>
                      <a:cubicBezTo>
                        <a:pt x="32" y="77"/>
                        <a:pt x="32" y="77"/>
                        <a:pt x="32" y="77"/>
                      </a:cubicBezTo>
                      <a:cubicBezTo>
                        <a:pt x="32" y="78"/>
                        <a:pt x="32" y="78"/>
                        <a:pt x="32" y="78"/>
                      </a:cubicBezTo>
                      <a:cubicBezTo>
                        <a:pt x="32" y="79"/>
                        <a:pt x="32" y="79"/>
                        <a:pt x="32" y="79"/>
                      </a:cubicBezTo>
                      <a:cubicBezTo>
                        <a:pt x="31" y="82"/>
                        <a:pt x="29" y="83"/>
                        <a:pt x="25" y="83"/>
                      </a:cubicBezTo>
                      <a:cubicBezTo>
                        <a:pt x="23" y="83"/>
                        <a:pt x="21" y="81"/>
                        <a:pt x="21" y="78"/>
                      </a:cubicBezTo>
                      <a:close/>
                      <a:moveTo>
                        <a:pt x="38" y="125"/>
                      </a:moveTo>
                      <a:cubicBezTo>
                        <a:pt x="43" y="122"/>
                        <a:pt x="47" y="120"/>
                        <a:pt x="53" y="118"/>
                      </a:cubicBezTo>
                      <a:cubicBezTo>
                        <a:pt x="57" y="116"/>
                        <a:pt x="57" y="116"/>
                        <a:pt x="60" y="114"/>
                      </a:cubicBezTo>
                      <a:cubicBezTo>
                        <a:pt x="64" y="111"/>
                        <a:pt x="63" y="110"/>
                        <a:pt x="66" y="108"/>
                      </a:cubicBezTo>
                      <a:cubicBezTo>
                        <a:pt x="67" y="104"/>
                        <a:pt x="67" y="104"/>
                        <a:pt x="67" y="104"/>
                      </a:cubicBezTo>
                      <a:cubicBezTo>
                        <a:pt x="64" y="100"/>
                        <a:pt x="64" y="101"/>
                        <a:pt x="60" y="98"/>
                      </a:cubicBezTo>
                      <a:cubicBezTo>
                        <a:pt x="58" y="96"/>
                        <a:pt x="55" y="95"/>
                        <a:pt x="54" y="92"/>
                      </a:cubicBezTo>
                      <a:cubicBezTo>
                        <a:pt x="53" y="88"/>
                        <a:pt x="53" y="84"/>
                        <a:pt x="51" y="82"/>
                      </a:cubicBezTo>
                      <a:cubicBezTo>
                        <a:pt x="49" y="79"/>
                        <a:pt x="47" y="77"/>
                        <a:pt x="47" y="73"/>
                      </a:cubicBezTo>
                      <a:cubicBezTo>
                        <a:pt x="47" y="72"/>
                        <a:pt x="47" y="72"/>
                        <a:pt x="47" y="71"/>
                      </a:cubicBezTo>
                      <a:cubicBezTo>
                        <a:pt x="49" y="67"/>
                        <a:pt x="47" y="67"/>
                        <a:pt x="53" y="64"/>
                      </a:cubicBezTo>
                      <a:cubicBezTo>
                        <a:pt x="55" y="64"/>
                        <a:pt x="60" y="60"/>
                        <a:pt x="60" y="58"/>
                      </a:cubicBezTo>
                      <a:cubicBezTo>
                        <a:pt x="60" y="55"/>
                        <a:pt x="60" y="55"/>
                        <a:pt x="60" y="55"/>
                      </a:cubicBezTo>
                      <a:cubicBezTo>
                        <a:pt x="60" y="53"/>
                        <a:pt x="56" y="51"/>
                        <a:pt x="53" y="52"/>
                      </a:cubicBezTo>
                      <a:cubicBezTo>
                        <a:pt x="47" y="52"/>
                        <a:pt x="47" y="52"/>
                        <a:pt x="47" y="52"/>
                      </a:cubicBezTo>
                      <a:cubicBezTo>
                        <a:pt x="46" y="52"/>
                        <a:pt x="45" y="51"/>
                        <a:pt x="44" y="50"/>
                      </a:cubicBezTo>
                      <a:cubicBezTo>
                        <a:pt x="44" y="47"/>
                        <a:pt x="44" y="47"/>
                        <a:pt x="44" y="47"/>
                      </a:cubicBezTo>
                      <a:cubicBezTo>
                        <a:pt x="44" y="44"/>
                        <a:pt x="47" y="41"/>
                        <a:pt x="48" y="38"/>
                      </a:cubicBezTo>
                      <a:cubicBezTo>
                        <a:pt x="49" y="34"/>
                        <a:pt x="50" y="33"/>
                        <a:pt x="53" y="30"/>
                      </a:cubicBezTo>
                      <a:cubicBezTo>
                        <a:pt x="56" y="27"/>
                        <a:pt x="66" y="22"/>
                        <a:pt x="66" y="17"/>
                      </a:cubicBezTo>
                      <a:cubicBezTo>
                        <a:pt x="66" y="14"/>
                        <a:pt x="66" y="14"/>
                        <a:pt x="66" y="14"/>
                      </a:cubicBezTo>
                      <a:cubicBezTo>
                        <a:pt x="66" y="13"/>
                        <a:pt x="66" y="13"/>
                        <a:pt x="66" y="13"/>
                      </a:cubicBezTo>
                      <a:cubicBezTo>
                        <a:pt x="65" y="10"/>
                        <a:pt x="62" y="0"/>
                        <a:pt x="58" y="0"/>
                      </a:cubicBezTo>
                      <a:cubicBezTo>
                        <a:pt x="57" y="0"/>
                        <a:pt x="57" y="0"/>
                        <a:pt x="56" y="1"/>
                      </a:cubicBezTo>
                      <a:cubicBezTo>
                        <a:pt x="56" y="3"/>
                        <a:pt x="55" y="3"/>
                        <a:pt x="55" y="5"/>
                      </a:cubicBezTo>
                      <a:cubicBezTo>
                        <a:pt x="55" y="7"/>
                        <a:pt x="55" y="7"/>
                        <a:pt x="55" y="7"/>
                      </a:cubicBezTo>
                      <a:cubicBezTo>
                        <a:pt x="55" y="11"/>
                        <a:pt x="53" y="15"/>
                        <a:pt x="51" y="18"/>
                      </a:cubicBezTo>
                      <a:cubicBezTo>
                        <a:pt x="50" y="18"/>
                        <a:pt x="50" y="18"/>
                        <a:pt x="50" y="18"/>
                      </a:cubicBezTo>
                      <a:cubicBezTo>
                        <a:pt x="48" y="18"/>
                        <a:pt x="48" y="18"/>
                        <a:pt x="47" y="19"/>
                      </a:cubicBezTo>
                      <a:cubicBezTo>
                        <a:pt x="42" y="15"/>
                        <a:pt x="42" y="15"/>
                        <a:pt x="42" y="15"/>
                      </a:cubicBezTo>
                      <a:cubicBezTo>
                        <a:pt x="41" y="15"/>
                        <a:pt x="41" y="15"/>
                        <a:pt x="41" y="15"/>
                      </a:cubicBezTo>
                      <a:cubicBezTo>
                        <a:pt x="40" y="15"/>
                        <a:pt x="40" y="15"/>
                        <a:pt x="40" y="15"/>
                      </a:cubicBezTo>
                      <a:cubicBezTo>
                        <a:pt x="39" y="15"/>
                        <a:pt x="38" y="16"/>
                        <a:pt x="38" y="17"/>
                      </a:cubicBezTo>
                      <a:cubicBezTo>
                        <a:pt x="38" y="19"/>
                        <a:pt x="41" y="22"/>
                        <a:pt x="41" y="26"/>
                      </a:cubicBezTo>
                      <a:cubicBezTo>
                        <a:pt x="41" y="29"/>
                        <a:pt x="41" y="29"/>
                        <a:pt x="41" y="29"/>
                      </a:cubicBezTo>
                      <a:cubicBezTo>
                        <a:pt x="41" y="30"/>
                        <a:pt x="41" y="30"/>
                        <a:pt x="41" y="30"/>
                      </a:cubicBezTo>
                      <a:cubicBezTo>
                        <a:pt x="38" y="33"/>
                        <a:pt x="38" y="33"/>
                        <a:pt x="38" y="33"/>
                      </a:cubicBezTo>
                      <a:cubicBezTo>
                        <a:pt x="37" y="33"/>
                        <a:pt x="37" y="33"/>
                        <a:pt x="37" y="33"/>
                      </a:cubicBezTo>
                      <a:cubicBezTo>
                        <a:pt x="35" y="33"/>
                        <a:pt x="35" y="34"/>
                        <a:pt x="34" y="34"/>
                      </a:cubicBezTo>
                      <a:cubicBezTo>
                        <a:pt x="32" y="33"/>
                        <a:pt x="31" y="31"/>
                        <a:pt x="30" y="29"/>
                      </a:cubicBezTo>
                      <a:cubicBezTo>
                        <a:pt x="24" y="29"/>
                        <a:pt x="30" y="41"/>
                        <a:pt x="19" y="45"/>
                      </a:cubicBezTo>
                      <a:cubicBezTo>
                        <a:pt x="16" y="46"/>
                        <a:pt x="12" y="48"/>
                        <a:pt x="9" y="50"/>
                      </a:cubicBezTo>
                      <a:cubicBezTo>
                        <a:pt x="6" y="51"/>
                        <a:pt x="1" y="53"/>
                        <a:pt x="0" y="55"/>
                      </a:cubicBezTo>
                      <a:cubicBezTo>
                        <a:pt x="1" y="58"/>
                        <a:pt x="1" y="57"/>
                        <a:pt x="4" y="59"/>
                      </a:cubicBezTo>
                      <a:cubicBezTo>
                        <a:pt x="6" y="59"/>
                        <a:pt x="6" y="59"/>
                        <a:pt x="6" y="59"/>
                      </a:cubicBezTo>
                      <a:cubicBezTo>
                        <a:pt x="10" y="59"/>
                        <a:pt x="20" y="51"/>
                        <a:pt x="23" y="51"/>
                      </a:cubicBezTo>
                      <a:cubicBezTo>
                        <a:pt x="25" y="51"/>
                        <a:pt x="24" y="51"/>
                        <a:pt x="27" y="52"/>
                      </a:cubicBezTo>
                      <a:cubicBezTo>
                        <a:pt x="29" y="54"/>
                        <a:pt x="29" y="55"/>
                        <a:pt x="30" y="58"/>
                      </a:cubicBezTo>
                      <a:cubicBezTo>
                        <a:pt x="30" y="59"/>
                        <a:pt x="30" y="59"/>
                        <a:pt x="30" y="59"/>
                      </a:cubicBezTo>
                      <a:cubicBezTo>
                        <a:pt x="30" y="62"/>
                        <a:pt x="28" y="64"/>
                        <a:pt x="26" y="65"/>
                      </a:cubicBezTo>
                      <a:cubicBezTo>
                        <a:pt x="21" y="64"/>
                        <a:pt x="21" y="64"/>
                        <a:pt x="21" y="64"/>
                      </a:cubicBezTo>
                      <a:cubicBezTo>
                        <a:pt x="20" y="64"/>
                        <a:pt x="20" y="64"/>
                        <a:pt x="19" y="64"/>
                      </a:cubicBezTo>
                      <a:cubicBezTo>
                        <a:pt x="18" y="64"/>
                        <a:pt x="18" y="64"/>
                        <a:pt x="18" y="64"/>
                      </a:cubicBezTo>
                      <a:cubicBezTo>
                        <a:pt x="16" y="67"/>
                        <a:pt x="16" y="67"/>
                        <a:pt x="16" y="67"/>
                      </a:cubicBezTo>
                      <a:cubicBezTo>
                        <a:pt x="16" y="68"/>
                        <a:pt x="16" y="68"/>
                        <a:pt x="16" y="68"/>
                      </a:cubicBezTo>
                      <a:cubicBezTo>
                        <a:pt x="16" y="72"/>
                        <a:pt x="16" y="72"/>
                        <a:pt x="16" y="72"/>
                      </a:cubicBezTo>
                      <a:cubicBezTo>
                        <a:pt x="16" y="78"/>
                        <a:pt x="13" y="85"/>
                        <a:pt x="11" y="90"/>
                      </a:cubicBezTo>
                      <a:cubicBezTo>
                        <a:pt x="9" y="94"/>
                        <a:pt x="3" y="100"/>
                        <a:pt x="3" y="105"/>
                      </a:cubicBezTo>
                      <a:cubicBezTo>
                        <a:pt x="3" y="106"/>
                        <a:pt x="4" y="109"/>
                        <a:pt x="5" y="110"/>
                      </a:cubicBezTo>
                      <a:cubicBezTo>
                        <a:pt x="6" y="110"/>
                        <a:pt x="6" y="110"/>
                        <a:pt x="6" y="110"/>
                      </a:cubicBezTo>
                      <a:cubicBezTo>
                        <a:pt x="7" y="110"/>
                        <a:pt x="7" y="110"/>
                        <a:pt x="7" y="110"/>
                      </a:cubicBezTo>
                      <a:cubicBezTo>
                        <a:pt x="9" y="110"/>
                        <a:pt x="8" y="110"/>
                        <a:pt x="9" y="111"/>
                      </a:cubicBezTo>
                      <a:cubicBezTo>
                        <a:pt x="11" y="109"/>
                        <a:pt x="15" y="101"/>
                        <a:pt x="15" y="98"/>
                      </a:cubicBezTo>
                      <a:cubicBezTo>
                        <a:pt x="17" y="94"/>
                        <a:pt x="20" y="89"/>
                        <a:pt x="24" y="89"/>
                      </a:cubicBezTo>
                      <a:cubicBezTo>
                        <a:pt x="25" y="89"/>
                        <a:pt x="25" y="89"/>
                        <a:pt x="26" y="88"/>
                      </a:cubicBezTo>
                      <a:cubicBezTo>
                        <a:pt x="28" y="90"/>
                        <a:pt x="32" y="90"/>
                        <a:pt x="32" y="93"/>
                      </a:cubicBezTo>
                      <a:cubicBezTo>
                        <a:pt x="32" y="94"/>
                        <a:pt x="32" y="94"/>
                        <a:pt x="32" y="94"/>
                      </a:cubicBezTo>
                      <a:cubicBezTo>
                        <a:pt x="32" y="96"/>
                        <a:pt x="32" y="96"/>
                        <a:pt x="32" y="96"/>
                      </a:cubicBezTo>
                      <a:cubicBezTo>
                        <a:pt x="28" y="102"/>
                        <a:pt x="25" y="101"/>
                        <a:pt x="23" y="104"/>
                      </a:cubicBezTo>
                      <a:cubicBezTo>
                        <a:pt x="26" y="109"/>
                        <a:pt x="27" y="108"/>
                        <a:pt x="29" y="113"/>
                      </a:cubicBezTo>
                      <a:cubicBezTo>
                        <a:pt x="29" y="114"/>
                        <a:pt x="29" y="114"/>
                        <a:pt x="29" y="114"/>
                      </a:cubicBezTo>
                      <a:cubicBezTo>
                        <a:pt x="29" y="115"/>
                        <a:pt x="29" y="115"/>
                        <a:pt x="29" y="115"/>
                      </a:cubicBezTo>
                      <a:cubicBezTo>
                        <a:pt x="29" y="116"/>
                        <a:pt x="29" y="116"/>
                        <a:pt x="29" y="116"/>
                      </a:cubicBezTo>
                      <a:cubicBezTo>
                        <a:pt x="28" y="119"/>
                        <a:pt x="26" y="123"/>
                        <a:pt x="22" y="122"/>
                      </a:cubicBezTo>
                      <a:cubicBezTo>
                        <a:pt x="15" y="122"/>
                        <a:pt x="15" y="122"/>
                        <a:pt x="15" y="122"/>
                      </a:cubicBezTo>
                      <a:cubicBezTo>
                        <a:pt x="14" y="122"/>
                        <a:pt x="11" y="124"/>
                        <a:pt x="10" y="124"/>
                      </a:cubicBezTo>
                      <a:cubicBezTo>
                        <a:pt x="13" y="127"/>
                        <a:pt x="23" y="129"/>
                        <a:pt x="23" y="133"/>
                      </a:cubicBezTo>
                      <a:cubicBezTo>
                        <a:pt x="23" y="137"/>
                        <a:pt x="18" y="142"/>
                        <a:pt x="15" y="144"/>
                      </a:cubicBezTo>
                      <a:cubicBezTo>
                        <a:pt x="15" y="150"/>
                        <a:pt x="15" y="150"/>
                        <a:pt x="15" y="150"/>
                      </a:cubicBezTo>
                      <a:cubicBezTo>
                        <a:pt x="17" y="150"/>
                        <a:pt x="17" y="150"/>
                        <a:pt x="17" y="150"/>
                      </a:cubicBezTo>
                      <a:cubicBezTo>
                        <a:pt x="20" y="150"/>
                        <a:pt x="27" y="141"/>
                        <a:pt x="29" y="139"/>
                      </a:cubicBezTo>
                      <a:cubicBezTo>
                        <a:pt x="33" y="135"/>
                        <a:pt x="34" y="129"/>
                        <a:pt x="38" y="125"/>
                      </a:cubicBez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8" name="íṩḻïḑè"/>
                <p:cNvSpPr/>
                <p:nvPr/>
              </p:nvSpPr>
              <p:spPr bwMode="auto">
                <a:xfrm>
                  <a:off x="4422776" y="3106738"/>
                  <a:ext cx="412750" cy="596900"/>
                </a:xfrm>
                <a:custGeom>
                  <a:avLst/>
                  <a:gdLst>
                    <a:gd name="T0" fmla="*/ 63 w 125"/>
                    <a:gd name="T1" fmla="*/ 83 h 179"/>
                    <a:gd name="T2" fmla="*/ 69 w 125"/>
                    <a:gd name="T3" fmla="*/ 84 h 179"/>
                    <a:gd name="T4" fmla="*/ 71 w 125"/>
                    <a:gd name="T5" fmla="*/ 95 h 179"/>
                    <a:gd name="T6" fmla="*/ 56 w 125"/>
                    <a:gd name="T7" fmla="*/ 91 h 179"/>
                    <a:gd name="T8" fmla="*/ 77 w 125"/>
                    <a:gd name="T9" fmla="*/ 77 h 179"/>
                    <a:gd name="T10" fmla="*/ 90 w 125"/>
                    <a:gd name="T11" fmla="*/ 82 h 179"/>
                    <a:gd name="T12" fmla="*/ 93 w 125"/>
                    <a:gd name="T13" fmla="*/ 96 h 179"/>
                    <a:gd name="T14" fmla="*/ 88 w 125"/>
                    <a:gd name="T15" fmla="*/ 106 h 179"/>
                    <a:gd name="T16" fmla="*/ 75 w 125"/>
                    <a:gd name="T17" fmla="*/ 89 h 179"/>
                    <a:gd name="T18" fmla="*/ 91 w 125"/>
                    <a:gd name="T19" fmla="*/ 29 h 179"/>
                    <a:gd name="T20" fmla="*/ 95 w 125"/>
                    <a:gd name="T21" fmla="*/ 4 h 179"/>
                    <a:gd name="T22" fmla="*/ 92 w 125"/>
                    <a:gd name="T23" fmla="*/ 0 h 179"/>
                    <a:gd name="T24" fmla="*/ 86 w 125"/>
                    <a:gd name="T25" fmla="*/ 0 h 179"/>
                    <a:gd name="T26" fmla="*/ 80 w 125"/>
                    <a:gd name="T27" fmla="*/ 7 h 179"/>
                    <a:gd name="T28" fmla="*/ 83 w 125"/>
                    <a:gd name="T29" fmla="*/ 30 h 179"/>
                    <a:gd name="T30" fmla="*/ 86 w 125"/>
                    <a:gd name="T31" fmla="*/ 50 h 179"/>
                    <a:gd name="T32" fmla="*/ 46 w 125"/>
                    <a:gd name="T33" fmla="*/ 84 h 179"/>
                    <a:gd name="T34" fmla="*/ 0 w 125"/>
                    <a:gd name="T35" fmla="*/ 99 h 179"/>
                    <a:gd name="T36" fmla="*/ 13 w 125"/>
                    <a:gd name="T37" fmla="*/ 108 h 179"/>
                    <a:gd name="T38" fmla="*/ 30 w 125"/>
                    <a:gd name="T39" fmla="*/ 100 h 179"/>
                    <a:gd name="T40" fmla="*/ 47 w 125"/>
                    <a:gd name="T41" fmla="*/ 92 h 179"/>
                    <a:gd name="T42" fmla="*/ 51 w 125"/>
                    <a:gd name="T43" fmla="*/ 109 h 179"/>
                    <a:gd name="T44" fmla="*/ 50 w 125"/>
                    <a:gd name="T45" fmla="*/ 118 h 179"/>
                    <a:gd name="T46" fmla="*/ 54 w 125"/>
                    <a:gd name="T47" fmla="*/ 125 h 179"/>
                    <a:gd name="T48" fmla="*/ 62 w 125"/>
                    <a:gd name="T49" fmla="*/ 119 h 179"/>
                    <a:gd name="T50" fmla="*/ 62 w 125"/>
                    <a:gd name="T51" fmla="*/ 113 h 179"/>
                    <a:gd name="T52" fmla="*/ 78 w 125"/>
                    <a:gd name="T53" fmla="*/ 111 h 179"/>
                    <a:gd name="T54" fmla="*/ 78 w 125"/>
                    <a:gd name="T55" fmla="*/ 113 h 179"/>
                    <a:gd name="T56" fmla="*/ 78 w 125"/>
                    <a:gd name="T57" fmla="*/ 118 h 179"/>
                    <a:gd name="T58" fmla="*/ 46 w 125"/>
                    <a:gd name="T59" fmla="*/ 147 h 179"/>
                    <a:gd name="T60" fmla="*/ 28 w 125"/>
                    <a:gd name="T61" fmla="*/ 158 h 179"/>
                    <a:gd name="T62" fmla="*/ 1 w 125"/>
                    <a:gd name="T63" fmla="*/ 170 h 179"/>
                    <a:gd name="T64" fmla="*/ 14 w 125"/>
                    <a:gd name="T65" fmla="*/ 178 h 179"/>
                    <a:gd name="T66" fmla="*/ 20 w 125"/>
                    <a:gd name="T67" fmla="*/ 179 h 179"/>
                    <a:gd name="T68" fmla="*/ 22 w 125"/>
                    <a:gd name="T69" fmla="*/ 179 h 179"/>
                    <a:gd name="T70" fmla="*/ 38 w 125"/>
                    <a:gd name="T71" fmla="*/ 169 h 179"/>
                    <a:gd name="T72" fmla="*/ 61 w 125"/>
                    <a:gd name="T73" fmla="*/ 150 h 179"/>
                    <a:gd name="T74" fmla="*/ 79 w 125"/>
                    <a:gd name="T75" fmla="*/ 135 h 179"/>
                    <a:gd name="T76" fmla="*/ 96 w 125"/>
                    <a:gd name="T77" fmla="*/ 119 h 179"/>
                    <a:gd name="T78" fmla="*/ 106 w 125"/>
                    <a:gd name="T79" fmla="*/ 149 h 179"/>
                    <a:gd name="T80" fmla="*/ 125 w 125"/>
                    <a:gd name="T81" fmla="*/ 152 h 179"/>
                    <a:gd name="T82" fmla="*/ 116 w 125"/>
                    <a:gd name="T83" fmla="*/ 120 h 179"/>
                    <a:gd name="T84" fmla="*/ 115 w 125"/>
                    <a:gd name="T85" fmla="*/ 125 h 179"/>
                    <a:gd name="T86" fmla="*/ 109 w 125"/>
                    <a:gd name="T87" fmla="*/ 129 h 179"/>
                    <a:gd name="T88" fmla="*/ 97 w 125"/>
                    <a:gd name="T89" fmla="*/ 92 h 179"/>
                    <a:gd name="T90" fmla="*/ 94 w 125"/>
                    <a:gd name="T91" fmla="*/ 76 h 179"/>
                    <a:gd name="T92" fmla="*/ 110 w 125"/>
                    <a:gd name="T93" fmla="*/ 60 h 179"/>
                    <a:gd name="T94" fmla="*/ 105 w 125"/>
                    <a:gd name="T95" fmla="*/ 57 h 179"/>
                    <a:gd name="T96" fmla="*/ 101 w 125"/>
                    <a:gd name="T97" fmla="*/ 59 h 179"/>
                    <a:gd name="T98" fmla="*/ 91 w 125"/>
                    <a:gd name="T99" fmla="*/ 54 h 179"/>
                    <a:gd name="T100" fmla="*/ 91 w 125"/>
                    <a:gd name="T101" fmla="*/ 2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5" h="179">
                      <a:moveTo>
                        <a:pt x="56" y="91"/>
                      </a:moveTo>
                      <a:cubicBezTo>
                        <a:pt x="56" y="87"/>
                        <a:pt x="60" y="85"/>
                        <a:pt x="63" y="83"/>
                      </a:cubicBezTo>
                      <a:cubicBezTo>
                        <a:pt x="64" y="83"/>
                        <a:pt x="64" y="83"/>
                        <a:pt x="64" y="83"/>
                      </a:cubicBezTo>
                      <a:cubicBezTo>
                        <a:pt x="67" y="83"/>
                        <a:pt x="67" y="84"/>
                        <a:pt x="69" y="84"/>
                      </a:cubicBezTo>
                      <a:cubicBezTo>
                        <a:pt x="71" y="94"/>
                        <a:pt x="71" y="94"/>
                        <a:pt x="71" y="94"/>
                      </a:cubicBezTo>
                      <a:cubicBezTo>
                        <a:pt x="71" y="95"/>
                        <a:pt x="71" y="95"/>
                        <a:pt x="71" y="95"/>
                      </a:cubicBezTo>
                      <a:cubicBezTo>
                        <a:pt x="68" y="100"/>
                        <a:pt x="68" y="99"/>
                        <a:pt x="63" y="101"/>
                      </a:cubicBezTo>
                      <a:cubicBezTo>
                        <a:pt x="61" y="99"/>
                        <a:pt x="56" y="95"/>
                        <a:pt x="56" y="91"/>
                      </a:cubicBezTo>
                      <a:close/>
                      <a:moveTo>
                        <a:pt x="72" y="83"/>
                      </a:moveTo>
                      <a:cubicBezTo>
                        <a:pt x="74" y="79"/>
                        <a:pt x="73" y="79"/>
                        <a:pt x="77" y="77"/>
                      </a:cubicBezTo>
                      <a:cubicBezTo>
                        <a:pt x="79" y="75"/>
                        <a:pt x="82" y="75"/>
                        <a:pt x="83" y="73"/>
                      </a:cubicBezTo>
                      <a:cubicBezTo>
                        <a:pt x="88" y="76"/>
                        <a:pt x="89" y="76"/>
                        <a:pt x="90" y="82"/>
                      </a:cubicBezTo>
                      <a:cubicBezTo>
                        <a:pt x="92" y="95"/>
                        <a:pt x="92" y="95"/>
                        <a:pt x="92" y="95"/>
                      </a:cubicBezTo>
                      <a:cubicBezTo>
                        <a:pt x="93" y="96"/>
                        <a:pt x="93" y="96"/>
                        <a:pt x="93" y="96"/>
                      </a:cubicBezTo>
                      <a:cubicBezTo>
                        <a:pt x="94" y="99"/>
                        <a:pt x="94" y="99"/>
                        <a:pt x="94" y="99"/>
                      </a:cubicBezTo>
                      <a:cubicBezTo>
                        <a:pt x="91" y="105"/>
                        <a:pt x="93" y="103"/>
                        <a:pt x="88" y="106"/>
                      </a:cubicBezTo>
                      <a:cubicBezTo>
                        <a:pt x="83" y="101"/>
                        <a:pt x="82" y="101"/>
                        <a:pt x="79" y="95"/>
                      </a:cubicBezTo>
                      <a:cubicBezTo>
                        <a:pt x="77" y="93"/>
                        <a:pt x="77" y="91"/>
                        <a:pt x="75" y="89"/>
                      </a:cubicBezTo>
                      <a:cubicBezTo>
                        <a:pt x="73" y="87"/>
                        <a:pt x="73" y="86"/>
                        <a:pt x="72" y="83"/>
                      </a:cubicBezTo>
                      <a:close/>
                      <a:moveTo>
                        <a:pt x="91" y="29"/>
                      </a:moveTo>
                      <a:cubicBezTo>
                        <a:pt x="91" y="22"/>
                        <a:pt x="95" y="12"/>
                        <a:pt x="95" y="4"/>
                      </a:cubicBezTo>
                      <a:cubicBezTo>
                        <a:pt x="95" y="4"/>
                        <a:pt x="95" y="4"/>
                        <a:pt x="95" y="4"/>
                      </a:cubicBezTo>
                      <a:cubicBezTo>
                        <a:pt x="95" y="3"/>
                        <a:pt x="95" y="3"/>
                        <a:pt x="95" y="3"/>
                      </a:cubicBezTo>
                      <a:cubicBezTo>
                        <a:pt x="93" y="0"/>
                        <a:pt x="95" y="1"/>
                        <a:pt x="92" y="0"/>
                      </a:cubicBezTo>
                      <a:cubicBezTo>
                        <a:pt x="91" y="0"/>
                        <a:pt x="91" y="0"/>
                        <a:pt x="91" y="0"/>
                      </a:cubicBezTo>
                      <a:cubicBezTo>
                        <a:pt x="86" y="0"/>
                        <a:pt x="86" y="0"/>
                        <a:pt x="86" y="0"/>
                      </a:cubicBezTo>
                      <a:cubicBezTo>
                        <a:pt x="85" y="0"/>
                        <a:pt x="85" y="0"/>
                        <a:pt x="85" y="0"/>
                      </a:cubicBezTo>
                      <a:cubicBezTo>
                        <a:pt x="82" y="1"/>
                        <a:pt x="80" y="4"/>
                        <a:pt x="80" y="7"/>
                      </a:cubicBezTo>
                      <a:cubicBezTo>
                        <a:pt x="83" y="30"/>
                        <a:pt x="83" y="30"/>
                        <a:pt x="83" y="30"/>
                      </a:cubicBezTo>
                      <a:cubicBezTo>
                        <a:pt x="83" y="30"/>
                        <a:pt x="83" y="30"/>
                        <a:pt x="83" y="30"/>
                      </a:cubicBezTo>
                      <a:cubicBezTo>
                        <a:pt x="83" y="38"/>
                        <a:pt x="86" y="44"/>
                        <a:pt x="86" y="49"/>
                      </a:cubicBezTo>
                      <a:cubicBezTo>
                        <a:pt x="86" y="50"/>
                        <a:pt x="86" y="50"/>
                        <a:pt x="86" y="50"/>
                      </a:cubicBezTo>
                      <a:cubicBezTo>
                        <a:pt x="87" y="62"/>
                        <a:pt x="87" y="62"/>
                        <a:pt x="87" y="62"/>
                      </a:cubicBezTo>
                      <a:cubicBezTo>
                        <a:pt x="87" y="68"/>
                        <a:pt x="52" y="81"/>
                        <a:pt x="46" y="84"/>
                      </a:cubicBezTo>
                      <a:cubicBezTo>
                        <a:pt x="39" y="87"/>
                        <a:pt x="31" y="89"/>
                        <a:pt x="23" y="92"/>
                      </a:cubicBezTo>
                      <a:cubicBezTo>
                        <a:pt x="20" y="94"/>
                        <a:pt x="0" y="96"/>
                        <a:pt x="0" y="99"/>
                      </a:cubicBezTo>
                      <a:cubicBezTo>
                        <a:pt x="0" y="101"/>
                        <a:pt x="9" y="108"/>
                        <a:pt x="11" y="108"/>
                      </a:cubicBezTo>
                      <a:cubicBezTo>
                        <a:pt x="13" y="108"/>
                        <a:pt x="13" y="108"/>
                        <a:pt x="13" y="108"/>
                      </a:cubicBezTo>
                      <a:cubicBezTo>
                        <a:pt x="14" y="108"/>
                        <a:pt x="14" y="108"/>
                        <a:pt x="14" y="108"/>
                      </a:cubicBezTo>
                      <a:cubicBezTo>
                        <a:pt x="20" y="105"/>
                        <a:pt x="24" y="103"/>
                        <a:pt x="30" y="100"/>
                      </a:cubicBezTo>
                      <a:cubicBezTo>
                        <a:pt x="34" y="98"/>
                        <a:pt x="41" y="93"/>
                        <a:pt x="45" y="93"/>
                      </a:cubicBezTo>
                      <a:cubicBezTo>
                        <a:pt x="46" y="93"/>
                        <a:pt x="46" y="93"/>
                        <a:pt x="47" y="92"/>
                      </a:cubicBezTo>
                      <a:cubicBezTo>
                        <a:pt x="49" y="94"/>
                        <a:pt x="52" y="96"/>
                        <a:pt x="51" y="101"/>
                      </a:cubicBezTo>
                      <a:cubicBezTo>
                        <a:pt x="51" y="109"/>
                        <a:pt x="51" y="109"/>
                        <a:pt x="51" y="109"/>
                      </a:cubicBezTo>
                      <a:cubicBezTo>
                        <a:pt x="51" y="110"/>
                        <a:pt x="51" y="110"/>
                        <a:pt x="51" y="110"/>
                      </a:cubicBezTo>
                      <a:cubicBezTo>
                        <a:pt x="50" y="118"/>
                        <a:pt x="50" y="118"/>
                        <a:pt x="50" y="118"/>
                      </a:cubicBezTo>
                      <a:cubicBezTo>
                        <a:pt x="50" y="119"/>
                        <a:pt x="50" y="119"/>
                        <a:pt x="50" y="120"/>
                      </a:cubicBezTo>
                      <a:cubicBezTo>
                        <a:pt x="51" y="123"/>
                        <a:pt x="51" y="123"/>
                        <a:pt x="54" y="125"/>
                      </a:cubicBezTo>
                      <a:cubicBezTo>
                        <a:pt x="56" y="125"/>
                        <a:pt x="56" y="125"/>
                        <a:pt x="56" y="125"/>
                      </a:cubicBezTo>
                      <a:cubicBezTo>
                        <a:pt x="59" y="125"/>
                        <a:pt x="60" y="121"/>
                        <a:pt x="62" y="119"/>
                      </a:cubicBezTo>
                      <a:cubicBezTo>
                        <a:pt x="62" y="118"/>
                        <a:pt x="62" y="118"/>
                        <a:pt x="62" y="118"/>
                      </a:cubicBezTo>
                      <a:cubicBezTo>
                        <a:pt x="62" y="113"/>
                        <a:pt x="62" y="113"/>
                        <a:pt x="62" y="113"/>
                      </a:cubicBezTo>
                      <a:cubicBezTo>
                        <a:pt x="63" y="110"/>
                        <a:pt x="68" y="106"/>
                        <a:pt x="71" y="106"/>
                      </a:cubicBezTo>
                      <a:cubicBezTo>
                        <a:pt x="75" y="106"/>
                        <a:pt x="77" y="109"/>
                        <a:pt x="78" y="111"/>
                      </a:cubicBezTo>
                      <a:cubicBezTo>
                        <a:pt x="78" y="112"/>
                        <a:pt x="78" y="112"/>
                        <a:pt x="78" y="112"/>
                      </a:cubicBezTo>
                      <a:cubicBezTo>
                        <a:pt x="78" y="113"/>
                        <a:pt x="78" y="113"/>
                        <a:pt x="78" y="113"/>
                      </a:cubicBezTo>
                      <a:cubicBezTo>
                        <a:pt x="78" y="115"/>
                        <a:pt x="78" y="115"/>
                        <a:pt x="79" y="116"/>
                      </a:cubicBezTo>
                      <a:cubicBezTo>
                        <a:pt x="78" y="117"/>
                        <a:pt x="78" y="117"/>
                        <a:pt x="78" y="118"/>
                      </a:cubicBezTo>
                      <a:cubicBezTo>
                        <a:pt x="78" y="119"/>
                        <a:pt x="78" y="119"/>
                        <a:pt x="78" y="119"/>
                      </a:cubicBezTo>
                      <a:cubicBezTo>
                        <a:pt x="72" y="130"/>
                        <a:pt x="57" y="140"/>
                        <a:pt x="46" y="147"/>
                      </a:cubicBezTo>
                      <a:cubicBezTo>
                        <a:pt x="44" y="148"/>
                        <a:pt x="40" y="151"/>
                        <a:pt x="37" y="152"/>
                      </a:cubicBezTo>
                      <a:cubicBezTo>
                        <a:pt x="35" y="153"/>
                        <a:pt x="29" y="157"/>
                        <a:pt x="28" y="158"/>
                      </a:cubicBezTo>
                      <a:cubicBezTo>
                        <a:pt x="25" y="161"/>
                        <a:pt x="12" y="165"/>
                        <a:pt x="6" y="165"/>
                      </a:cubicBezTo>
                      <a:cubicBezTo>
                        <a:pt x="4" y="165"/>
                        <a:pt x="2" y="168"/>
                        <a:pt x="1" y="170"/>
                      </a:cubicBezTo>
                      <a:cubicBezTo>
                        <a:pt x="4" y="171"/>
                        <a:pt x="4" y="173"/>
                        <a:pt x="7" y="175"/>
                      </a:cubicBezTo>
                      <a:cubicBezTo>
                        <a:pt x="10" y="176"/>
                        <a:pt x="12" y="176"/>
                        <a:pt x="14" y="178"/>
                      </a:cubicBezTo>
                      <a:cubicBezTo>
                        <a:pt x="18" y="179"/>
                        <a:pt x="18" y="179"/>
                        <a:pt x="18" y="179"/>
                      </a:cubicBezTo>
                      <a:cubicBezTo>
                        <a:pt x="20" y="179"/>
                        <a:pt x="18" y="179"/>
                        <a:pt x="20" y="179"/>
                      </a:cubicBezTo>
                      <a:cubicBezTo>
                        <a:pt x="21" y="179"/>
                        <a:pt x="21" y="179"/>
                        <a:pt x="21" y="179"/>
                      </a:cubicBezTo>
                      <a:cubicBezTo>
                        <a:pt x="22" y="179"/>
                        <a:pt x="22" y="179"/>
                        <a:pt x="22" y="179"/>
                      </a:cubicBezTo>
                      <a:cubicBezTo>
                        <a:pt x="26" y="177"/>
                        <a:pt x="30" y="175"/>
                        <a:pt x="33" y="173"/>
                      </a:cubicBezTo>
                      <a:cubicBezTo>
                        <a:pt x="35" y="171"/>
                        <a:pt x="36" y="170"/>
                        <a:pt x="38" y="169"/>
                      </a:cubicBezTo>
                      <a:cubicBezTo>
                        <a:pt x="39" y="168"/>
                        <a:pt x="43" y="166"/>
                        <a:pt x="43" y="166"/>
                      </a:cubicBezTo>
                      <a:cubicBezTo>
                        <a:pt x="49" y="160"/>
                        <a:pt x="55" y="156"/>
                        <a:pt x="61" y="150"/>
                      </a:cubicBezTo>
                      <a:cubicBezTo>
                        <a:pt x="64" y="148"/>
                        <a:pt x="67" y="145"/>
                        <a:pt x="70" y="143"/>
                      </a:cubicBezTo>
                      <a:cubicBezTo>
                        <a:pt x="73" y="140"/>
                        <a:pt x="76" y="137"/>
                        <a:pt x="79" y="135"/>
                      </a:cubicBezTo>
                      <a:cubicBezTo>
                        <a:pt x="82" y="132"/>
                        <a:pt x="85" y="130"/>
                        <a:pt x="87" y="127"/>
                      </a:cubicBezTo>
                      <a:cubicBezTo>
                        <a:pt x="90" y="124"/>
                        <a:pt x="91" y="119"/>
                        <a:pt x="96" y="119"/>
                      </a:cubicBezTo>
                      <a:cubicBezTo>
                        <a:pt x="98" y="119"/>
                        <a:pt x="100" y="126"/>
                        <a:pt x="100" y="128"/>
                      </a:cubicBezTo>
                      <a:cubicBezTo>
                        <a:pt x="100" y="132"/>
                        <a:pt x="105" y="145"/>
                        <a:pt x="106" y="149"/>
                      </a:cubicBezTo>
                      <a:cubicBezTo>
                        <a:pt x="108" y="155"/>
                        <a:pt x="111" y="165"/>
                        <a:pt x="118" y="165"/>
                      </a:cubicBezTo>
                      <a:cubicBezTo>
                        <a:pt x="119" y="163"/>
                        <a:pt x="125" y="161"/>
                        <a:pt x="125" y="152"/>
                      </a:cubicBezTo>
                      <a:cubicBezTo>
                        <a:pt x="125" y="143"/>
                        <a:pt x="120" y="120"/>
                        <a:pt x="117" y="116"/>
                      </a:cubicBezTo>
                      <a:cubicBezTo>
                        <a:pt x="117" y="118"/>
                        <a:pt x="116" y="118"/>
                        <a:pt x="116" y="120"/>
                      </a:cubicBezTo>
                      <a:cubicBezTo>
                        <a:pt x="116" y="123"/>
                        <a:pt x="115" y="121"/>
                        <a:pt x="115" y="124"/>
                      </a:cubicBezTo>
                      <a:cubicBezTo>
                        <a:pt x="115" y="125"/>
                        <a:pt x="115" y="125"/>
                        <a:pt x="115" y="125"/>
                      </a:cubicBezTo>
                      <a:cubicBezTo>
                        <a:pt x="115" y="126"/>
                        <a:pt x="114" y="129"/>
                        <a:pt x="112" y="129"/>
                      </a:cubicBezTo>
                      <a:cubicBezTo>
                        <a:pt x="109" y="129"/>
                        <a:pt x="109" y="129"/>
                        <a:pt x="109" y="129"/>
                      </a:cubicBezTo>
                      <a:cubicBezTo>
                        <a:pt x="105" y="129"/>
                        <a:pt x="102" y="110"/>
                        <a:pt x="100" y="105"/>
                      </a:cubicBezTo>
                      <a:cubicBezTo>
                        <a:pt x="98" y="101"/>
                        <a:pt x="98" y="97"/>
                        <a:pt x="97" y="92"/>
                      </a:cubicBezTo>
                      <a:cubicBezTo>
                        <a:pt x="96" y="87"/>
                        <a:pt x="94" y="86"/>
                        <a:pt x="94" y="79"/>
                      </a:cubicBezTo>
                      <a:cubicBezTo>
                        <a:pt x="94" y="76"/>
                        <a:pt x="94" y="76"/>
                        <a:pt x="94" y="76"/>
                      </a:cubicBezTo>
                      <a:cubicBezTo>
                        <a:pt x="94" y="65"/>
                        <a:pt x="110" y="67"/>
                        <a:pt x="110" y="61"/>
                      </a:cubicBezTo>
                      <a:cubicBezTo>
                        <a:pt x="110" y="60"/>
                        <a:pt x="110" y="60"/>
                        <a:pt x="110" y="60"/>
                      </a:cubicBezTo>
                      <a:cubicBezTo>
                        <a:pt x="110" y="58"/>
                        <a:pt x="109" y="57"/>
                        <a:pt x="108" y="57"/>
                      </a:cubicBezTo>
                      <a:cubicBezTo>
                        <a:pt x="105" y="57"/>
                        <a:pt x="105" y="57"/>
                        <a:pt x="105" y="57"/>
                      </a:cubicBezTo>
                      <a:cubicBezTo>
                        <a:pt x="104" y="57"/>
                        <a:pt x="104" y="57"/>
                        <a:pt x="104" y="57"/>
                      </a:cubicBezTo>
                      <a:cubicBezTo>
                        <a:pt x="103" y="58"/>
                        <a:pt x="102" y="59"/>
                        <a:pt x="101" y="59"/>
                      </a:cubicBezTo>
                      <a:cubicBezTo>
                        <a:pt x="99" y="60"/>
                        <a:pt x="99" y="59"/>
                        <a:pt x="97" y="60"/>
                      </a:cubicBezTo>
                      <a:cubicBezTo>
                        <a:pt x="95" y="59"/>
                        <a:pt x="91" y="56"/>
                        <a:pt x="91" y="54"/>
                      </a:cubicBezTo>
                      <a:cubicBezTo>
                        <a:pt x="91" y="41"/>
                        <a:pt x="91" y="41"/>
                        <a:pt x="91" y="41"/>
                      </a:cubicBezTo>
                      <a:lnTo>
                        <a:pt x="91" y="29"/>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9" name="ïṡľîdê"/>
                <p:cNvSpPr/>
                <p:nvPr/>
              </p:nvSpPr>
              <p:spPr bwMode="auto">
                <a:xfrm>
                  <a:off x="5478463" y="3581400"/>
                  <a:ext cx="46038" cy="76200"/>
                </a:xfrm>
                <a:custGeom>
                  <a:avLst/>
                  <a:gdLst>
                    <a:gd name="T0" fmla="*/ 14 w 14"/>
                    <a:gd name="T1" fmla="*/ 15 h 23"/>
                    <a:gd name="T2" fmla="*/ 10 w 14"/>
                    <a:gd name="T3" fmla="*/ 6 h 23"/>
                    <a:gd name="T4" fmla="*/ 3 w 14"/>
                    <a:gd name="T5" fmla="*/ 0 h 23"/>
                    <a:gd name="T6" fmla="*/ 0 w 14"/>
                    <a:gd name="T7" fmla="*/ 3 h 23"/>
                    <a:gd name="T8" fmla="*/ 5 w 14"/>
                    <a:gd name="T9" fmla="*/ 11 h 23"/>
                    <a:gd name="T10" fmla="*/ 5 w 14"/>
                    <a:gd name="T11" fmla="*/ 12 h 23"/>
                    <a:gd name="T12" fmla="*/ 5 w 14"/>
                    <a:gd name="T13" fmla="*/ 14 h 23"/>
                    <a:gd name="T14" fmla="*/ 5 w 14"/>
                    <a:gd name="T15" fmla="*/ 15 h 23"/>
                    <a:gd name="T16" fmla="*/ 2 w 14"/>
                    <a:gd name="T17" fmla="*/ 19 h 23"/>
                    <a:gd name="T18" fmla="*/ 2 w 14"/>
                    <a:gd name="T19" fmla="*/ 22 h 23"/>
                    <a:gd name="T20" fmla="*/ 5 w 14"/>
                    <a:gd name="T21" fmla="*/ 23 h 23"/>
                    <a:gd name="T22" fmla="*/ 6 w 14"/>
                    <a:gd name="T23" fmla="*/ 23 h 23"/>
                    <a:gd name="T24" fmla="*/ 11 w 14"/>
                    <a:gd name="T25" fmla="*/ 20 h 23"/>
                    <a:gd name="T26" fmla="*/ 14 w 14"/>
                    <a:gd name="T27" fmla="*/ 1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23">
                      <a:moveTo>
                        <a:pt x="14" y="15"/>
                      </a:moveTo>
                      <a:cubicBezTo>
                        <a:pt x="14" y="11"/>
                        <a:pt x="12" y="9"/>
                        <a:pt x="10" y="6"/>
                      </a:cubicBezTo>
                      <a:cubicBezTo>
                        <a:pt x="8" y="5"/>
                        <a:pt x="3" y="1"/>
                        <a:pt x="3" y="0"/>
                      </a:cubicBezTo>
                      <a:cubicBezTo>
                        <a:pt x="0" y="3"/>
                        <a:pt x="0" y="3"/>
                        <a:pt x="0" y="3"/>
                      </a:cubicBezTo>
                      <a:cubicBezTo>
                        <a:pt x="5" y="11"/>
                        <a:pt x="5" y="11"/>
                        <a:pt x="5" y="11"/>
                      </a:cubicBezTo>
                      <a:cubicBezTo>
                        <a:pt x="5" y="12"/>
                        <a:pt x="5" y="12"/>
                        <a:pt x="5" y="12"/>
                      </a:cubicBezTo>
                      <a:cubicBezTo>
                        <a:pt x="5" y="14"/>
                        <a:pt x="5" y="14"/>
                        <a:pt x="5" y="14"/>
                      </a:cubicBezTo>
                      <a:cubicBezTo>
                        <a:pt x="5" y="15"/>
                        <a:pt x="5" y="15"/>
                        <a:pt x="5" y="15"/>
                      </a:cubicBezTo>
                      <a:cubicBezTo>
                        <a:pt x="2" y="19"/>
                        <a:pt x="2" y="19"/>
                        <a:pt x="2" y="19"/>
                      </a:cubicBezTo>
                      <a:cubicBezTo>
                        <a:pt x="2" y="22"/>
                        <a:pt x="2" y="22"/>
                        <a:pt x="2" y="22"/>
                      </a:cubicBezTo>
                      <a:cubicBezTo>
                        <a:pt x="5" y="23"/>
                        <a:pt x="5" y="23"/>
                        <a:pt x="5" y="23"/>
                      </a:cubicBezTo>
                      <a:cubicBezTo>
                        <a:pt x="6" y="23"/>
                        <a:pt x="6" y="23"/>
                        <a:pt x="6" y="23"/>
                      </a:cubicBezTo>
                      <a:cubicBezTo>
                        <a:pt x="7" y="23"/>
                        <a:pt x="11" y="21"/>
                        <a:pt x="11" y="20"/>
                      </a:cubicBezTo>
                      <a:cubicBezTo>
                        <a:pt x="13" y="19"/>
                        <a:pt x="13" y="17"/>
                        <a:pt x="14" y="15"/>
                      </a:cubicBez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40" name="iṡ1îďé"/>
                <p:cNvSpPr/>
                <p:nvPr/>
              </p:nvSpPr>
              <p:spPr bwMode="auto">
                <a:xfrm>
                  <a:off x="6310313" y="3136900"/>
                  <a:ext cx="406400" cy="554038"/>
                </a:xfrm>
                <a:custGeom>
                  <a:avLst/>
                  <a:gdLst>
                    <a:gd name="T0" fmla="*/ 101 w 123"/>
                    <a:gd name="T1" fmla="*/ 9 h 166"/>
                    <a:gd name="T2" fmla="*/ 96 w 123"/>
                    <a:gd name="T3" fmla="*/ 0 h 166"/>
                    <a:gd name="T4" fmla="*/ 76 w 123"/>
                    <a:gd name="T5" fmla="*/ 23 h 166"/>
                    <a:gd name="T6" fmla="*/ 66 w 123"/>
                    <a:gd name="T7" fmla="*/ 20 h 166"/>
                    <a:gd name="T8" fmla="*/ 69 w 123"/>
                    <a:gd name="T9" fmla="*/ 29 h 166"/>
                    <a:gd name="T10" fmla="*/ 64 w 123"/>
                    <a:gd name="T11" fmla="*/ 38 h 166"/>
                    <a:gd name="T12" fmla="*/ 71 w 123"/>
                    <a:gd name="T13" fmla="*/ 37 h 166"/>
                    <a:gd name="T14" fmla="*/ 78 w 123"/>
                    <a:gd name="T15" fmla="*/ 38 h 166"/>
                    <a:gd name="T16" fmla="*/ 104 w 123"/>
                    <a:gd name="T17" fmla="*/ 37 h 166"/>
                    <a:gd name="T18" fmla="*/ 97 w 123"/>
                    <a:gd name="T19" fmla="*/ 43 h 166"/>
                    <a:gd name="T20" fmla="*/ 85 w 123"/>
                    <a:gd name="T21" fmla="*/ 56 h 166"/>
                    <a:gd name="T22" fmla="*/ 78 w 123"/>
                    <a:gd name="T23" fmla="*/ 67 h 166"/>
                    <a:gd name="T24" fmla="*/ 72 w 123"/>
                    <a:gd name="T25" fmla="*/ 62 h 166"/>
                    <a:gd name="T26" fmla="*/ 72 w 123"/>
                    <a:gd name="T27" fmla="*/ 48 h 166"/>
                    <a:gd name="T28" fmla="*/ 63 w 123"/>
                    <a:gd name="T29" fmla="*/ 57 h 166"/>
                    <a:gd name="T30" fmla="*/ 56 w 123"/>
                    <a:gd name="T31" fmla="*/ 57 h 166"/>
                    <a:gd name="T32" fmla="*/ 61 w 123"/>
                    <a:gd name="T33" fmla="*/ 66 h 166"/>
                    <a:gd name="T34" fmla="*/ 59 w 123"/>
                    <a:gd name="T35" fmla="*/ 70 h 166"/>
                    <a:gd name="T36" fmla="*/ 68 w 123"/>
                    <a:gd name="T37" fmla="*/ 74 h 166"/>
                    <a:gd name="T38" fmla="*/ 68 w 123"/>
                    <a:gd name="T39" fmla="*/ 78 h 166"/>
                    <a:gd name="T40" fmla="*/ 40 w 123"/>
                    <a:gd name="T41" fmla="*/ 92 h 166"/>
                    <a:gd name="T42" fmla="*/ 24 w 123"/>
                    <a:gd name="T43" fmla="*/ 99 h 166"/>
                    <a:gd name="T44" fmla="*/ 3 w 123"/>
                    <a:gd name="T45" fmla="*/ 105 h 166"/>
                    <a:gd name="T46" fmla="*/ 2 w 123"/>
                    <a:gd name="T47" fmla="*/ 112 h 166"/>
                    <a:gd name="T48" fmla="*/ 14 w 123"/>
                    <a:gd name="T49" fmla="*/ 120 h 166"/>
                    <a:gd name="T50" fmla="*/ 32 w 123"/>
                    <a:gd name="T51" fmla="*/ 108 h 166"/>
                    <a:gd name="T52" fmla="*/ 55 w 123"/>
                    <a:gd name="T53" fmla="*/ 93 h 166"/>
                    <a:gd name="T54" fmla="*/ 63 w 123"/>
                    <a:gd name="T55" fmla="*/ 89 h 166"/>
                    <a:gd name="T56" fmla="*/ 82 w 123"/>
                    <a:gd name="T57" fmla="*/ 83 h 166"/>
                    <a:gd name="T58" fmla="*/ 82 w 123"/>
                    <a:gd name="T59" fmla="*/ 86 h 166"/>
                    <a:gd name="T60" fmla="*/ 74 w 123"/>
                    <a:gd name="T61" fmla="*/ 97 h 166"/>
                    <a:gd name="T62" fmla="*/ 61 w 123"/>
                    <a:gd name="T63" fmla="*/ 107 h 166"/>
                    <a:gd name="T64" fmla="*/ 64 w 123"/>
                    <a:gd name="T65" fmla="*/ 118 h 166"/>
                    <a:gd name="T66" fmla="*/ 55 w 123"/>
                    <a:gd name="T67" fmla="*/ 126 h 166"/>
                    <a:gd name="T68" fmla="*/ 40 w 123"/>
                    <a:gd name="T69" fmla="*/ 129 h 166"/>
                    <a:gd name="T70" fmla="*/ 30 w 123"/>
                    <a:gd name="T71" fmla="*/ 130 h 166"/>
                    <a:gd name="T72" fmla="*/ 35 w 123"/>
                    <a:gd name="T73" fmla="*/ 141 h 166"/>
                    <a:gd name="T74" fmla="*/ 38 w 123"/>
                    <a:gd name="T75" fmla="*/ 141 h 166"/>
                    <a:gd name="T76" fmla="*/ 56 w 123"/>
                    <a:gd name="T77" fmla="*/ 133 h 166"/>
                    <a:gd name="T78" fmla="*/ 63 w 123"/>
                    <a:gd name="T79" fmla="*/ 141 h 166"/>
                    <a:gd name="T80" fmla="*/ 56 w 123"/>
                    <a:gd name="T81" fmla="*/ 154 h 166"/>
                    <a:gd name="T82" fmla="*/ 53 w 123"/>
                    <a:gd name="T83" fmla="*/ 154 h 166"/>
                    <a:gd name="T84" fmla="*/ 49 w 123"/>
                    <a:gd name="T85" fmla="*/ 154 h 166"/>
                    <a:gd name="T86" fmla="*/ 46 w 123"/>
                    <a:gd name="T87" fmla="*/ 156 h 166"/>
                    <a:gd name="T88" fmla="*/ 56 w 123"/>
                    <a:gd name="T89" fmla="*/ 166 h 166"/>
                    <a:gd name="T90" fmla="*/ 71 w 123"/>
                    <a:gd name="T91" fmla="*/ 160 h 166"/>
                    <a:gd name="T92" fmla="*/ 75 w 123"/>
                    <a:gd name="T93" fmla="*/ 146 h 166"/>
                    <a:gd name="T94" fmla="*/ 80 w 123"/>
                    <a:gd name="T95" fmla="*/ 124 h 166"/>
                    <a:gd name="T96" fmla="*/ 94 w 123"/>
                    <a:gd name="T97" fmla="*/ 120 h 166"/>
                    <a:gd name="T98" fmla="*/ 81 w 123"/>
                    <a:gd name="T99" fmla="*/ 117 h 166"/>
                    <a:gd name="T100" fmla="*/ 72 w 123"/>
                    <a:gd name="T101" fmla="*/ 107 h 166"/>
                    <a:gd name="T102" fmla="*/ 78 w 123"/>
                    <a:gd name="T103" fmla="*/ 96 h 166"/>
                    <a:gd name="T104" fmla="*/ 92 w 123"/>
                    <a:gd name="T105" fmla="*/ 89 h 166"/>
                    <a:gd name="T106" fmla="*/ 102 w 123"/>
                    <a:gd name="T107" fmla="*/ 78 h 166"/>
                    <a:gd name="T108" fmla="*/ 95 w 123"/>
                    <a:gd name="T109" fmla="*/ 61 h 166"/>
                    <a:gd name="T110" fmla="*/ 109 w 123"/>
                    <a:gd name="T111" fmla="*/ 48 h 166"/>
                    <a:gd name="T112" fmla="*/ 116 w 123"/>
                    <a:gd name="T113" fmla="*/ 42 h 166"/>
                    <a:gd name="T114" fmla="*/ 121 w 123"/>
                    <a:gd name="T115" fmla="*/ 32 h 166"/>
                    <a:gd name="T116" fmla="*/ 116 w 123"/>
                    <a:gd name="T117" fmla="*/ 17 h 166"/>
                    <a:gd name="T118" fmla="*/ 104 w 123"/>
                    <a:gd name="T119" fmla="*/ 20 h 166"/>
                    <a:gd name="T120" fmla="*/ 93 w 123"/>
                    <a:gd name="T121" fmla="*/ 2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3" h="166">
                      <a:moveTo>
                        <a:pt x="93" y="21"/>
                      </a:moveTo>
                      <a:cubicBezTo>
                        <a:pt x="94" y="14"/>
                        <a:pt x="98" y="14"/>
                        <a:pt x="101" y="9"/>
                      </a:cubicBezTo>
                      <a:cubicBezTo>
                        <a:pt x="101" y="8"/>
                        <a:pt x="101" y="8"/>
                        <a:pt x="101" y="8"/>
                      </a:cubicBezTo>
                      <a:cubicBezTo>
                        <a:pt x="101" y="5"/>
                        <a:pt x="97" y="1"/>
                        <a:pt x="96" y="0"/>
                      </a:cubicBezTo>
                      <a:cubicBezTo>
                        <a:pt x="89" y="3"/>
                        <a:pt x="91" y="6"/>
                        <a:pt x="88" y="13"/>
                      </a:cubicBezTo>
                      <a:cubicBezTo>
                        <a:pt x="85" y="17"/>
                        <a:pt x="82" y="23"/>
                        <a:pt x="76" y="23"/>
                      </a:cubicBezTo>
                      <a:cubicBezTo>
                        <a:pt x="75" y="23"/>
                        <a:pt x="70" y="18"/>
                        <a:pt x="67" y="17"/>
                      </a:cubicBezTo>
                      <a:cubicBezTo>
                        <a:pt x="66" y="20"/>
                        <a:pt x="66" y="20"/>
                        <a:pt x="66" y="20"/>
                      </a:cubicBezTo>
                      <a:cubicBezTo>
                        <a:pt x="67" y="23"/>
                        <a:pt x="69" y="24"/>
                        <a:pt x="69" y="28"/>
                      </a:cubicBezTo>
                      <a:cubicBezTo>
                        <a:pt x="69" y="29"/>
                        <a:pt x="69" y="29"/>
                        <a:pt x="69" y="29"/>
                      </a:cubicBezTo>
                      <a:cubicBezTo>
                        <a:pt x="69" y="29"/>
                        <a:pt x="63" y="36"/>
                        <a:pt x="62" y="37"/>
                      </a:cubicBezTo>
                      <a:cubicBezTo>
                        <a:pt x="63" y="38"/>
                        <a:pt x="61" y="38"/>
                        <a:pt x="64" y="38"/>
                      </a:cubicBezTo>
                      <a:cubicBezTo>
                        <a:pt x="64" y="38"/>
                        <a:pt x="64" y="38"/>
                        <a:pt x="64" y="38"/>
                      </a:cubicBezTo>
                      <a:cubicBezTo>
                        <a:pt x="71" y="37"/>
                        <a:pt x="71" y="37"/>
                        <a:pt x="71" y="37"/>
                      </a:cubicBezTo>
                      <a:cubicBezTo>
                        <a:pt x="74" y="37"/>
                        <a:pt x="74" y="38"/>
                        <a:pt x="78" y="38"/>
                      </a:cubicBezTo>
                      <a:cubicBezTo>
                        <a:pt x="78" y="38"/>
                        <a:pt x="78" y="38"/>
                        <a:pt x="78" y="38"/>
                      </a:cubicBezTo>
                      <a:cubicBezTo>
                        <a:pt x="79" y="38"/>
                        <a:pt x="84" y="33"/>
                        <a:pt x="91" y="32"/>
                      </a:cubicBezTo>
                      <a:cubicBezTo>
                        <a:pt x="96" y="31"/>
                        <a:pt x="104" y="30"/>
                        <a:pt x="104" y="37"/>
                      </a:cubicBezTo>
                      <a:cubicBezTo>
                        <a:pt x="104" y="39"/>
                        <a:pt x="102" y="41"/>
                        <a:pt x="101" y="43"/>
                      </a:cubicBezTo>
                      <a:cubicBezTo>
                        <a:pt x="98" y="43"/>
                        <a:pt x="99" y="43"/>
                        <a:pt x="97" y="43"/>
                      </a:cubicBezTo>
                      <a:cubicBezTo>
                        <a:pt x="96" y="43"/>
                        <a:pt x="93" y="42"/>
                        <a:pt x="92" y="41"/>
                      </a:cubicBezTo>
                      <a:cubicBezTo>
                        <a:pt x="85" y="46"/>
                        <a:pt x="88" y="49"/>
                        <a:pt x="85" y="56"/>
                      </a:cubicBezTo>
                      <a:cubicBezTo>
                        <a:pt x="84" y="57"/>
                        <a:pt x="81" y="64"/>
                        <a:pt x="81" y="64"/>
                      </a:cubicBezTo>
                      <a:cubicBezTo>
                        <a:pt x="80" y="66"/>
                        <a:pt x="80" y="64"/>
                        <a:pt x="78" y="67"/>
                      </a:cubicBezTo>
                      <a:cubicBezTo>
                        <a:pt x="77" y="70"/>
                        <a:pt x="78" y="68"/>
                        <a:pt x="76" y="70"/>
                      </a:cubicBezTo>
                      <a:cubicBezTo>
                        <a:pt x="74" y="67"/>
                        <a:pt x="72" y="66"/>
                        <a:pt x="72" y="62"/>
                      </a:cubicBezTo>
                      <a:cubicBezTo>
                        <a:pt x="72" y="61"/>
                        <a:pt x="75" y="55"/>
                        <a:pt x="76" y="54"/>
                      </a:cubicBezTo>
                      <a:cubicBezTo>
                        <a:pt x="75" y="51"/>
                        <a:pt x="75" y="48"/>
                        <a:pt x="72" y="48"/>
                      </a:cubicBezTo>
                      <a:cubicBezTo>
                        <a:pt x="71" y="48"/>
                        <a:pt x="70" y="49"/>
                        <a:pt x="70" y="49"/>
                      </a:cubicBezTo>
                      <a:cubicBezTo>
                        <a:pt x="70" y="55"/>
                        <a:pt x="67" y="55"/>
                        <a:pt x="63" y="57"/>
                      </a:cubicBezTo>
                      <a:cubicBezTo>
                        <a:pt x="62" y="56"/>
                        <a:pt x="60" y="55"/>
                        <a:pt x="59" y="55"/>
                      </a:cubicBezTo>
                      <a:cubicBezTo>
                        <a:pt x="58" y="55"/>
                        <a:pt x="56" y="57"/>
                        <a:pt x="56" y="57"/>
                      </a:cubicBezTo>
                      <a:cubicBezTo>
                        <a:pt x="58" y="60"/>
                        <a:pt x="59" y="60"/>
                        <a:pt x="61" y="64"/>
                      </a:cubicBezTo>
                      <a:cubicBezTo>
                        <a:pt x="61" y="66"/>
                        <a:pt x="61" y="66"/>
                        <a:pt x="61" y="66"/>
                      </a:cubicBezTo>
                      <a:cubicBezTo>
                        <a:pt x="61" y="67"/>
                        <a:pt x="61" y="67"/>
                        <a:pt x="61" y="67"/>
                      </a:cubicBezTo>
                      <a:cubicBezTo>
                        <a:pt x="59" y="70"/>
                        <a:pt x="59" y="70"/>
                        <a:pt x="59" y="70"/>
                      </a:cubicBezTo>
                      <a:cubicBezTo>
                        <a:pt x="60" y="71"/>
                        <a:pt x="58" y="71"/>
                        <a:pt x="61" y="71"/>
                      </a:cubicBezTo>
                      <a:cubicBezTo>
                        <a:pt x="64" y="71"/>
                        <a:pt x="66" y="72"/>
                        <a:pt x="68" y="74"/>
                      </a:cubicBezTo>
                      <a:cubicBezTo>
                        <a:pt x="68" y="75"/>
                        <a:pt x="68" y="75"/>
                        <a:pt x="68" y="75"/>
                      </a:cubicBezTo>
                      <a:cubicBezTo>
                        <a:pt x="68" y="78"/>
                        <a:pt x="68" y="78"/>
                        <a:pt x="68" y="78"/>
                      </a:cubicBezTo>
                      <a:cubicBezTo>
                        <a:pt x="68" y="82"/>
                        <a:pt x="58" y="85"/>
                        <a:pt x="55" y="86"/>
                      </a:cubicBezTo>
                      <a:cubicBezTo>
                        <a:pt x="50" y="88"/>
                        <a:pt x="44" y="91"/>
                        <a:pt x="40" y="92"/>
                      </a:cubicBezTo>
                      <a:cubicBezTo>
                        <a:pt x="36" y="94"/>
                        <a:pt x="35" y="94"/>
                        <a:pt x="32" y="96"/>
                      </a:cubicBezTo>
                      <a:cubicBezTo>
                        <a:pt x="29" y="97"/>
                        <a:pt x="27" y="97"/>
                        <a:pt x="24" y="99"/>
                      </a:cubicBezTo>
                      <a:cubicBezTo>
                        <a:pt x="20" y="101"/>
                        <a:pt x="13" y="104"/>
                        <a:pt x="9" y="104"/>
                      </a:cubicBezTo>
                      <a:cubicBezTo>
                        <a:pt x="3" y="105"/>
                        <a:pt x="3" y="105"/>
                        <a:pt x="3" y="105"/>
                      </a:cubicBezTo>
                      <a:cubicBezTo>
                        <a:pt x="1" y="105"/>
                        <a:pt x="1" y="106"/>
                        <a:pt x="0" y="107"/>
                      </a:cubicBezTo>
                      <a:cubicBezTo>
                        <a:pt x="0" y="108"/>
                        <a:pt x="0" y="111"/>
                        <a:pt x="2" y="112"/>
                      </a:cubicBezTo>
                      <a:cubicBezTo>
                        <a:pt x="4" y="114"/>
                        <a:pt x="3" y="114"/>
                        <a:pt x="5" y="115"/>
                      </a:cubicBezTo>
                      <a:cubicBezTo>
                        <a:pt x="6" y="116"/>
                        <a:pt x="12" y="119"/>
                        <a:pt x="14" y="120"/>
                      </a:cubicBezTo>
                      <a:cubicBezTo>
                        <a:pt x="15" y="119"/>
                        <a:pt x="15" y="119"/>
                        <a:pt x="17" y="119"/>
                      </a:cubicBezTo>
                      <a:cubicBezTo>
                        <a:pt x="20" y="119"/>
                        <a:pt x="30" y="110"/>
                        <a:pt x="32" y="108"/>
                      </a:cubicBezTo>
                      <a:cubicBezTo>
                        <a:pt x="36" y="104"/>
                        <a:pt x="42" y="101"/>
                        <a:pt x="47" y="98"/>
                      </a:cubicBezTo>
                      <a:cubicBezTo>
                        <a:pt x="50" y="96"/>
                        <a:pt x="52" y="95"/>
                        <a:pt x="55" y="93"/>
                      </a:cubicBezTo>
                      <a:cubicBezTo>
                        <a:pt x="57" y="92"/>
                        <a:pt x="58" y="92"/>
                        <a:pt x="59" y="91"/>
                      </a:cubicBezTo>
                      <a:cubicBezTo>
                        <a:pt x="61" y="90"/>
                        <a:pt x="61" y="90"/>
                        <a:pt x="63" y="89"/>
                      </a:cubicBezTo>
                      <a:cubicBezTo>
                        <a:pt x="68" y="87"/>
                        <a:pt x="74" y="80"/>
                        <a:pt x="79" y="80"/>
                      </a:cubicBezTo>
                      <a:cubicBezTo>
                        <a:pt x="81" y="80"/>
                        <a:pt x="82" y="82"/>
                        <a:pt x="82" y="83"/>
                      </a:cubicBezTo>
                      <a:cubicBezTo>
                        <a:pt x="82" y="85"/>
                        <a:pt x="82" y="85"/>
                        <a:pt x="82" y="85"/>
                      </a:cubicBezTo>
                      <a:cubicBezTo>
                        <a:pt x="82" y="86"/>
                        <a:pt x="82" y="86"/>
                        <a:pt x="82" y="86"/>
                      </a:cubicBezTo>
                      <a:cubicBezTo>
                        <a:pt x="80" y="90"/>
                        <a:pt x="79" y="89"/>
                        <a:pt x="78" y="93"/>
                      </a:cubicBezTo>
                      <a:cubicBezTo>
                        <a:pt x="75" y="94"/>
                        <a:pt x="75" y="94"/>
                        <a:pt x="74" y="97"/>
                      </a:cubicBezTo>
                      <a:cubicBezTo>
                        <a:pt x="69" y="98"/>
                        <a:pt x="71" y="99"/>
                        <a:pt x="67" y="101"/>
                      </a:cubicBezTo>
                      <a:cubicBezTo>
                        <a:pt x="63" y="103"/>
                        <a:pt x="63" y="103"/>
                        <a:pt x="61" y="107"/>
                      </a:cubicBezTo>
                      <a:cubicBezTo>
                        <a:pt x="61" y="110"/>
                        <a:pt x="64" y="114"/>
                        <a:pt x="64" y="117"/>
                      </a:cubicBezTo>
                      <a:cubicBezTo>
                        <a:pt x="64" y="118"/>
                        <a:pt x="64" y="118"/>
                        <a:pt x="64" y="118"/>
                      </a:cubicBezTo>
                      <a:cubicBezTo>
                        <a:pt x="64" y="119"/>
                        <a:pt x="64" y="119"/>
                        <a:pt x="64" y="119"/>
                      </a:cubicBezTo>
                      <a:cubicBezTo>
                        <a:pt x="61" y="123"/>
                        <a:pt x="60" y="125"/>
                        <a:pt x="55" y="126"/>
                      </a:cubicBezTo>
                      <a:cubicBezTo>
                        <a:pt x="51" y="127"/>
                        <a:pt x="43" y="129"/>
                        <a:pt x="41" y="129"/>
                      </a:cubicBezTo>
                      <a:cubicBezTo>
                        <a:pt x="40" y="129"/>
                        <a:pt x="40" y="129"/>
                        <a:pt x="40" y="129"/>
                      </a:cubicBezTo>
                      <a:cubicBezTo>
                        <a:pt x="32" y="130"/>
                        <a:pt x="32" y="130"/>
                        <a:pt x="32" y="130"/>
                      </a:cubicBezTo>
                      <a:cubicBezTo>
                        <a:pt x="30" y="130"/>
                        <a:pt x="30" y="130"/>
                        <a:pt x="30" y="130"/>
                      </a:cubicBezTo>
                      <a:cubicBezTo>
                        <a:pt x="27" y="132"/>
                        <a:pt x="27" y="132"/>
                        <a:pt x="27" y="132"/>
                      </a:cubicBezTo>
                      <a:cubicBezTo>
                        <a:pt x="30" y="136"/>
                        <a:pt x="30" y="138"/>
                        <a:pt x="35" y="141"/>
                      </a:cubicBezTo>
                      <a:cubicBezTo>
                        <a:pt x="36" y="141"/>
                        <a:pt x="36" y="141"/>
                        <a:pt x="36" y="141"/>
                      </a:cubicBezTo>
                      <a:cubicBezTo>
                        <a:pt x="38" y="141"/>
                        <a:pt x="38" y="141"/>
                        <a:pt x="38" y="141"/>
                      </a:cubicBezTo>
                      <a:cubicBezTo>
                        <a:pt x="39" y="141"/>
                        <a:pt x="39" y="141"/>
                        <a:pt x="39" y="141"/>
                      </a:cubicBezTo>
                      <a:cubicBezTo>
                        <a:pt x="43" y="138"/>
                        <a:pt x="51" y="133"/>
                        <a:pt x="56" y="133"/>
                      </a:cubicBezTo>
                      <a:cubicBezTo>
                        <a:pt x="58" y="133"/>
                        <a:pt x="58" y="133"/>
                        <a:pt x="58" y="133"/>
                      </a:cubicBezTo>
                      <a:cubicBezTo>
                        <a:pt x="62" y="133"/>
                        <a:pt x="63" y="137"/>
                        <a:pt x="63" y="141"/>
                      </a:cubicBezTo>
                      <a:cubicBezTo>
                        <a:pt x="63" y="143"/>
                        <a:pt x="63" y="143"/>
                        <a:pt x="63" y="143"/>
                      </a:cubicBezTo>
                      <a:cubicBezTo>
                        <a:pt x="63" y="150"/>
                        <a:pt x="60" y="152"/>
                        <a:pt x="56" y="154"/>
                      </a:cubicBezTo>
                      <a:cubicBezTo>
                        <a:pt x="55" y="154"/>
                        <a:pt x="55" y="154"/>
                        <a:pt x="55" y="154"/>
                      </a:cubicBezTo>
                      <a:cubicBezTo>
                        <a:pt x="53" y="154"/>
                        <a:pt x="53" y="154"/>
                        <a:pt x="53" y="154"/>
                      </a:cubicBezTo>
                      <a:cubicBezTo>
                        <a:pt x="52" y="154"/>
                        <a:pt x="52" y="154"/>
                        <a:pt x="51" y="153"/>
                      </a:cubicBezTo>
                      <a:cubicBezTo>
                        <a:pt x="50" y="154"/>
                        <a:pt x="50" y="154"/>
                        <a:pt x="49" y="154"/>
                      </a:cubicBezTo>
                      <a:cubicBezTo>
                        <a:pt x="47" y="154"/>
                        <a:pt x="47" y="154"/>
                        <a:pt x="47" y="154"/>
                      </a:cubicBezTo>
                      <a:cubicBezTo>
                        <a:pt x="47" y="155"/>
                        <a:pt x="46" y="155"/>
                        <a:pt x="46" y="156"/>
                      </a:cubicBezTo>
                      <a:cubicBezTo>
                        <a:pt x="46" y="158"/>
                        <a:pt x="53" y="165"/>
                        <a:pt x="55" y="166"/>
                      </a:cubicBezTo>
                      <a:cubicBezTo>
                        <a:pt x="56" y="166"/>
                        <a:pt x="56" y="166"/>
                        <a:pt x="56" y="166"/>
                      </a:cubicBezTo>
                      <a:cubicBezTo>
                        <a:pt x="61" y="166"/>
                        <a:pt x="61" y="166"/>
                        <a:pt x="61" y="166"/>
                      </a:cubicBezTo>
                      <a:cubicBezTo>
                        <a:pt x="66" y="166"/>
                        <a:pt x="69" y="163"/>
                        <a:pt x="71" y="160"/>
                      </a:cubicBezTo>
                      <a:cubicBezTo>
                        <a:pt x="74" y="155"/>
                        <a:pt x="74" y="151"/>
                        <a:pt x="76" y="148"/>
                      </a:cubicBezTo>
                      <a:cubicBezTo>
                        <a:pt x="75" y="146"/>
                        <a:pt x="75" y="148"/>
                        <a:pt x="75" y="146"/>
                      </a:cubicBezTo>
                      <a:cubicBezTo>
                        <a:pt x="75" y="138"/>
                        <a:pt x="75" y="138"/>
                        <a:pt x="75" y="138"/>
                      </a:cubicBezTo>
                      <a:cubicBezTo>
                        <a:pt x="75" y="130"/>
                        <a:pt x="74" y="128"/>
                        <a:pt x="80" y="124"/>
                      </a:cubicBezTo>
                      <a:cubicBezTo>
                        <a:pt x="81" y="124"/>
                        <a:pt x="81" y="124"/>
                        <a:pt x="81" y="124"/>
                      </a:cubicBezTo>
                      <a:cubicBezTo>
                        <a:pt x="90" y="124"/>
                        <a:pt x="90" y="127"/>
                        <a:pt x="94" y="120"/>
                      </a:cubicBezTo>
                      <a:cubicBezTo>
                        <a:pt x="92" y="117"/>
                        <a:pt x="91" y="116"/>
                        <a:pt x="88" y="115"/>
                      </a:cubicBezTo>
                      <a:cubicBezTo>
                        <a:pt x="86" y="116"/>
                        <a:pt x="84" y="117"/>
                        <a:pt x="81" y="117"/>
                      </a:cubicBezTo>
                      <a:cubicBezTo>
                        <a:pt x="79" y="117"/>
                        <a:pt x="79" y="117"/>
                        <a:pt x="79" y="117"/>
                      </a:cubicBezTo>
                      <a:cubicBezTo>
                        <a:pt x="77" y="116"/>
                        <a:pt x="72" y="109"/>
                        <a:pt x="72" y="107"/>
                      </a:cubicBezTo>
                      <a:cubicBezTo>
                        <a:pt x="72" y="105"/>
                        <a:pt x="72" y="105"/>
                        <a:pt x="72" y="105"/>
                      </a:cubicBezTo>
                      <a:cubicBezTo>
                        <a:pt x="72" y="99"/>
                        <a:pt x="75" y="100"/>
                        <a:pt x="78" y="96"/>
                      </a:cubicBezTo>
                      <a:cubicBezTo>
                        <a:pt x="80" y="96"/>
                        <a:pt x="80" y="96"/>
                        <a:pt x="80" y="96"/>
                      </a:cubicBezTo>
                      <a:cubicBezTo>
                        <a:pt x="82" y="93"/>
                        <a:pt x="89" y="90"/>
                        <a:pt x="92" y="89"/>
                      </a:cubicBezTo>
                      <a:cubicBezTo>
                        <a:pt x="95" y="87"/>
                        <a:pt x="101" y="83"/>
                        <a:pt x="101" y="80"/>
                      </a:cubicBezTo>
                      <a:cubicBezTo>
                        <a:pt x="101" y="77"/>
                        <a:pt x="101" y="79"/>
                        <a:pt x="102" y="78"/>
                      </a:cubicBezTo>
                      <a:cubicBezTo>
                        <a:pt x="101" y="77"/>
                        <a:pt x="101" y="79"/>
                        <a:pt x="101" y="77"/>
                      </a:cubicBezTo>
                      <a:cubicBezTo>
                        <a:pt x="101" y="73"/>
                        <a:pt x="96" y="64"/>
                        <a:pt x="95" y="61"/>
                      </a:cubicBezTo>
                      <a:cubicBezTo>
                        <a:pt x="95" y="61"/>
                        <a:pt x="101" y="55"/>
                        <a:pt x="102" y="55"/>
                      </a:cubicBezTo>
                      <a:cubicBezTo>
                        <a:pt x="104" y="52"/>
                        <a:pt x="106" y="51"/>
                        <a:pt x="109" y="48"/>
                      </a:cubicBezTo>
                      <a:cubicBezTo>
                        <a:pt x="110" y="47"/>
                        <a:pt x="112" y="46"/>
                        <a:pt x="113" y="45"/>
                      </a:cubicBezTo>
                      <a:cubicBezTo>
                        <a:pt x="114" y="44"/>
                        <a:pt x="115" y="43"/>
                        <a:pt x="116" y="42"/>
                      </a:cubicBezTo>
                      <a:cubicBezTo>
                        <a:pt x="118" y="39"/>
                        <a:pt x="118" y="35"/>
                        <a:pt x="121" y="34"/>
                      </a:cubicBezTo>
                      <a:cubicBezTo>
                        <a:pt x="121" y="32"/>
                        <a:pt x="121" y="32"/>
                        <a:pt x="121" y="32"/>
                      </a:cubicBezTo>
                      <a:cubicBezTo>
                        <a:pt x="121" y="27"/>
                        <a:pt x="123" y="30"/>
                        <a:pt x="120" y="24"/>
                      </a:cubicBezTo>
                      <a:cubicBezTo>
                        <a:pt x="118" y="20"/>
                        <a:pt x="118" y="20"/>
                        <a:pt x="116" y="17"/>
                      </a:cubicBezTo>
                      <a:cubicBezTo>
                        <a:pt x="113" y="17"/>
                        <a:pt x="113" y="17"/>
                        <a:pt x="113" y="17"/>
                      </a:cubicBezTo>
                      <a:cubicBezTo>
                        <a:pt x="111" y="17"/>
                        <a:pt x="105" y="19"/>
                        <a:pt x="104" y="20"/>
                      </a:cubicBezTo>
                      <a:cubicBezTo>
                        <a:pt x="101" y="23"/>
                        <a:pt x="102" y="23"/>
                        <a:pt x="96" y="24"/>
                      </a:cubicBezTo>
                      <a:lnTo>
                        <a:pt x="93" y="21"/>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41" name="ïSľíďè"/>
                <p:cNvSpPr/>
                <p:nvPr/>
              </p:nvSpPr>
              <p:spPr bwMode="auto">
                <a:xfrm>
                  <a:off x="5159376" y="3357563"/>
                  <a:ext cx="117475" cy="366713"/>
                </a:xfrm>
                <a:custGeom>
                  <a:avLst/>
                  <a:gdLst>
                    <a:gd name="T0" fmla="*/ 23 w 36"/>
                    <a:gd name="T1" fmla="*/ 14 h 110"/>
                    <a:gd name="T2" fmla="*/ 23 w 36"/>
                    <a:gd name="T3" fmla="*/ 12 h 110"/>
                    <a:gd name="T4" fmla="*/ 18 w 36"/>
                    <a:gd name="T5" fmla="*/ 6 h 110"/>
                    <a:gd name="T6" fmla="*/ 13 w 36"/>
                    <a:gd name="T7" fmla="*/ 0 h 110"/>
                    <a:gd name="T8" fmla="*/ 11 w 36"/>
                    <a:gd name="T9" fmla="*/ 4 h 110"/>
                    <a:gd name="T10" fmla="*/ 13 w 36"/>
                    <a:gd name="T11" fmla="*/ 16 h 110"/>
                    <a:gd name="T12" fmla="*/ 12 w 36"/>
                    <a:gd name="T13" fmla="*/ 34 h 110"/>
                    <a:gd name="T14" fmla="*/ 7 w 36"/>
                    <a:gd name="T15" fmla="*/ 65 h 110"/>
                    <a:gd name="T16" fmla="*/ 3 w 36"/>
                    <a:gd name="T17" fmla="*/ 80 h 110"/>
                    <a:gd name="T18" fmla="*/ 0 w 36"/>
                    <a:gd name="T19" fmla="*/ 95 h 110"/>
                    <a:gd name="T20" fmla="*/ 0 w 36"/>
                    <a:gd name="T21" fmla="*/ 98 h 110"/>
                    <a:gd name="T22" fmla="*/ 0 w 36"/>
                    <a:gd name="T23" fmla="*/ 100 h 110"/>
                    <a:gd name="T24" fmla="*/ 4 w 36"/>
                    <a:gd name="T25" fmla="*/ 105 h 110"/>
                    <a:gd name="T26" fmla="*/ 9 w 36"/>
                    <a:gd name="T27" fmla="*/ 110 h 110"/>
                    <a:gd name="T28" fmla="*/ 15 w 36"/>
                    <a:gd name="T29" fmla="*/ 104 h 110"/>
                    <a:gd name="T30" fmla="*/ 18 w 36"/>
                    <a:gd name="T31" fmla="*/ 96 h 110"/>
                    <a:gd name="T32" fmla="*/ 18 w 36"/>
                    <a:gd name="T33" fmla="*/ 90 h 110"/>
                    <a:gd name="T34" fmla="*/ 21 w 36"/>
                    <a:gd name="T35" fmla="*/ 71 h 110"/>
                    <a:gd name="T36" fmla="*/ 25 w 36"/>
                    <a:gd name="T37" fmla="*/ 53 h 110"/>
                    <a:gd name="T38" fmla="*/ 30 w 36"/>
                    <a:gd name="T39" fmla="*/ 36 h 110"/>
                    <a:gd name="T40" fmla="*/ 35 w 36"/>
                    <a:gd name="T41" fmla="*/ 20 h 110"/>
                    <a:gd name="T42" fmla="*/ 33 w 36"/>
                    <a:gd name="T43" fmla="*/ 20 h 110"/>
                    <a:gd name="T44" fmla="*/ 30 w 36"/>
                    <a:gd name="T45" fmla="*/ 22 h 110"/>
                    <a:gd name="T46" fmla="*/ 23 w 36"/>
                    <a:gd name="T47" fmla="*/ 17 h 110"/>
                    <a:gd name="T48" fmla="*/ 23 w 36"/>
                    <a:gd name="T49" fmla="*/ 15 h 110"/>
                    <a:gd name="T50" fmla="*/ 23 w 36"/>
                    <a:gd name="T51"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110">
                      <a:moveTo>
                        <a:pt x="23" y="14"/>
                      </a:moveTo>
                      <a:cubicBezTo>
                        <a:pt x="23" y="12"/>
                        <a:pt x="23" y="12"/>
                        <a:pt x="23" y="12"/>
                      </a:cubicBezTo>
                      <a:cubicBezTo>
                        <a:pt x="21" y="8"/>
                        <a:pt x="22" y="9"/>
                        <a:pt x="18" y="6"/>
                      </a:cubicBezTo>
                      <a:cubicBezTo>
                        <a:pt x="17" y="4"/>
                        <a:pt x="15" y="2"/>
                        <a:pt x="13" y="0"/>
                      </a:cubicBezTo>
                      <a:cubicBezTo>
                        <a:pt x="12" y="1"/>
                        <a:pt x="11" y="3"/>
                        <a:pt x="11" y="4"/>
                      </a:cubicBezTo>
                      <a:cubicBezTo>
                        <a:pt x="11" y="7"/>
                        <a:pt x="13" y="12"/>
                        <a:pt x="13" y="16"/>
                      </a:cubicBezTo>
                      <a:cubicBezTo>
                        <a:pt x="12" y="34"/>
                        <a:pt x="12" y="34"/>
                        <a:pt x="12" y="34"/>
                      </a:cubicBezTo>
                      <a:cubicBezTo>
                        <a:pt x="12" y="43"/>
                        <a:pt x="9" y="56"/>
                        <a:pt x="7" y="65"/>
                      </a:cubicBezTo>
                      <a:cubicBezTo>
                        <a:pt x="6" y="72"/>
                        <a:pt x="4" y="75"/>
                        <a:pt x="3" y="80"/>
                      </a:cubicBezTo>
                      <a:cubicBezTo>
                        <a:pt x="2" y="85"/>
                        <a:pt x="0" y="91"/>
                        <a:pt x="0" y="95"/>
                      </a:cubicBezTo>
                      <a:cubicBezTo>
                        <a:pt x="0" y="98"/>
                        <a:pt x="0" y="98"/>
                        <a:pt x="0" y="98"/>
                      </a:cubicBezTo>
                      <a:cubicBezTo>
                        <a:pt x="0" y="100"/>
                        <a:pt x="0" y="100"/>
                        <a:pt x="0" y="100"/>
                      </a:cubicBezTo>
                      <a:cubicBezTo>
                        <a:pt x="2" y="102"/>
                        <a:pt x="2" y="103"/>
                        <a:pt x="4" y="105"/>
                      </a:cubicBezTo>
                      <a:cubicBezTo>
                        <a:pt x="6" y="108"/>
                        <a:pt x="7" y="108"/>
                        <a:pt x="9" y="110"/>
                      </a:cubicBezTo>
                      <a:cubicBezTo>
                        <a:pt x="12" y="108"/>
                        <a:pt x="13" y="108"/>
                        <a:pt x="15" y="104"/>
                      </a:cubicBezTo>
                      <a:cubicBezTo>
                        <a:pt x="16" y="102"/>
                        <a:pt x="18" y="99"/>
                        <a:pt x="18" y="96"/>
                      </a:cubicBezTo>
                      <a:cubicBezTo>
                        <a:pt x="18" y="90"/>
                        <a:pt x="18" y="90"/>
                        <a:pt x="18" y="90"/>
                      </a:cubicBezTo>
                      <a:cubicBezTo>
                        <a:pt x="18" y="83"/>
                        <a:pt x="20" y="77"/>
                        <a:pt x="21" y="71"/>
                      </a:cubicBezTo>
                      <a:cubicBezTo>
                        <a:pt x="23" y="65"/>
                        <a:pt x="23" y="59"/>
                        <a:pt x="25" y="53"/>
                      </a:cubicBezTo>
                      <a:cubicBezTo>
                        <a:pt x="26" y="47"/>
                        <a:pt x="29" y="42"/>
                        <a:pt x="30" y="36"/>
                      </a:cubicBezTo>
                      <a:cubicBezTo>
                        <a:pt x="31" y="28"/>
                        <a:pt x="34" y="27"/>
                        <a:pt x="35" y="20"/>
                      </a:cubicBezTo>
                      <a:cubicBezTo>
                        <a:pt x="34" y="19"/>
                        <a:pt x="36" y="20"/>
                        <a:pt x="33" y="20"/>
                      </a:cubicBezTo>
                      <a:cubicBezTo>
                        <a:pt x="33" y="20"/>
                        <a:pt x="30" y="22"/>
                        <a:pt x="30" y="22"/>
                      </a:cubicBezTo>
                      <a:cubicBezTo>
                        <a:pt x="25" y="21"/>
                        <a:pt x="25" y="21"/>
                        <a:pt x="23" y="17"/>
                      </a:cubicBezTo>
                      <a:cubicBezTo>
                        <a:pt x="23" y="15"/>
                        <a:pt x="23" y="15"/>
                        <a:pt x="23" y="15"/>
                      </a:cubicBezTo>
                      <a:lnTo>
                        <a:pt x="23" y="14"/>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grpSp>
          <p:grpSp>
            <p:nvGrpSpPr>
              <p:cNvPr id="15" name="ïṥliḓe"/>
              <p:cNvGrpSpPr/>
              <p:nvPr/>
            </p:nvGrpSpPr>
            <p:grpSpPr>
              <a:xfrm>
                <a:off x="4412452" y="3781425"/>
                <a:ext cx="2312689" cy="166461"/>
                <a:chOff x="6986588" y="3521075"/>
                <a:chExt cx="1654176" cy="119063"/>
              </a:xfrm>
            </p:grpSpPr>
            <p:sp>
              <p:nvSpPr>
                <p:cNvPr id="16" name="ïśļïdê"/>
                <p:cNvSpPr/>
                <p:nvPr/>
              </p:nvSpPr>
              <p:spPr bwMode="auto">
                <a:xfrm>
                  <a:off x="6986588" y="3521075"/>
                  <a:ext cx="155575" cy="119063"/>
                </a:xfrm>
                <a:custGeom>
                  <a:avLst/>
                  <a:gdLst>
                    <a:gd name="T0" fmla="*/ 84 w 98"/>
                    <a:gd name="T1" fmla="*/ 0 h 75"/>
                    <a:gd name="T2" fmla="*/ 59 w 98"/>
                    <a:gd name="T3" fmla="*/ 52 h 75"/>
                    <a:gd name="T4" fmla="*/ 57 w 98"/>
                    <a:gd name="T5" fmla="*/ 0 h 75"/>
                    <a:gd name="T6" fmla="*/ 40 w 98"/>
                    <a:gd name="T7" fmla="*/ 0 h 75"/>
                    <a:gd name="T8" fmla="*/ 15 w 98"/>
                    <a:gd name="T9" fmla="*/ 52 h 75"/>
                    <a:gd name="T10" fmla="*/ 15 w 98"/>
                    <a:gd name="T11" fmla="*/ 0 h 75"/>
                    <a:gd name="T12" fmla="*/ 0 w 98"/>
                    <a:gd name="T13" fmla="*/ 0 h 75"/>
                    <a:gd name="T14" fmla="*/ 2 w 98"/>
                    <a:gd name="T15" fmla="*/ 75 h 75"/>
                    <a:gd name="T16" fmla="*/ 19 w 98"/>
                    <a:gd name="T17" fmla="*/ 75 h 75"/>
                    <a:gd name="T18" fmla="*/ 44 w 98"/>
                    <a:gd name="T19" fmla="*/ 21 h 75"/>
                    <a:gd name="T20" fmla="*/ 46 w 98"/>
                    <a:gd name="T21" fmla="*/ 75 h 75"/>
                    <a:gd name="T22" fmla="*/ 63 w 98"/>
                    <a:gd name="T23" fmla="*/ 75 h 75"/>
                    <a:gd name="T24" fmla="*/ 98 w 98"/>
                    <a:gd name="T25" fmla="*/ 0 h 75"/>
                    <a:gd name="T26" fmla="*/ 84 w 98"/>
                    <a:gd name="T2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75">
                      <a:moveTo>
                        <a:pt x="84" y="0"/>
                      </a:moveTo>
                      <a:lnTo>
                        <a:pt x="59" y="52"/>
                      </a:lnTo>
                      <a:lnTo>
                        <a:pt x="57" y="0"/>
                      </a:lnTo>
                      <a:lnTo>
                        <a:pt x="40" y="0"/>
                      </a:lnTo>
                      <a:lnTo>
                        <a:pt x="15" y="52"/>
                      </a:lnTo>
                      <a:lnTo>
                        <a:pt x="15" y="0"/>
                      </a:lnTo>
                      <a:lnTo>
                        <a:pt x="0" y="0"/>
                      </a:lnTo>
                      <a:lnTo>
                        <a:pt x="2" y="75"/>
                      </a:lnTo>
                      <a:lnTo>
                        <a:pt x="19" y="75"/>
                      </a:lnTo>
                      <a:lnTo>
                        <a:pt x="44" y="21"/>
                      </a:lnTo>
                      <a:lnTo>
                        <a:pt x="46" y="75"/>
                      </a:lnTo>
                      <a:lnTo>
                        <a:pt x="63" y="75"/>
                      </a:lnTo>
                      <a:lnTo>
                        <a:pt x="98" y="0"/>
                      </a:lnTo>
                      <a:lnTo>
                        <a:pt x="84"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17" name="îṥľïḍè"/>
                <p:cNvSpPr/>
                <p:nvPr/>
              </p:nvSpPr>
              <p:spPr bwMode="auto">
                <a:xfrm>
                  <a:off x="7135813" y="3521075"/>
                  <a:ext cx="112713" cy="119063"/>
                </a:xfrm>
                <a:custGeom>
                  <a:avLst/>
                  <a:gdLst>
                    <a:gd name="T0" fmla="*/ 22 w 34"/>
                    <a:gd name="T1" fmla="*/ 20 h 36"/>
                    <a:gd name="T2" fmla="*/ 20 w 34"/>
                    <a:gd name="T3" fmla="*/ 26 h 36"/>
                    <a:gd name="T4" fmla="*/ 18 w 34"/>
                    <a:gd name="T5" fmla="*/ 29 h 36"/>
                    <a:gd name="T6" fmla="*/ 13 w 34"/>
                    <a:gd name="T7" fmla="*/ 30 h 36"/>
                    <a:gd name="T8" fmla="*/ 9 w 34"/>
                    <a:gd name="T9" fmla="*/ 29 h 36"/>
                    <a:gd name="T10" fmla="*/ 7 w 34"/>
                    <a:gd name="T11" fmla="*/ 25 h 36"/>
                    <a:gd name="T12" fmla="*/ 7 w 34"/>
                    <a:gd name="T13" fmla="*/ 24 h 36"/>
                    <a:gd name="T14" fmla="*/ 8 w 34"/>
                    <a:gd name="T15" fmla="*/ 19 h 36"/>
                    <a:gd name="T16" fmla="*/ 12 w 34"/>
                    <a:gd name="T17" fmla="*/ 0 h 36"/>
                    <a:gd name="T18" fmla="*/ 5 w 34"/>
                    <a:gd name="T19" fmla="*/ 0 h 36"/>
                    <a:gd name="T20" fmla="*/ 1 w 34"/>
                    <a:gd name="T21" fmla="*/ 19 h 36"/>
                    <a:gd name="T22" fmla="*/ 0 w 34"/>
                    <a:gd name="T23" fmla="*/ 23 h 36"/>
                    <a:gd name="T24" fmla="*/ 0 w 34"/>
                    <a:gd name="T25" fmla="*/ 25 h 36"/>
                    <a:gd name="T26" fmla="*/ 3 w 34"/>
                    <a:gd name="T27" fmla="*/ 33 h 36"/>
                    <a:gd name="T28" fmla="*/ 13 w 34"/>
                    <a:gd name="T29" fmla="*/ 36 h 36"/>
                    <a:gd name="T30" fmla="*/ 22 w 34"/>
                    <a:gd name="T31" fmla="*/ 34 h 36"/>
                    <a:gd name="T32" fmla="*/ 27 w 34"/>
                    <a:gd name="T33" fmla="*/ 29 h 36"/>
                    <a:gd name="T34" fmla="*/ 30 w 34"/>
                    <a:gd name="T35" fmla="*/ 20 h 36"/>
                    <a:gd name="T36" fmla="*/ 34 w 34"/>
                    <a:gd name="T37" fmla="*/ 0 h 36"/>
                    <a:gd name="T38" fmla="*/ 26 w 34"/>
                    <a:gd name="T39" fmla="*/ 0 h 36"/>
                    <a:gd name="T40" fmla="*/ 22 w 34"/>
                    <a:gd name="T41"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36">
                      <a:moveTo>
                        <a:pt x="22" y="20"/>
                      </a:moveTo>
                      <a:cubicBezTo>
                        <a:pt x="22" y="23"/>
                        <a:pt x="21" y="25"/>
                        <a:pt x="20" y="26"/>
                      </a:cubicBezTo>
                      <a:cubicBezTo>
                        <a:pt x="20" y="28"/>
                        <a:pt x="19" y="29"/>
                        <a:pt x="18" y="29"/>
                      </a:cubicBezTo>
                      <a:cubicBezTo>
                        <a:pt x="17" y="30"/>
                        <a:pt x="15" y="30"/>
                        <a:pt x="13" y="30"/>
                      </a:cubicBezTo>
                      <a:cubicBezTo>
                        <a:pt x="11" y="30"/>
                        <a:pt x="10" y="30"/>
                        <a:pt x="9" y="29"/>
                      </a:cubicBezTo>
                      <a:cubicBezTo>
                        <a:pt x="8" y="28"/>
                        <a:pt x="7" y="27"/>
                        <a:pt x="7" y="25"/>
                      </a:cubicBezTo>
                      <a:cubicBezTo>
                        <a:pt x="7" y="25"/>
                        <a:pt x="7" y="25"/>
                        <a:pt x="7" y="24"/>
                      </a:cubicBezTo>
                      <a:cubicBezTo>
                        <a:pt x="8" y="19"/>
                        <a:pt x="8" y="19"/>
                        <a:pt x="8" y="19"/>
                      </a:cubicBezTo>
                      <a:cubicBezTo>
                        <a:pt x="12" y="0"/>
                        <a:pt x="12" y="0"/>
                        <a:pt x="12" y="0"/>
                      </a:cubicBezTo>
                      <a:cubicBezTo>
                        <a:pt x="5" y="0"/>
                        <a:pt x="5" y="0"/>
                        <a:pt x="5" y="0"/>
                      </a:cubicBezTo>
                      <a:cubicBezTo>
                        <a:pt x="1" y="19"/>
                        <a:pt x="1" y="19"/>
                        <a:pt x="1" y="19"/>
                      </a:cubicBezTo>
                      <a:cubicBezTo>
                        <a:pt x="1" y="21"/>
                        <a:pt x="0" y="23"/>
                        <a:pt x="0" y="23"/>
                      </a:cubicBezTo>
                      <a:cubicBezTo>
                        <a:pt x="0" y="24"/>
                        <a:pt x="0" y="25"/>
                        <a:pt x="0" y="25"/>
                      </a:cubicBezTo>
                      <a:cubicBezTo>
                        <a:pt x="0" y="29"/>
                        <a:pt x="1" y="31"/>
                        <a:pt x="3" y="33"/>
                      </a:cubicBezTo>
                      <a:cubicBezTo>
                        <a:pt x="6" y="35"/>
                        <a:pt x="9" y="36"/>
                        <a:pt x="13" y="36"/>
                      </a:cubicBezTo>
                      <a:cubicBezTo>
                        <a:pt x="16" y="36"/>
                        <a:pt x="19" y="36"/>
                        <a:pt x="22" y="34"/>
                      </a:cubicBezTo>
                      <a:cubicBezTo>
                        <a:pt x="24" y="33"/>
                        <a:pt x="25" y="31"/>
                        <a:pt x="27" y="29"/>
                      </a:cubicBezTo>
                      <a:cubicBezTo>
                        <a:pt x="28" y="27"/>
                        <a:pt x="29" y="24"/>
                        <a:pt x="30" y="20"/>
                      </a:cubicBezTo>
                      <a:cubicBezTo>
                        <a:pt x="34" y="0"/>
                        <a:pt x="34" y="0"/>
                        <a:pt x="34" y="0"/>
                      </a:cubicBezTo>
                      <a:cubicBezTo>
                        <a:pt x="26" y="0"/>
                        <a:pt x="26" y="0"/>
                        <a:pt x="26" y="0"/>
                      </a:cubicBezTo>
                      <a:lnTo>
                        <a:pt x="22" y="2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18" name="iṡḷíḍé"/>
                <p:cNvSpPr/>
                <p:nvPr/>
              </p:nvSpPr>
              <p:spPr bwMode="auto">
                <a:xfrm>
                  <a:off x="7248526" y="3521075"/>
                  <a:ext cx="114300" cy="119063"/>
                </a:xfrm>
                <a:custGeom>
                  <a:avLst/>
                  <a:gdLst>
                    <a:gd name="T0" fmla="*/ 58 w 72"/>
                    <a:gd name="T1" fmla="*/ 0 h 75"/>
                    <a:gd name="T2" fmla="*/ 52 w 72"/>
                    <a:gd name="T3" fmla="*/ 29 h 75"/>
                    <a:gd name="T4" fmla="*/ 22 w 72"/>
                    <a:gd name="T5" fmla="*/ 29 h 75"/>
                    <a:gd name="T6" fmla="*/ 29 w 72"/>
                    <a:gd name="T7" fmla="*/ 0 h 75"/>
                    <a:gd name="T8" fmla="*/ 14 w 72"/>
                    <a:gd name="T9" fmla="*/ 0 h 75"/>
                    <a:gd name="T10" fmla="*/ 0 w 72"/>
                    <a:gd name="T11" fmla="*/ 75 h 75"/>
                    <a:gd name="T12" fmla="*/ 14 w 72"/>
                    <a:gd name="T13" fmla="*/ 75 h 75"/>
                    <a:gd name="T14" fmla="*/ 20 w 72"/>
                    <a:gd name="T15" fmla="*/ 42 h 75"/>
                    <a:gd name="T16" fmla="*/ 50 w 72"/>
                    <a:gd name="T17" fmla="*/ 42 h 75"/>
                    <a:gd name="T18" fmla="*/ 43 w 72"/>
                    <a:gd name="T19" fmla="*/ 75 h 75"/>
                    <a:gd name="T20" fmla="*/ 58 w 72"/>
                    <a:gd name="T21" fmla="*/ 75 h 75"/>
                    <a:gd name="T22" fmla="*/ 72 w 72"/>
                    <a:gd name="T23" fmla="*/ 0 h 75"/>
                    <a:gd name="T24" fmla="*/ 58 w 72"/>
                    <a:gd name="T2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75">
                      <a:moveTo>
                        <a:pt x="58" y="0"/>
                      </a:moveTo>
                      <a:lnTo>
                        <a:pt x="52" y="29"/>
                      </a:lnTo>
                      <a:lnTo>
                        <a:pt x="22" y="29"/>
                      </a:lnTo>
                      <a:lnTo>
                        <a:pt x="29" y="0"/>
                      </a:lnTo>
                      <a:lnTo>
                        <a:pt x="14" y="0"/>
                      </a:lnTo>
                      <a:lnTo>
                        <a:pt x="0" y="75"/>
                      </a:lnTo>
                      <a:lnTo>
                        <a:pt x="14" y="75"/>
                      </a:lnTo>
                      <a:lnTo>
                        <a:pt x="20" y="42"/>
                      </a:lnTo>
                      <a:lnTo>
                        <a:pt x="50" y="42"/>
                      </a:lnTo>
                      <a:lnTo>
                        <a:pt x="43" y="75"/>
                      </a:lnTo>
                      <a:lnTo>
                        <a:pt x="58" y="75"/>
                      </a:lnTo>
                      <a:lnTo>
                        <a:pt x="72" y="0"/>
                      </a:lnTo>
                      <a:lnTo>
                        <a:pt x="58"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19" name="išḻíḑè"/>
                <p:cNvSpPr/>
                <p:nvPr/>
              </p:nvSpPr>
              <p:spPr bwMode="auto">
                <a:xfrm>
                  <a:off x="7356476" y="3521075"/>
                  <a:ext cx="112713" cy="119063"/>
                </a:xfrm>
                <a:custGeom>
                  <a:avLst/>
                  <a:gdLst>
                    <a:gd name="T0" fmla="*/ 42 w 71"/>
                    <a:gd name="T1" fmla="*/ 0 h 75"/>
                    <a:gd name="T2" fmla="*/ 0 w 71"/>
                    <a:gd name="T3" fmla="*/ 75 h 75"/>
                    <a:gd name="T4" fmla="*/ 15 w 71"/>
                    <a:gd name="T5" fmla="*/ 75 h 75"/>
                    <a:gd name="T6" fmla="*/ 23 w 71"/>
                    <a:gd name="T7" fmla="*/ 59 h 75"/>
                    <a:gd name="T8" fmla="*/ 54 w 71"/>
                    <a:gd name="T9" fmla="*/ 59 h 75"/>
                    <a:gd name="T10" fmla="*/ 56 w 71"/>
                    <a:gd name="T11" fmla="*/ 75 h 75"/>
                    <a:gd name="T12" fmla="*/ 71 w 71"/>
                    <a:gd name="T13" fmla="*/ 75 h 75"/>
                    <a:gd name="T14" fmla="*/ 58 w 71"/>
                    <a:gd name="T15" fmla="*/ 0 h 75"/>
                    <a:gd name="T16" fmla="*/ 42 w 71"/>
                    <a:gd name="T17" fmla="*/ 0 h 75"/>
                    <a:gd name="T18" fmla="*/ 29 w 71"/>
                    <a:gd name="T19" fmla="*/ 46 h 75"/>
                    <a:gd name="T20" fmla="*/ 48 w 71"/>
                    <a:gd name="T21" fmla="*/ 17 h 75"/>
                    <a:gd name="T22" fmla="*/ 52 w 71"/>
                    <a:gd name="T23" fmla="*/ 46 h 75"/>
                    <a:gd name="T24" fmla="*/ 29 w 71"/>
                    <a:gd name="T25" fmla="*/ 4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5">
                      <a:moveTo>
                        <a:pt x="42" y="0"/>
                      </a:moveTo>
                      <a:lnTo>
                        <a:pt x="0" y="75"/>
                      </a:lnTo>
                      <a:lnTo>
                        <a:pt x="15" y="75"/>
                      </a:lnTo>
                      <a:lnTo>
                        <a:pt x="23" y="59"/>
                      </a:lnTo>
                      <a:lnTo>
                        <a:pt x="54" y="59"/>
                      </a:lnTo>
                      <a:lnTo>
                        <a:pt x="56" y="75"/>
                      </a:lnTo>
                      <a:lnTo>
                        <a:pt x="71" y="75"/>
                      </a:lnTo>
                      <a:lnTo>
                        <a:pt x="58" y="0"/>
                      </a:lnTo>
                      <a:lnTo>
                        <a:pt x="42" y="0"/>
                      </a:lnTo>
                      <a:close/>
                      <a:moveTo>
                        <a:pt x="29" y="46"/>
                      </a:moveTo>
                      <a:lnTo>
                        <a:pt x="48" y="17"/>
                      </a:lnTo>
                      <a:lnTo>
                        <a:pt x="52" y="46"/>
                      </a:lnTo>
                      <a:lnTo>
                        <a:pt x="29" y="46"/>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20" name="işḷíḋê"/>
                <p:cNvSpPr/>
                <p:nvPr/>
              </p:nvSpPr>
              <p:spPr bwMode="auto">
                <a:xfrm>
                  <a:off x="7481888" y="3521075"/>
                  <a:ext cx="119063" cy="119063"/>
                </a:xfrm>
                <a:custGeom>
                  <a:avLst/>
                  <a:gdLst>
                    <a:gd name="T0" fmla="*/ 50 w 75"/>
                    <a:gd name="T1" fmla="*/ 50 h 75"/>
                    <a:gd name="T2" fmla="*/ 31 w 75"/>
                    <a:gd name="T3" fmla="*/ 0 h 75"/>
                    <a:gd name="T4" fmla="*/ 17 w 75"/>
                    <a:gd name="T5" fmla="*/ 0 h 75"/>
                    <a:gd name="T6" fmla="*/ 0 w 75"/>
                    <a:gd name="T7" fmla="*/ 75 h 75"/>
                    <a:gd name="T8" fmla="*/ 15 w 75"/>
                    <a:gd name="T9" fmla="*/ 75 h 75"/>
                    <a:gd name="T10" fmla="*/ 25 w 75"/>
                    <a:gd name="T11" fmla="*/ 25 h 75"/>
                    <a:gd name="T12" fmla="*/ 46 w 75"/>
                    <a:gd name="T13" fmla="*/ 75 h 75"/>
                    <a:gd name="T14" fmla="*/ 58 w 75"/>
                    <a:gd name="T15" fmla="*/ 75 h 75"/>
                    <a:gd name="T16" fmla="*/ 75 w 75"/>
                    <a:gd name="T17" fmla="*/ 0 h 75"/>
                    <a:gd name="T18" fmla="*/ 61 w 75"/>
                    <a:gd name="T19" fmla="*/ 0 h 75"/>
                    <a:gd name="T20" fmla="*/ 50 w 75"/>
                    <a:gd name="T21" fmla="*/ 5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75">
                      <a:moveTo>
                        <a:pt x="50" y="50"/>
                      </a:moveTo>
                      <a:lnTo>
                        <a:pt x="31" y="0"/>
                      </a:lnTo>
                      <a:lnTo>
                        <a:pt x="17" y="0"/>
                      </a:lnTo>
                      <a:lnTo>
                        <a:pt x="0" y="75"/>
                      </a:lnTo>
                      <a:lnTo>
                        <a:pt x="15" y="75"/>
                      </a:lnTo>
                      <a:lnTo>
                        <a:pt x="25" y="25"/>
                      </a:lnTo>
                      <a:lnTo>
                        <a:pt x="46" y="75"/>
                      </a:lnTo>
                      <a:lnTo>
                        <a:pt x="58" y="75"/>
                      </a:lnTo>
                      <a:lnTo>
                        <a:pt x="75" y="0"/>
                      </a:lnTo>
                      <a:lnTo>
                        <a:pt x="61" y="0"/>
                      </a:lnTo>
                      <a:lnTo>
                        <a:pt x="50" y="5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21" name="ïsļîďè"/>
                <p:cNvSpPr/>
                <p:nvPr/>
              </p:nvSpPr>
              <p:spPr bwMode="auto">
                <a:xfrm>
                  <a:off x="7653338" y="3521075"/>
                  <a:ext cx="112713" cy="119063"/>
                </a:xfrm>
                <a:custGeom>
                  <a:avLst/>
                  <a:gdLst>
                    <a:gd name="T0" fmla="*/ 22 w 34"/>
                    <a:gd name="T1" fmla="*/ 20 h 36"/>
                    <a:gd name="T2" fmla="*/ 20 w 34"/>
                    <a:gd name="T3" fmla="*/ 26 h 36"/>
                    <a:gd name="T4" fmla="*/ 18 w 34"/>
                    <a:gd name="T5" fmla="*/ 29 h 36"/>
                    <a:gd name="T6" fmla="*/ 13 w 34"/>
                    <a:gd name="T7" fmla="*/ 30 h 36"/>
                    <a:gd name="T8" fmla="*/ 9 w 34"/>
                    <a:gd name="T9" fmla="*/ 29 h 36"/>
                    <a:gd name="T10" fmla="*/ 7 w 34"/>
                    <a:gd name="T11" fmla="*/ 25 h 36"/>
                    <a:gd name="T12" fmla="*/ 7 w 34"/>
                    <a:gd name="T13" fmla="*/ 24 h 36"/>
                    <a:gd name="T14" fmla="*/ 8 w 34"/>
                    <a:gd name="T15" fmla="*/ 19 h 36"/>
                    <a:gd name="T16" fmla="*/ 12 w 34"/>
                    <a:gd name="T17" fmla="*/ 0 h 36"/>
                    <a:gd name="T18" fmla="*/ 5 w 34"/>
                    <a:gd name="T19" fmla="*/ 0 h 36"/>
                    <a:gd name="T20" fmla="*/ 1 w 34"/>
                    <a:gd name="T21" fmla="*/ 19 h 36"/>
                    <a:gd name="T22" fmla="*/ 0 w 34"/>
                    <a:gd name="T23" fmla="*/ 23 h 36"/>
                    <a:gd name="T24" fmla="*/ 0 w 34"/>
                    <a:gd name="T25" fmla="*/ 25 h 36"/>
                    <a:gd name="T26" fmla="*/ 3 w 34"/>
                    <a:gd name="T27" fmla="*/ 33 h 36"/>
                    <a:gd name="T28" fmla="*/ 13 w 34"/>
                    <a:gd name="T29" fmla="*/ 36 h 36"/>
                    <a:gd name="T30" fmla="*/ 22 w 34"/>
                    <a:gd name="T31" fmla="*/ 34 h 36"/>
                    <a:gd name="T32" fmla="*/ 27 w 34"/>
                    <a:gd name="T33" fmla="*/ 29 h 36"/>
                    <a:gd name="T34" fmla="*/ 30 w 34"/>
                    <a:gd name="T35" fmla="*/ 20 h 36"/>
                    <a:gd name="T36" fmla="*/ 34 w 34"/>
                    <a:gd name="T37" fmla="*/ 0 h 36"/>
                    <a:gd name="T38" fmla="*/ 26 w 34"/>
                    <a:gd name="T39" fmla="*/ 0 h 36"/>
                    <a:gd name="T40" fmla="*/ 22 w 34"/>
                    <a:gd name="T41"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36">
                      <a:moveTo>
                        <a:pt x="22" y="20"/>
                      </a:moveTo>
                      <a:cubicBezTo>
                        <a:pt x="22" y="23"/>
                        <a:pt x="21" y="25"/>
                        <a:pt x="20" y="26"/>
                      </a:cubicBezTo>
                      <a:cubicBezTo>
                        <a:pt x="20" y="28"/>
                        <a:pt x="19" y="29"/>
                        <a:pt x="18" y="29"/>
                      </a:cubicBezTo>
                      <a:cubicBezTo>
                        <a:pt x="17" y="30"/>
                        <a:pt x="15" y="30"/>
                        <a:pt x="13" y="30"/>
                      </a:cubicBezTo>
                      <a:cubicBezTo>
                        <a:pt x="11" y="30"/>
                        <a:pt x="10" y="30"/>
                        <a:pt x="9" y="29"/>
                      </a:cubicBezTo>
                      <a:cubicBezTo>
                        <a:pt x="8" y="28"/>
                        <a:pt x="7" y="27"/>
                        <a:pt x="7" y="25"/>
                      </a:cubicBezTo>
                      <a:cubicBezTo>
                        <a:pt x="7" y="25"/>
                        <a:pt x="7" y="25"/>
                        <a:pt x="7" y="24"/>
                      </a:cubicBezTo>
                      <a:cubicBezTo>
                        <a:pt x="8" y="19"/>
                        <a:pt x="8" y="19"/>
                        <a:pt x="8" y="19"/>
                      </a:cubicBezTo>
                      <a:cubicBezTo>
                        <a:pt x="12" y="0"/>
                        <a:pt x="12" y="0"/>
                        <a:pt x="12" y="0"/>
                      </a:cubicBezTo>
                      <a:cubicBezTo>
                        <a:pt x="5" y="0"/>
                        <a:pt x="5" y="0"/>
                        <a:pt x="5" y="0"/>
                      </a:cubicBezTo>
                      <a:cubicBezTo>
                        <a:pt x="1" y="19"/>
                        <a:pt x="1" y="19"/>
                        <a:pt x="1" y="19"/>
                      </a:cubicBezTo>
                      <a:cubicBezTo>
                        <a:pt x="1" y="21"/>
                        <a:pt x="0" y="23"/>
                        <a:pt x="0" y="23"/>
                      </a:cubicBezTo>
                      <a:cubicBezTo>
                        <a:pt x="0" y="24"/>
                        <a:pt x="0" y="25"/>
                        <a:pt x="0" y="25"/>
                      </a:cubicBezTo>
                      <a:cubicBezTo>
                        <a:pt x="0" y="29"/>
                        <a:pt x="1" y="31"/>
                        <a:pt x="3" y="33"/>
                      </a:cubicBezTo>
                      <a:cubicBezTo>
                        <a:pt x="6" y="35"/>
                        <a:pt x="9" y="36"/>
                        <a:pt x="13" y="36"/>
                      </a:cubicBezTo>
                      <a:cubicBezTo>
                        <a:pt x="16" y="36"/>
                        <a:pt x="19" y="36"/>
                        <a:pt x="22" y="34"/>
                      </a:cubicBezTo>
                      <a:cubicBezTo>
                        <a:pt x="24" y="33"/>
                        <a:pt x="25" y="31"/>
                        <a:pt x="27" y="29"/>
                      </a:cubicBezTo>
                      <a:cubicBezTo>
                        <a:pt x="28" y="27"/>
                        <a:pt x="29" y="24"/>
                        <a:pt x="30" y="20"/>
                      </a:cubicBezTo>
                      <a:cubicBezTo>
                        <a:pt x="34" y="0"/>
                        <a:pt x="34" y="0"/>
                        <a:pt x="34" y="0"/>
                      </a:cubicBezTo>
                      <a:cubicBezTo>
                        <a:pt x="26" y="0"/>
                        <a:pt x="26" y="0"/>
                        <a:pt x="26" y="0"/>
                      </a:cubicBezTo>
                      <a:lnTo>
                        <a:pt x="22" y="2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22" name="ïšlídè"/>
                <p:cNvSpPr/>
                <p:nvPr/>
              </p:nvSpPr>
              <p:spPr bwMode="auto">
                <a:xfrm>
                  <a:off x="7766051" y="3521075"/>
                  <a:ext cx="115888" cy="119063"/>
                </a:xfrm>
                <a:custGeom>
                  <a:avLst/>
                  <a:gdLst>
                    <a:gd name="T0" fmla="*/ 58 w 73"/>
                    <a:gd name="T1" fmla="*/ 0 h 75"/>
                    <a:gd name="T2" fmla="*/ 50 w 73"/>
                    <a:gd name="T3" fmla="*/ 50 h 75"/>
                    <a:gd name="T4" fmla="*/ 29 w 73"/>
                    <a:gd name="T5" fmla="*/ 0 h 75"/>
                    <a:gd name="T6" fmla="*/ 15 w 73"/>
                    <a:gd name="T7" fmla="*/ 0 h 75"/>
                    <a:gd name="T8" fmla="*/ 0 w 73"/>
                    <a:gd name="T9" fmla="*/ 75 h 75"/>
                    <a:gd name="T10" fmla="*/ 13 w 73"/>
                    <a:gd name="T11" fmla="*/ 75 h 75"/>
                    <a:gd name="T12" fmla="*/ 23 w 73"/>
                    <a:gd name="T13" fmla="*/ 25 h 75"/>
                    <a:gd name="T14" fmla="*/ 44 w 73"/>
                    <a:gd name="T15" fmla="*/ 75 h 75"/>
                    <a:gd name="T16" fmla="*/ 58 w 73"/>
                    <a:gd name="T17" fmla="*/ 75 h 75"/>
                    <a:gd name="T18" fmla="*/ 73 w 73"/>
                    <a:gd name="T19" fmla="*/ 0 h 75"/>
                    <a:gd name="T20" fmla="*/ 58 w 73"/>
                    <a:gd name="T2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75">
                      <a:moveTo>
                        <a:pt x="58" y="0"/>
                      </a:moveTo>
                      <a:lnTo>
                        <a:pt x="50" y="50"/>
                      </a:lnTo>
                      <a:lnTo>
                        <a:pt x="29" y="0"/>
                      </a:lnTo>
                      <a:lnTo>
                        <a:pt x="15" y="0"/>
                      </a:lnTo>
                      <a:lnTo>
                        <a:pt x="0" y="75"/>
                      </a:lnTo>
                      <a:lnTo>
                        <a:pt x="13" y="75"/>
                      </a:lnTo>
                      <a:lnTo>
                        <a:pt x="23" y="25"/>
                      </a:lnTo>
                      <a:lnTo>
                        <a:pt x="44" y="75"/>
                      </a:lnTo>
                      <a:lnTo>
                        <a:pt x="58" y="75"/>
                      </a:lnTo>
                      <a:lnTo>
                        <a:pt x="73" y="0"/>
                      </a:lnTo>
                      <a:lnTo>
                        <a:pt x="58"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23" name="ísḻïḍé"/>
                <p:cNvSpPr/>
                <p:nvPr/>
              </p:nvSpPr>
              <p:spPr bwMode="auto">
                <a:xfrm>
                  <a:off x="7881938" y="3521075"/>
                  <a:ext cx="49213" cy="119063"/>
                </a:xfrm>
                <a:custGeom>
                  <a:avLst/>
                  <a:gdLst>
                    <a:gd name="T0" fmla="*/ 0 w 31"/>
                    <a:gd name="T1" fmla="*/ 75 h 75"/>
                    <a:gd name="T2" fmla="*/ 14 w 31"/>
                    <a:gd name="T3" fmla="*/ 75 h 75"/>
                    <a:gd name="T4" fmla="*/ 31 w 31"/>
                    <a:gd name="T5" fmla="*/ 0 h 75"/>
                    <a:gd name="T6" fmla="*/ 14 w 31"/>
                    <a:gd name="T7" fmla="*/ 0 h 75"/>
                    <a:gd name="T8" fmla="*/ 0 w 31"/>
                    <a:gd name="T9" fmla="*/ 75 h 75"/>
                  </a:gdLst>
                  <a:ahLst/>
                  <a:cxnLst>
                    <a:cxn ang="0">
                      <a:pos x="T0" y="T1"/>
                    </a:cxn>
                    <a:cxn ang="0">
                      <a:pos x="T2" y="T3"/>
                    </a:cxn>
                    <a:cxn ang="0">
                      <a:pos x="T4" y="T5"/>
                    </a:cxn>
                    <a:cxn ang="0">
                      <a:pos x="T6" y="T7"/>
                    </a:cxn>
                    <a:cxn ang="0">
                      <a:pos x="T8" y="T9"/>
                    </a:cxn>
                  </a:cxnLst>
                  <a:rect l="0" t="0" r="r" b="b"/>
                  <a:pathLst>
                    <a:path w="31" h="75">
                      <a:moveTo>
                        <a:pt x="0" y="75"/>
                      </a:moveTo>
                      <a:lnTo>
                        <a:pt x="14" y="75"/>
                      </a:lnTo>
                      <a:lnTo>
                        <a:pt x="31" y="0"/>
                      </a:lnTo>
                      <a:lnTo>
                        <a:pt x="14" y="0"/>
                      </a:lnTo>
                      <a:lnTo>
                        <a:pt x="0" y="75"/>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24" name="îṣļïḋe"/>
                <p:cNvSpPr/>
                <p:nvPr/>
              </p:nvSpPr>
              <p:spPr bwMode="auto">
                <a:xfrm>
                  <a:off x="7940676" y="3521075"/>
                  <a:ext cx="109538" cy="119063"/>
                </a:xfrm>
                <a:custGeom>
                  <a:avLst/>
                  <a:gdLst>
                    <a:gd name="T0" fmla="*/ 54 w 69"/>
                    <a:gd name="T1" fmla="*/ 0 h 75"/>
                    <a:gd name="T2" fmla="*/ 23 w 69"/>
                    <a:gd name="T3" fmla="*/ 57 h 75"/>
                    <a:gd name="T4" fmla="*/ 15 w 69"/>
                    <a:gd name="T5" fmla="*/ 0 h 75"/>
                    <a:gd name="T6" fmla="*/ 0 w 69"/>
                    <a:gd name="T7" fmla="*/ 0 h 75"/>
                    <a:gd name="T8" fmla="*/ 13 w 69"/>
                    <a:gd name="T9" fmla="*/ 75 h 75"/>
                    <a:gd name="T10" fmla="*/ 29 w 69"/>
                    <a:gd name="T11" fmla="*/ 75 h 75"/>
                    <a:gd name="T12" fmla="*/ 69 w 69"/>
                    <a:gd name="T13" fmla="*/ 0 h 75"/>
                    <a:gd name="T14" fmla="*/ 54 w 69"/>
                    <a:gd name="T15" fmla="*/ 0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75">
                      <a:moveTo>
                        <a:pt x="54" y="0"/>
                      </a:moveTo>
                      <a:lnTo>
                        <a:pt x="23" y="57"/>
                      </a:lnTo>
                      <a:lnTo>
                        <a:pt x="15" y="0"/>
                      </a:lnTo>
                      <a:lnTo>
                        <a:pt x="0" y="0"/>
                      </a:lnTo>
                      <a:lnTo>
                        <a:pt x="13" y="75"/>
                      </a:lnTo>
                      <a:lnTo>
                        <a:pt x="29" y="75"/>
                      </a:lnTo>
                      <a:lnTo>
                        <a:pt x="69" y="0"/>
                      </a:lnTo>
                      <a:lnTo>
                        <a:pt x="54"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25" name="íṥļiḓe"/>
                <p:cNvSpPr/>
                <p:nvPr/>
              </p:nvSpPr>
              <p:spPr bwMode="auto">
                <a:xfrm>
                  <a:off x="8037513" y="3521075"/>
                  <a:ext cx="111125" cy="119063"/>
                </a:xfrm>
                <a:custGeom>
                  <a:avLst/>
                  <a:gdLst>
                    <a:gd name="T0" fmla="*/ 68 w 70"/>
                    <a:gd name="T1" fmla="*/ 12 h 75"/>
                    <a:gd name="T2" fmla="*/ 70 w 70"/>
                    <a:gd name="T3" fmla="*/ 0 h 75"/>
                    <a:gd name="T4" fmla="*/ 16 w 70"/>
                    <a:gd name="T5" fmla="*/ 0 h 75"/>
                    <a:gd name="T6" fmla="*/ 0 w 70"/>
                    <a:gd name="T7" fmla="*/ 75 h 75"/>
                    <a:gd name="T8" fmla="*/ 58 w 70"/>
                    <a:gd name="T9" fmla="*/ 75 h 75"/>
                    <a:gd name="T10" fmla="*/ 60 w 70"/>
                    <a:gd name="T11" fmla="*/ 63 h 75"/>
                    <a:gd name="T12" fmla="*/ 16 w 70"/>
                    <a:gd name="T13" fmla="*/ 63 h 75"/>
                    <a:gd name="T14" fmla="*/ 22 w 70"/>
                    <a:gd name="T15" fmla="*/ 42 h 75"/>
                    <a:gd name="T16" fmla="*/ 60 w 70"/>
                    <a:gd name="T17" fmla="*/ 42 h 75"/>
                    <a:gd name="T18" fmla="*/ 62 w 70"/>
                    <a:gd name="T19" fmla="*/ 29 h 75"/>
                    <a:gd name="T20" fmla="*/ 24 w 70"/>
                    <a:gd name="T21" fmla="*/ 29 h 75"/>
                    <a:gd name="T22" fmla="*/ 29 w 70"/>
                    <a:gd name="T23" fmla="*/ 12 h 75"/>
                    <a:gd name="T24" fmla="*/ 68 w 70"/>
                    <a:gd name="T25"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5">
                      <a:moveTo>
                        <a:pt x="68" y="12"/>
                      </a:moveTo>
                      <a:lnTo>
                        <a:pt x="70" y="0"/>
                      </a:lnTo>
                      <a:lnTo>
                        <a:pt x="16" y="0"/>
                      </a:lnTo>
                      <a:lnTo>
                        <a:pt x="0" y="75"/>
                      </a:lnTo>
                      <a:lnTo>
                        <a:pt x="58" y="75"/>
                      </a:lnTo>
                      <a:lnTo>
                        <a:pt x="60" y="63"/>
                      </a:lnTo>
                      <a:lnTo>
                        <a:pt x="16" y="63"/>
                      </a:lnTo>
                      <a:lnTo>
                        <a:pt x="22" y="42"/>
                      </a:lnTo>
                      <a:lnTo>
                        <a:pt x="60" y="42"/>
                      </a:lnTo>
                      <a:lnTo>
                        <a:pt x="62" y="29"/>
                      </a:lnTo>
                      <a:lnTo>
                        <a:pt x="24" y="29"/>
                      </a:lnTo>
                      <a:lnTo>
                        <a:pt x="29" y="12"/>
                      </a:lnTo>
                      <a:lnTo>
                        <a:pt x="68" y="12"/>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26" name="i$lîḋè"/>
                <p:cNvSpPr/>
                <p:nvPr/>
              </p:nvSpPr>
              <p:spPr bwMode="auto">
                <a:xfrm>
                  <a:off x="8145463" y="3521075"/>
                  <a:ext cx="115888" cy="119063"/>
                </a:xfrm>
                <a:custGeom>
                  <a:avLst/>
                  <a:gdLst>
                    <a:gd name="T0" fmla="*/ 30 w 35"/>
                    <a:gd name="T1" fmla="*/ 1 h 36"/>
                    <a:gd name="T2" fmla="*/ 24 w 35"/>
                    <a:gd name="T3" fmla="*/ 0 h 36"/>
                    <a:gd name="T4" fmla="*/ 8 w 35"/>
                    <a:gd name="T5" fmla="*/ 0 h 36"/>
                    <a:gd name="T6" fmla="*/ 0 w 35"/>
                    <a:gd name="T7" fmla="*/ 36 h 36"/>
                    <a:gd name="T8" fmla="*/ 8 w 35"/>
                    <a:gd name="T9" fmla="*/ 36 h 36"/>
                    <a:gd name="T10" fmla="*/ 11 w 35"/>
                    <a:gd name="T11" fmla="*/ 21 h 36"/>
                    <a:gd name="T12" fmla="*/ 14 w 35"/>
                    <a:gd name="T13" fmla="*/ 21 h 36"/>
                    <a:gd name="T14" fmla="*/ 17 w 35"/>
                    <a:gd name="T15" fmla="*/ 22 h 36"/>
                    <a:gd name="T16" fmla="*/ 21 w 35"/>
                    <a:gd name="T17" fmla="*/ 26 h 36"/>
                    <a:gd name="T18" fmla="*/ 24 w 35"/>
                    <a:gd name="T19" fmla="*/ 36 h 36"/>
                    <a:gd name="T20" fmla="*/ 32 w 35"/>
                    <a:gd name="T21" fmla="*/ 36 h 36"/>
                    <a:gd name="T22" fmla="*/ 27 w 35"/>
                    <a:gd name="T23" fmla="*/ 24 h 36"/>
                    <a:gd name="T24" fmla="*/ 24 w 35"/>
                    <a:gd name="T25" fmla="*/ 21 h 36"/>
                    <a:gd name="T26" fmla="*/ 32 w 35"/>
                    <a:gd name="T27" fmla="*/ 17 h 36"/>
                    <a:gd name="T28" fmla="*/ 35 w 35"/>
                    <a:gd name="T29" fmla="*/ 9 h 36"/>
                    <a:gd name="T30" fmla="*/ 34 w 35"/>
                    <a:gd name="T31" fmla="*/ 4 h 36"/>
                    <a:gd name="T32" fmla="*/ 30 w 35"/>
                    <a:gd name="T33" fmla="*/ 1 h 36"/>
                    <a:gd name="T34" fmla="*/ 27 w 35"/>
                    <a:gd name="T35" fmla="*/ 13 h 36"/>
                    <a:gd name="T36" fmla="*/ 24 w 35"/>
                    <a:gd name="T37" fmla="*/ 15 h 36"/>
                    <a:gd name="T38" fmla="*/ 16 w 35"/>
                    <a:gd name="T39" fmla="*/ 16 h 36"/>
                    <a:gd name="T40" fmla="*/ 12 w 35"/>
                    <a:gd name="T41" fmla="*/ 16 h 36"/>
                    <a:gd name="T42" fmla="*/ 14 w 35"/>
                    <a:gd name="T43" fmla="*/ 6 h 36"/>
                    <a:gd name="T44" fmla="*/ 22 w 35"/>
                    <a:gd name="T45" fmla="*/ 6 h 36"/>
                    <a:gd name="T46" fmla="*/ 26 w 35"/>
                    <a:gd name="T47" fmla="*/ 7 h 36"/>
                    <a:gd name="T48" fmla="*/ 28 w 35"/>
                    <a:gd name="T49" fmla="*/ 10 h 36"/>
                    <a:gd name="T50" fmla="*/ 27 w 35"/>
                    <a:gd name="T51" fmla="*/ 1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 h="36">
                      <a:moveTo>
                        <a:pt x="30" y="1"/>
                      </a:moveTo>
                      <a:cubicBezTo>
                        <a:pt x="28" y="0"/>
                        <a:pt x="26" y="0"/>
                        <a:pt x="24" y="0"/>
                      </a:cubicBezTo>
                      <a:cubicBezTo>
                        <a:pt x="8" y="0"/>
                        <a:pt x="8" y="0"/>
                        <a:pt x="8" y="0"/>
                      </a:cubicBezTo>
                      <a:cubicBezTo>
                        <a:pt x="0" y="36"/>
                        <a:pt x="0" y="36"/>
                        <a:pt x="0" y="36"/>
                      </a:cubicBezTo>
                      <a:cubicBezTo>
                        <a:pt x="8" y="36"/>
                        <a:pt x="8" y="36"/>
                        <a:pt x="8" y="36"/>
                      </a:cubicBezTo>
                      <a:cubicBezTo>
                        <a:pt x="11" y="21"/>
                        <a:pt x="11" y="21"/>
                        <a:pt x="11" y="21"/>
                      </a:cubicBezTo>
                      <a:cubicBezTo>
                        <a:pt x="14" y="21"/>
                        <a:pt x="14" y="21"/>
                        <a:pt x="14" y="21"/>
                      </a:cubicBezTo>
                      <a:cubicBezTo>
                        <a:pt x="15" y="21"/>
                        <a:pt x="17" y="21"/>
                        <a:pt x="17" y="22"/>
                      </a:cubicBezTo>
                      <a:cubicBezTo>
                        <a:pt x="18" y="22"/>
                        <a:pt x="20" y="24"/>
                        <a:pt x="21" y="26"/>
                      </a:cubicBezTo>
                      <a:cubicBezTo>
                        <a:pt x="22" y="31"/>
                        <a:pt x="24" y="34"/>
                        <a:pt x="24" y="36"/>
                      </a:cubicBezTo>
                      <a:cubicBezTo>
                        <a:pt x="32" y="36"/>
                        <a:pt x="32" y="36"/>
                        <a:pt x="32" y="36"/>
                      </a:cubicBezTo>
                      <a:cubicBezTo>
                        <a:pt x="30" y="31"/>
                        <a:pt x="28" y="27"/>
                        <a:pt x="27" y="24"/>
                      </a:cubicBezTo>
                      <a:cubicBezTo>
                        <a:pt x="26" y="23"/>
                        <a:pt x="25" y="21"/>
                        <a:pt x="24" y="21"/>
                      </a:cubicBezTo>
                      <a:cubicBezTo>
                        <a:pt x="28" y="20"/>
                        <a:pt x="30" y="19"/>
                        <a:pt x="32" y="17"/>
                      </a:cubicBezTo>
                      <a:cubicBezTo>
                        <a:pt x="34" y="15"/>
                        <a:pt x="35" y="13"/>
                        <a:pt x="35" y="9"/>
                      </a:cubicBezTo>
                      <a:cubicBezTo>
                        <a:pt x="35" y="7"/>
                        <a:pt x="34" y="6"/>
                        <a:pt x="34" y="4"/>
                      </a:cubicBezTo>
                      <a:cubicBezTo>
                        <a:pt x="33" y="3"/>
                        <a:pt x="31" y="2"/>
                        <a:pt x="30" y="1"/>
                      </a:cubicBezTo>
                      <a:close/>
                      <a:moveTo>
                        <a:pt x="27" y="13"/>
                      </a:moveTo>
                      <a:cubicBezTo>
                        <a:pt x="26" y="14"/>
                        <a:pt x="25" y="14"/>
                        <a:pt x="24" y="15"/>
                      </a:cubicBezTo>
                      <a:cubicBezTo>
                        <a:pt x="22" y="15"/>
                        <a:pt x="20" y="16"/>
                        <a:pt x="16" y="16"/>
                      </a:cubicBezTo>
                      <a:cubicBezTo>
                        <a:pt x="12" y="16"/>
                        <a:pt x="12" y="16"/>
                        <a:pt x="12" y="16"/>
                      </a:cubicBezTo>
                      <a:cubicBezTo>
                        <a:pt x="14" y="6"/>
                        <a:pt x="14" y="6"/>
                        <a:pt x="14" y="6"/>
                      </a:cubicBezTo>
                      <a:cubicBezTo>
                        <a:pt x="22" y="6"/>
                        <a:pt x="22" y="6"/>
                        <a:pt x="22" y="6"/>
                      </a:cubicBezTo>
                      <a:cubicBezTo>
                        <a:pt x="24" y="6"/>
                        <a:pt x="25" y="6"/>
                        <a:pt x="26" y="7"/>
                      </a:cubicBezTo>
                      <a:cubicBezTo>
                        <a:pt x="27" y="7"/>
                        <a:pt x="28" y="8"/>
                        <a:pt x="28" y="10"/>
                      </a:cubicBezTo>
                      <a:cubicBezTo>
                        <a:pt x="28" y="11"/>
                        <a:pt x="27" y="12"/>
                        <a:pt x="27" y="13"/>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27" name="îṥľíḍè"/>
                <p:cNvSpPr/>
                <p:nvPr/>
              </p:nvSpPr>
              <p:spPr bwMode="auto">
                <a:xfrm>
                  <a:off x="8267701" y="3521075"/>
                  <a:ext cx="98425" cy="119063"/>
                </a:xfrm>
                <a:custGeom>
                  <a:avLst/>
                  <a:gdLst>
                    <a:gd name="T0" fmla="*/ 17 w 30"/>
                    <a:gd name="T1" fmla="*/ 5 h 36"/>
                    <a:gd name="T2" fmla="*/ 22 w 30"/>
                    <a:gd name="T3" fmla="*/ 7 h 36"/>
                    <a:gd name="T4" fmla="*/ 23 w 30"/>
                    <a:gd name="T5" fmla="*/ 11 h 36"/>
                    <a:gd name="T6" fmla="*/ 30 w 30"/>
                    <a:gd name="T7" fmla="*/ 10 h 36"/>
                    <a:gd name="T8" fmla="*/ 27 w 30"/>
                    <a:gd name="T9" fmla="*/ 3 h 36"/>
                    <a:gd name="T10" fmla="*/ 17 w 30"/>
                    <a:gd name="T11" fmla="*/ 0 h 36"/>
                    <a:gd name="T12" fmla="*/ 8 w 30"/>
                    <a:gd name="T13" fmla="*/ 3 h 36"/>
                    <a:gd name="T14" fmla="*/ 4 w 30"/>
                    <a:gd name="T15" fmla="*/ 10 h 36"/>
                    <a:gd name="T16" fmla="*/ 6 w 30"/>
                    <a:gd name="T17" fmla="*/ 14 h 36"/>
                    <a:gd name="T18" fmla="*/ 8 w 30"/>
                    <a:gd name="T19" fmla="*/ 18 h 36"/>
                    <a:gd name="T20" fmla="*/ 15 w 30"/>
                    <a:gd name="T21" fmla="*/ 21 h 36"/>
                    <a:gd name="T22" fmla="*/ 20 w 30"/>
                    <a:gd name="T23" fmla="*/ 23 h 36"/>
                    <a:gd name="T24" fmla="*/ 21 w 30"/>
                    <a:gd name="T25" fmla="*/ 26 h 36"/>
                    <a:gd name="T26" fmla="*/ 19 w 30"/>
                    <a:gd name="T27" fmla="*/ 29 h 36"/>
                    <a:gd name="T28" fmla="*/ 14 w 30"/>
                    <a:gd name="T29" fmla="*/ 30 h 36"/>
                    <a:gd name="T30" fmla="*/ 8 w 30"/>
                    <a:gd name="T31" fmla="*/ 28 h 36"/>
                    <a:gd name="T32" fmla="*/ 7 w 30"/>
                    <a:gd name="T33" fmla="*/ 24 h 36"/>
                    <a:gd name="T34" fmla="*/ 0 w 30"/>
                    <a:gd name="T35" fmla="*/ 24 h 36"/>
                    <a:gd name="T36" fmla="*/ 1 w 30"/>
                    <a:gd name="T37" fmla="*/ 30 h 36"/>
                    <a:gd name="T38" fmla="*/ 6 w 30"/>
                    <a:gd name="T39" fmla="*/ 35 h 36"/>
                    <a:gd name="T40" fmla="*/ 14 w 30"/>
                    <a:gd name="T41" fmla="*/ 36 h 36"/>
                    <a:gd name="T42" fmla="*/ 24 w 30"/>
                    <a:gd name="T43" fmla="*/ 33 h 36"/>
                    <a:gd name="T44" fmla="*/ 28 w 30"/>
                    <a:gd name="T45" fmla="*/ 25 h 36"/>
                    <a:gd name="T46" fmla="*/ 26 w 30"/>
                    <a:gd name="T47" fmla="*/ 19 h 36"/>
                    <a:gd name="T48" fmla="*/ 18 w 30"/>
                    <a:gd name="T49" fmla="*/ 14 h 36"/>
                    <a:gd name="T50" fmla="*/ 13 w 30"/>
                    <a:gd name="T51" fmla="*/ 12 h 36"/>
                    <a:gd name="T52" fmla="*/ 11 w 30"/>
                    <a:gd name="T53" fmla="*/ 9 h 36"/>
                    <a:gd name="T54" fmla="*/ 13 w 30"/>
                    <a:gd name="T55" fmla="*/ 6 h 36"/>
                    <a:gd name="T56" fmla="*/ 17 w 30"/>
                    <a:gd name="T57"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36">
                      <a:moveTo>
                        <a:pt x="17" y="5"/>
                      </a:moveTo>
                      <a:cubicBezTo>
                        <a:pt x="19" y="5"/>
                        <a:pt x="21" y="6"/>
                        <a:pt x="22" y="7"/>
                      </a:cubicBezTo>
                      <a:cubicBezTo>
                        <a:pt x="23" y="8"/>
                        <a:pt x="23" y="9"/>
                        <a:pt x="23" y="11"/>
                      </a:cubicBezTo>
                      <a:cubicBezTo>
                        <a:pt x="30" y="10"/>
                        <a:pt x="30" y="10"/>
                        <a:pt x="30" y="10"/>
                      </a:cubicBezTo>
                      <a:cubicBezTo>
                        <a:pt x="30" y="7"/>
                        <a:pt x="29" y="4"/>
                        <a:pt x="27" y="3"/>
                      </a:cubicBezTo>
                      <a:cubicBezTo>
                        <a:pt x="24" y="1"/>
                        <a:pt x="21" y="0"/>
                        <a:pt x="17" y="0"/>
                      </a:cubicBezTo>
                      <a:cubicBezTo>
                        <a:pt x="13" y="0"/>
                        <a:pt x="10" y="1"/>
                        <a:pt x="8" y="3"/>
                      </a:cubicBezTo>
                      <a:cubicBezTo>
                        <a:pt x="5" y="5"/>
                        <a:pt x="4" y="7"/>
                        <a:pt x="4" y="10"/>
                      </a:cubicBezTo>
                      <a:cubicBezTo>
                        <a:pt x="4" y="12"/>
                        <a:pt x="5" y="13"/>
                        <a:pt x="6" y="14"/>
                      </a:cubicBezTo>
                      <a:cubicBezTo>
                        <a:pt x="6" y="16"/>
                        <a:pt x="7" y="17"/>
                        <a:pt x="8" y="18"/>
                      </a:cubicBezTo>
                      <a:cubicBezTo>
                        <a:pt x="10" y="18"/>
                        <a:pt x="12" y="19"/>
                        <a:pt x="15" y="21"/>
                      </a:cubicBezTo>
                      <a:cubicBezTo>
                        <a:pt x="17" y="22"/>
                        <a:pt x="19" y="23"/>
                        <a:pt x="20" y="23"/>
                      </a:cubicBezTo>
                      <a:cubicBezTo>
                        <a:pt x="20" y="24"/>
                        <a:pt x="21" y="25"/>
                        <a:pt x="21" y="26"/>
                      </a:cubicBezTo>
                      <a:cubicBezTo>
                        <a:pt x="21" y="27"/>
                        <a:pt x="20" y="28"/>
                        <a:pt x="19" y="29"/>
                      </a:cubicBezTo>
                      <a:cubicBezTo>
                        <a:pt x="18" y="30"/>
                        <a:pt x="16" y="30"/>
                        <a:pt x="14" y="30"/>
                      </a:cubicBezTo>
                      <a:cubicBezTo>
                        <a:pt x="11" y="30"/>
                        <a:pt x="9" y="30"/>
                        <a:pt x="8" y="28"/>
                      </a:cubicBezTo>
                      <a:cubicBezTo>
                        <a:pt x="8" y="28"/>
                        <a:pt x="7" y="26"/>
                        <a:pt x="7" y="24"/>
                      </a:cubicBezTo>
                      <a:cubicBezTo>
                        <a:pt x="0" y="24"/>
                        <a:pt x="0" y="24"/>
                        <a:pt x="0" y="24"/>
                      </a:cubicBezTo>
                      <a:cubicBezTo>
                        <a:pt x="0" y="27"/>
                        <a:pt x="0" y="29"/>
                        <a:pt x="1" y="30"/>
                      </a:cubicBezTo>
                      <a:cubicBezTo>
                        <a:pt x="2" y="32"/>
                        <a:pt x="4" y="34"/>
                        <a:pt x="6" y="35"/>
                      </a:cubicBezTo>
                      <a:cubicBezTo>
                        <a:pt x="8" y="36"/>
                        <a:pt x="11" y="36"/>
                        <a:pt x="14" y="36"/>
                      </a:cubicBezTo>
                      <a:cubicBezTo>
                        <a:pt x="18" y="36"/>
                        <a:pt x="22" y="35"/>
                        <a:pt x="24" y="33"/>
                      </a:cubicBezTo>
                      <a:cubicBezTo>
                        <a:pt x="27" y="31"/>
                        <a:pt x="28" y="28"/>
                        <a:pt x="28" y="25"/>
                      </a:cubicBezTo>
                      <a:cubicBezTo>
                        <a:pt x="28" y="22"/>
                        <a:pt x="27" y="20"/>
                        <a:pt x="26" y="19"/>
                      </a:cubicBezTo>
                      <a:cubicBezTo>
                        <a:pt x="25" y="18"/>
                        <a:pt x="22" y="16"/>
                        <a:pt x="18" y="14"/>
                      </a:cubicBezTo>
                      <a:cubicBezTo>
                        <a:pt x="15" y="13"/>
                        <a:pt x="13" y="12"/>
                        <a:pt x="13" y="12"/>
                      </a:cubicBezTo>
                      <a:cubicBezTo>
                        <a:pt x="12" y="11"/>
                        <a:pt x="11" y="10"/>
                        <a:pt x="11" y="9"/>
                      </a:cubicBezTo>
                      <a:cubicBezTo>
                        <a:pt x="11" y="8"/>
                        <a:pt x="12" y="7"/>
                        <a:pt x="13" y="6"/>
                      </a:cubicBezTo>
                      <a:cubicBezTo>
                        <a:pt x="14" y="6"/>
                        <a:pt x="15" y="5"/>
                        <a:pt x="17" y="5"/>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28" name="íṣḷídé"/>
                <p:cNvSpPr/>
                <p:nvPr/>
              </p:nvSpPr>
              <p:spPr bwMode="auto">
                <a:xfrm>
                  <a:off x="8374063" y="3521075"/>
                  <a:ext cx="46038" cy="119063"/>
                </a:xfrm>
                <a:custGeom>
                  <a:avLst/>
                  <a:gdLst>
                    <a:gd name="T0" fmla="*/ 0 w 29"/>
                    <a:gd name="T1" fmla="*/ 75 h 75"/>
                    <a:gd name="T2" fmla="*/ 14 w 29"/>
                    <a:gd name="T3" fmla="*/ 75 h 75"/>
                    <a:gd name="T4" fmla="*/ 29 w 29"/>
                    <a:gd name="T5" fmla="*/ 0 h 75"/>
                    <a:gd name="T6" fmla="*/ 14 w 29"/>
                    <a:gd name="T7" fmla="*/ 0 h 75"/>
                    <a:gd name="T8" fmla="*/ 0 w 29"/>
                    <a:gd name="T9" fmla="*/ 75 h 75"/>
                  </a:gdLst>
                  <a:ahLst/>
                  <a:cxnLst>
                    <a:cxn ang="0">
                      <a:pos x="T0" y="T1"/>
                    </a:cxn>
                    <a:cxn ang="0">
                      <a:pos x="T2" y="T3"/>
                    </a:cxn>
                    <a:cxn ang="0">
                      <a:pos x="T4" y="T5"/>
                    </a:cxn>
                    <a:cxn ang="0">
                      <a:pos x="T6" y="T7"/>
                    </a:cxn>
                    <a:cxn ang="0">
                      <a:pos x="T8" y="T9"/>
                    </a:cxn>
                  </a:cxnLst>
                  <a:rect l="0" t="0" r="r" b="b"/>
                  <a:pathLst>
                    <a:path w="29" h="75">
                      <a:moveTo>
                        <a:pt x="0" y="75"/>
                      </a:moveTo>
                      <a:lnTo>
                        <a:pt x="14" y="75"/>
                      </a:lnTo>
                      <a:lnTo>
                        <a:pt x="29" y="0"/>
                      </a:lnTo>
                      <a:lnTo>
                        <a:pt x="14" y="0"/>
                      </a:lnTo>
                      <a:lnTo>
                        <a:pt x="0" y="75"/>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29" name="íśļiḑé"/>
                <p:cNvSpPr/>
                <p:nvPr/>
              </p:nvSpPr>
              <p:spPr bwMode="auto">
                <a:xfrm>
                  <a:off x="8432801" y="3521075"/>
                  <a:ext cx="95250" cy="119063"/>
                </a:xfrm>
                <a:custGeom>
                  <a:avLst/>
                  <a:gdLst>
                    <a:gd name="T0" fmla="*/ 0 w 60"/>
                    <a:gd name="T1" fmla="*/ 12 h 75"/>
                    <a:gd name="T2" fmla="*/ 21 w 60"/>
                    <a:gd name="T3" fmla="*/ 12 h 75"/>
                    <a:gd name="T4" fmla="*/ 8 w 60"/>
                    <a:gd name="T5" fmla="*/ 75 h 75"/>
                    <a:gd name="T6" fmla="*/ 23 w 60"/>
                    <a:gd name="T7" fmla="*/ 75 h 75"/>
                    <a:gd name="T8" fmla="*/ 35 w 60"/>
                    <a:gd name="T9" fmla="*/ 12 h 75"/>
                    <a:gd name="T10" fmla="*/ 58 w 60"/>
                    <a:gd name="T11" fmla="*/ 12 h 75"/>
                    <a:gd name="T12" fmla="*/ 60 w 60"/>
                    <a:gd name="T13" fmla="*/ 0 h 75"/>
                    <a:gd name="T14" fmla="*/ 2 w 60"/>
                    <a:gd name="T15" fmla="*/ 0 h 75"/>
                    <a:gd name="T16" fmla="*/ 0 w 60"/>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75">
                      <a:moveTo>
                        <a:pt x="0" y="12"/>
                      </a:moveTo>
                      <a:lnTo>
                        <a:pt x="21" y="12"/>
                      </a:lnTo>
                      <a:lnTo>
                        <a:pt x="8" y="75"/>
                      </a:lnTo>
                      <a:lnTo>
                        <a:pt x="23" y="75"/>
                      </a:lnTo>
                      <a:lnTo>
                        <a:pt x="35" y="12"/>
                      </a:lnTo>
                      <a:lnTo>
                        <a:pt x="58" y="12"/>
                      </a:lnTo>
                      <a:lnTo>
                        <a:pt x="60" y="0"/>
                      </a:lnTo>
                      <a:lnTo>
                        <a:pt x="2" y="0"/>
                      </a:lnTo>
                      <a:lnTo>
                        <a:pt x="0" y="12"/>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0" name="işḻîdè"/>
                <p:cNvSpPr/>
                <p:nvPr/>
              </p:nvSpPr>
              <p:spPr bwMode="auto">
                <a:xfrm>
                  <a:off x="8531226" y="3521075"/>
                  <a:ext cx="109538" cy="119063"/>
                </a:xfrm>
                <a:custGeom>
                  <a:avLst/>
                  <a:gdLst>
                    <a:gd name="T0" fmla="*/ 25 w 33"/>
                    <a:gd name="T1" fmla="*/ 0 h 36"/>
                    <a:gd name="T2" fmla="*/ 19 w 33"/>
                    <a:gd name="T3" fmla="*/ 7 h 36"/>
                    <a:gd name="T4" fmla="*/ 16 w 33"/>
                    <a:gd name="T5" fmla="*/ 12 h 36"/>
                    <a:gd name="T6" fmla="*/ 14 w 33"/>
                    <a:gd name="T7" fmla="*/ 15 h 36"/>
                    <a:gd name="T8" fmla="*/ 12 w 33"/>
                    <a:gd name="T9" fmla="*/ 10 h 36"/>
                    <a:gd name="T10" fmla="*/ 8 w 33"/>
                    <a:gd name="T11" fmla="*/ 0 h 36"/>
                    <a:gd name="T12" fmla="*/ 0 w 33"/>
                    <a:gd name="T13" fmla="*/ 0 h 36"/>
                    <a:gd name="T14" fmla="*/ 10 w 33"/>
                    <a:gd name="T15" fmla="*/ 22 h 36"/>
                    <a:gd name="T16" fmla="*/ 7 w 33"/>
                    <a:gd name="T17" fmla="*/ 36 h 36"/>
                    <a:gd name="T18" fmla="*/ 14 w 33"/>
                    <a:gd name="T19" fmla="*/ 36 h 36"/>
                    <a:gd name="T20" fmla="*/ 17 w 33"/>
                    <a:gd name="T21" fmla="*/ 23 h 36"/>
                    <a:gd name="T22" fmla="*/ 33 w 33"/>
                    <a:gd name="T23" fmla="*/ 0 h 36"/>
                    <a:gd name="T24" fmla="*/ 25 w 33"/>
                    <a:gd name="T2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36">
                      <a:moveTo>
                        <a:pt x="25" y="0"/>
                      </a:moveTo>
                      <a:cubicBezTo>
                        <a:pt x="19" y="7"/>
                        <a:pt x="19" y="7"/>
                        <a:pt x="19" y="7"/>
                      </a:cubicBezTo>
                      <a:cubicBezTo>
                        <a:pt x="16" y="12"/>
                        <a:pt x="16" y="12"/>
                        <a:pt x="16" y="12"/>
                      </a:cubicBezTo>
                      <a:cubicBezTo>
                        <a:pt x="15" y="13"/>
                        <a:pt x="15" y="14"/>
                        <a:pt x="14" y="15"/>
                      </a:cubicBezTo>
                      <a:cubicBezTo>
                        <a:pt x="14" y="14"/>
                        <a:pt x="13" y="13"/>
                        <a:pt x="12" y="10"/>
                      </a:cubicBezTo>
                      <a:cubicBezTo>
                        <a:pt x="8" y="0"/>
                        <a:pt x="8" y="0"/>
                        <a:pt x="8" y="0"/>
                      </a:cubicBezTo>
                      <a:cubicBezTo>
                        <a:pt x="0" y="0"/>
                        <a:pt x="0" y="0"/>
                        <a:pt x="0" y="0"/>
                      </a:cubicBezTo>
                      <a:cubicBezTo>
                        <a:pt x="10" y="22"/>
                        <a:pt x="10" y="22"/>
                        <a:pt x="10" y="22"/>
                      </a:cubicBezTo>
                      <a:cubicBezTo>
                        <a:pt x="7" y="36"/>
                        <a:pt x="7" y="36"/>
                        <a:pt x="7" y="36"/>
                      </a:cubicBezTo>
                      <a:cubicBezTo>
                        <a:pt x="14" y="36"/>
                        <a:pt x="14" y="36"/>
                        <a:pt x="14" y="36"/>
                      </a:cubicBezTo>
                      <a:cubicBezTo>
                        <a:pt x="17" y="23"/>
                        <a:pt x="17" y="23"/>
                        <a:pt x="17" y="23"/>
                      </a:cubicBezTo>
                      <a:cubicBezTo>
                        <a:pt x="33" y="0"/>
                        <a:pt x="33" y="0"/>
                        <a:pt x="33" y="0"/>
                      </a:cubicBezTo>
                      <a:lnTo>
                        <a:pt x="25"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grpSp>
        </p:grpSp>
      </p:grpSp>
      <p:pic>
        <p:nvPicPr>
          <p:cNvPr id="3" name="图片 2" descr="徽标&#10;&#10;描述已自动生成"/>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30569" y="6032865"/>
            <a:ext cx="704610" cy="701792"/>
          </a:xfrm>
          <a:prstGeom prst="rect">
            <a:avLst/>
          </a:prstGeom>
        </p:spPr>
      </p:pic>
      <p:pic>
        <p:nvPicPr>
          <p:cNvPr id="115" name="图片 1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747609" y="6080409"/>
            <a:ext cx="476327" cy="644954"/>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spTree>
      <p:nvGrpSpPr>
        <p:cNvPr id="1" name=""/>
        <p:cNvGrpSpPr/>
        <p:nvPr/>
      </p:nvGrpSpPr>
      <p:grpSpPr>
        <a:xfrm>
          <a:off x="0" y="0"/>
          <a:ext cx="0" cy="0"/>
          <a:chOff x="0" y="0"/>
          <a:chExt cx="0" cy="0"/>
        </a:xfrm>
      </p:grpSpPr>
      <p:pic>
        <p:nvPicPr>
          <p:cNvPr id="4" name="图片 3"/>
          <p:cNvPicPr>
            <a:picLocks noChangeAspect="1"/>
          </p:cNvPicPr>
          <p:nvPr userDrawn="1"/>
        </p:nvPicPr>
        <p:blipFill rotWithShape="1">
          <a:blip r:embed="rId2">
            <a:alphaModFix amt="14000"/>
            <a:duotone>
              <a:schemeClr val="accent1">
                <a:shade val="45000"/>
                <a:satMod val="135000"/>
              </a:schemeClr>
              <a:prstClr val="white"/>
            </a:duotone>
          </a:blip>
          <a:srcRect r="16558" b="17670"/>
          <a:stretch>
            <a:fillRect/>
          </a:stretch>
        </p:blipFill>
        <p:spPr>
          <a:xfrm>
            <a:off x="1" y="3123"/>
            <a:ext cx="12191998" cy="6854877"/>
          </a:xfrm>
          <a:prstGeom prst="rect">
            <a:avLst/>
          </a:prstGeom>
        </p:spPr>
      </p:pic>
      <p:sp>
        <p:nvSpPr>
          <p:cNvPr id="20" name="标题 19"/>
          <p:cNvSpPr>
            <a:spLocks noGrp="1"/>
          </p:cNvSpPr>
          <p:nvPr userDrawn="1">
            <p:ph type="title"/>
          </p:nvPr>
        </p:nvSpPr>
        <p:spPr>
          <a:xfrm>
            <a:off x="675698" y="2657929"/>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676814" y="3553279"/>
            <a:ext cx="5419185" cy="1015623"/>
          </a:xfrm>
        </p:spPr>
        <p:txBody>
          <a:bodyPr anchor="t">
            <a:normAutofit/>
          </a:bodyPr>
          <a:lstStyle>
            <a:lvl1pPr marL="0" indent="0" algn="l">
              <a:lnSpc>
                <a:spcPct val="150000"/>
              </a:lnSpc>
              <a:spcBef>
                <a:spcPts val="0"/>
              </a:spcBef>
              <a:buNone/>
              <a:defRPr sz="11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a:t>请在插入菜单</a:t>
            </a:r>
            <a:r>
              <a:rPr lang="en-US" altLang="zh-CN" dirty="0"/>
              <a:t>—</a:t>
            </a:r>
            <a:r>
              <a:rPr lang="zh-CN" altLang="en-US"/>
              <a:t>页眉和页脚中修改此文本</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a:t>请在插入菜单</a:t>
            </a:r>
            <a:r>
              <a:rPr lang="en-US" altLang="zh-CN" dirty="0"/>
              <a:t>—</a:t>
            </a:r>
            <a:r>
              <a:rPr lang="zh-CN" altLang="en-US"/>
              <a:t>页眉和页脚中修改此文本</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末尾幻灯片">
    <p:spTree>
      <p:nvGrpSpPr>
        <p:cNvPr id="1" name=""/>
        <p:cNvGrpSpPr/>
        <p:nvPr/>
      </p:nvGrpSpPr>
      <p:grpSpPr>
        <a:xfrm>
          <a:off x="0" y="0"/>
          <a:ext cx="0" cy="0"/>
          <a:chOff x="0" y="0"/>
          <a:chExt cx="0" cy="0"/>
        </a:xfrm>
      </p:grpSpPr>
      <p:pic>
        <p:nvPicPr>
          <p:cNvPr id="5" name="图片 4"/>
          <p:cNvPicPr>
            <a:picLocks noChangeAspect="1"/>
          </p:cNvPicPr>
          <p:nvPr userDrawn="1"/>
        </p:nvPicPr>
        <p:blipFill rotWithShape="1">
          <a:blip r:embed="rId2">
            <a:alphaModFix amt="14000"/>
            <a:duotone>
              <a:schemeClr val="accent1">
                <a:shade val="45000"/>
                <a:satMod val="135000"/>
              </a:schemeClr>
              <a:prstClr val="white"/>
            </a:duotone>
          </a:blip>
          <a:srcRect r="16558" b="17670"/>
          <a:stretch>
            <a:fillRect/>
          </a:stretch>
        </p:blipFill>
        <p:spPr>
          <a:xfrm>
            <a:off x="1" y="3123"/>
            <a:ext cx="12191998" cy="6854877"/>
          </a:xfrm>
          <a:prstGeom prst="rect">
            <a:avLst/>
          </a:prstGeom>
        </p:spPr>
      </p:pic>
      <p:sp>
        <p:nvSpPr>
          <p:cNvPr id="13" name="标题 12"/>
          <p:cNvSpPr>
            <a:spLocks noGrp="1"/>
          </p:cNvSpPr>
          <p:nvPr userDrawn="1">
            <p:ph type="ctrTitle" hasCustomPrompt="1"/>
          </p:nvPr>
        </p:nvSpPr>
        <p:spPr>
          <a:xfrm>
            <a:off x="1101897" y="1492431"/>
            <a:ext cx="10845798" cy="162150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101897" y="3798667"/>
            <a:ext cx="10845798" cy="310871"/>
          </a:xfrm>
        </p:spPr>
        <p:txBody>
          <a:bodyPr vert="horz" lIns="91440" tIns="45720" rIns="91440" bIns="45720" rtlCol="0">
            <a:normAutofit/>
          </a:bodyPr>
          <a:lstStyle>
            <a:lvl1pPr marL="0" indent="0" algn="l">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endParaRPr lang="en-US" altLang="zh-CN" dirty="0"/>
          </a:p>
        </p:txBody>
      </p:sp>
      <p:sp>
        <p:nvSpPr>
          <p:cNvPr id="6" name="文本占位符 5"/>
          <p:cNvSpPr>
            <a:spLocks noGrp="1"/>
          </p:cNvSpPr>
          <p:nvPr>
            <p:ph type="body" sz="quarter" idx="10" hasCustomPrompt="1"/>
          </p:nvPr>
        </p:nvSpPr>
        <p:spPr>
          <a:xfrm>
            <a:off x="1101899" y="3502396"/>
            <a:ext cx="10845798" cy="296271"/>
          </a:xfrm>
        </p:spPr>
        <p:txBody>
          <a:bodyPr vert="horz" anchor="ctr">
            <a:noAutofit/>
          </a:bodyPr>
          <a:lstStyle>
            <a:lvl1pPr marL="0" indent="0" algn="l">
              <a:buNone/>
              <a:defRPr sz="14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grpSp>
        <p:nvGrpSpPr>
          <p:cNvPr id="10" name="组合 9"/>
          <p:cNvGrpSpPr/>
          <p:nvPr userDrawn="1"/>
        </p:nvGrpSpPr>
        <p:grpSpPr>
          <a:xfrm>
            <a:off x="9437983" y="6036892"/>
            <a:ext cx="2264418" cy="701791"/>
            <a:chOff x="4996000" y="520587"/>
            <a:chExt cx="2264418" cy="701791"/>
          </a:xfrm>
        </p:grpSpPr>
        <p:grpSp>
          <p:nvGrpSpPr>
            <p:cNvPr id="11" name="ïşľïḍé"/>
            <p:cNvGrpSpPr/>
            <p:nvPr/>
          </p:nvGrpSpPr>
          <p:grpSpPr>
            <a:xfrm>
              <a:off x="4996000" y="520587"/>
              <a:ext cx="697196" cy="701791"/>
              <a:chOff x="3551238" y="3067050"/>
              <a:chExt cx="722313" cy="727075"/>
            </a:xfrm>
          </p:grpSpPr>
          <p:sp>
            <p:nvSpPr>
              <p:cNvPr id="43" name="íśľiḓê"/>
              <p:cNvSpPr/>
              <p:nvPr/>
            </p:nvSpPr>
            <p:spPr bwMode="auto">
              <a:xfrm>
                <a:off x="3575051" y="3087688"/>
                <a:ext cx="673100" cy="679450"/>
              </a:xfrm>
              <a:custGeom>
                <a:avLst/>
                <a:gdLst>
                  <a:gd name="T0" fmla="*/ 102 w 204"/>
                  <a:gd name="T1" fmla="*/ 0 h 204"/>
                  <a:gd name="T2" fmla="*/ 204 w 204"/>
                  <a:gd name="T3" fmla="*/ 102 h 204"/>
                  <a:gd name="T4" fmla="*/ 102 w 204"/>
                  <a:gd name="T5" fmla="*/ 204 h 204"/>
                  <a:gd name="T6" fmla="*/ 0 w 204"/>
                  <a:gd name="T7" fmla="*/ 102 h 204"/>
                  <a:gd name="T8" fmla="*/ 102 w 204"/>
                  <a:gd name="T9" fmla="*/ 0 h 204"/>
                  <a:gd name="T10" fmla="*/ 102 w 204"/>
                  <a:gd name="T11" fmla="*/ 25 h 204"/>
                  <a:gd name="T12" fmla="*/ 24 w 204"/>
                  <a:gd name="T13" fmla="*/ 103 h 204"/>
                  <a:gd name="T14" fmla="*/ 102 w 204"/>
                  <a:gd name="T15" fmla="*/ 181 h 204"/>
                  <a:gd name="T16" fmla="*/ 180 w 204"/>
                  <a:gd name="T17" fmla="*/ 103 h 204"/>
                  <a:gd name="T18" fmla="*/ 102 w 204"/>
                  <a:gd name="T19" fmla="*/ 2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 h="204">
                    <a:moveTo>
                      <a:pt x="102" y="0"/>
                    </a:moveTo>
                    <a:cubicBezTo>
                      <a:pt x="159" y="0"/>
                      <a:pt x="204" y="46"/>
                      <a:pt x="204" y="102"/>
                    </a:cubicBezTo>
                    <a:cubicBezTo>
                      <a:pt x="204" y="158"/>
                      <a:pt x="159" y="204"/>
                      <a:pt x="102" y="204"/>
                    </a:cubicBezTo>
                    <a:cubicBezTo>
                      <a:pt x="46" y="204"/>
                      <a:pt x="0" y="158"/>
                      <a:pt x="0" y="102"/>
                    </a:cubicBezTo>
                    <a:cubicBezTo>
                      <a:pt x="0" y="46"/>
                      <a:pt x="46" y="0"/>
                      <a:pt x="102" y="0"/>
                    </a:cubicBezTo>
                    <a:close/>
                    <a:moveTo>
                      <a:pt x="102" y="25"/>
                    </a:moveTo>
                    <a:cubicBezTo>
                      <a:pt x="59" y="25"/>
                      <a:pt x="24" y="60"/>
                      <a:pt x="24" y="103"/>
                    </a:cubicBezTo>
                    <a:cubicBezTo>
                      <a:pt x="24" y="146"/>
                      <a:pt x="59" y="181"/>
                      <a:pt x="102" y="181"/>
                    </a:cubicBezTo>
                    <a:cubicBezTo>
                      <a:pt x="145" y="181"/>
                      <a:pt x="180" y="146"/>
                      <a:pt x="180" y="103"/>
                    </a:cubicBezTo>
                    <a:cubicBezTo>
                      <a:pt x="180" y="60"/>
                      <a:pt x="145" y="25"/>
                      <a:pt x="102" y="25"/>
                    </a:cubicBezTo>
                    <a:close/>
                  </a:path>
                </a:pathLst>
              </a:custGeom>
              <a:solidFill>
                <a:srgbClr val="00523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44" name="íṣḷîḓé"/>
              <p:cNvSpPr/>
              <p:nvPr/>
            </p:nvSpPr>
            <p:spPr bwMode="auto">
              <a:xfrm>
                <a:off x="3621088" y="3103563"/>
                <a:ext cx="584200" cy="203200"/>
              </a:xfrm>
              <a:custGeom>
                <a:avLst/>
                <a:gdLst>
                  <a:gd name="T0" fmla="*/ 8 w 177"/>
                  <a:gd name="T1" fmla="*/ 53 h 61"/>
                  <a:gd name="T2" fmla="*/ 0 w 177"/>
                  <a:gd name="T3" fmla="*/ 56 h 61"/>
                  <a:gd name="T4" fmla="*/ 5 w 177"/>
                  <a:gd name="T5" fmla="*/ 52 h 61"/>
                  <a:gd name="T6" fmla="*/ 4 w 177"/>
                  <a:gd name="T7" fmla="*/ 50 h 61"/>
                  <a:gd name="T8" fmla="*/ 5 w 177"/>
                  <a:gd name="T9" fmla="*/ 48 h 61"/>
                  <a:gd name="T10" fmla="*/ 10 w 177"/>
                  <a:gd name="T11" fmla="*/ 41 h 61"/>
                  <a:gd name="T12" fmla="*/ 17 w 177"/>
                  <a:gd name="T13" fmla="*/ 50 h 61"/>
                  <a:gd name="T14" fmla="*/ 14 w 177"/>
                  <a:gd name="T15" fmla="*/ 35 h 61"/>
                  <a:gd name="T16" fmla="*/ 23 w 177"/>
                  <a:gd name="T17" fmla="*/ 46 h 61"/>
                  <a:gd name="T18" fmla="*/ 31 w 177"/>
                  <a:gd name="T19" fmla="*/ 38 h 61"/>
                  <a:gd name="T20" fmla="*/ 29 w 177"/>
                  <a:gd name="T21" fmla="*/ 40 h 61"/>
                  <a:gd name="T22" fmla="*/ 18 w 177"/>
                  <a:gd name="T23" fmla="*/ 32 h 61"/>
                  <a:gd name="T24" fmla="*/ 19 w 177"/>
                  <a:gd name="T25" fmla="*/ 30 h 61"/>
                  <a:gd name="T26" fmla="*/ 21 w 177"/>
                  <a:gd name="T27" fmla="*/ 27 h 61"/>
                  <a:gd name="T28" fmla="*/ 41 w 177"/>
                  <a:gd name="T29" fmla="*/ 29 h 61"/>
                  <a:gd name="T30" fmla="*/ 43 w 177"/>
                  <a:gd name="T31" fmla="*/ 29 h 61"/>
                  <a:gd name="T32" fmla="*/ 35 w 177"/>
                  <a:gd name="T33" fmla="*/ 35 h 61"/>
                  <a:gd name="T34" fmla="*/ 31 w 177"/>
                  <a:gd name="T35" fmla="*/ 21 h 61"/>
                  <a:gd name="T36" fmla="*/ 46 w 177"/>
                  <a:gd name="T37" fmla="*/ 11 h 61"/>
                  <a:gd name="T38" fmla="*/ 47 w 177"/>
                  <a:gd name="T39" fmla="*/ 11 h 61"/>
                  <a:gd name="T40" fmla="*/ 47 w 177"/>
                  <a:gd name="T41" fmla="*/ 26 h 61"/>
                  <a:gd name="T42" fmla="*/ 39 w 177"/>
                  <a:gd name="T43" fmla="*/ 15 h 61"/>
                  <a:gd name="T44" fmla="*/ 72 w 177"/>
                  <a:gd name="T45" fmla="*/ 16 h 61"/>
                  <a:gd name="T46" fmla="*/ 71 w 177"/>
                  <a:gd name="T47" fmla="*/ 2 h 61"/>
                  <a:gd name="T48" fmla="*/ 65 w 177"/>
                  <a:gd name="T49" fmla="*/ 15 h 61"/>
                  <a:gd name="T50" fmla="*/ 64 w 177"/>
                  <a:gd name="T51" fmla="*/ 4 h 61"/>
                  <a:gd name="T52" fmla="*/ 84 w 177"/>
                  <a:gd name="T53" fmla="*/ 1 h 61"/>
                  <a:gd name="T54" fmla="*/ 84 w 177"/>
                  <a:gd name="T55" fmla="*/ 1 h 61"/>
                  <a:gd name="T56" fmla="*/ 78 w 177"/>
                  <a:gd name="T57" fmla="*/ 16 h 61"/>
                  <a:gd name="T58" fmla="*/ 77 w 177"/>
                  <a:gd name="T59" fmla="*/ 15 h 61"/>
                  <a:gd name="T60" fmla="*/ 90 w 177"/>
                  <a:gd name="T61" fmla="*/ 1 h 61"/>
                  <a:gd name="T62" fmla="*/ 94 w 177"/>
                  <a:gd name="T63" fmla="*/ 15 h 61"/>
                  <a:gd name="T64" fmla="*/ 92 w 177"/>
                  <a:gd name="T65" fmla="*/ 15 h 61"/>
                  <a:gd name="T66" fmla="*/ 113 w 177"/>
                  <a:gd name="T67" fmla="*/ 3 h 61"/>
                  <a:gd name="T68" fmla="*/ 102 w 177"/>
                  <a:gd name="T69" fmla="*/ 2 h 61"/>
                  <a:gd name="T70" fmla="*/ 105 w 177"/>
                  <a:gd name="T71" fmla="*/ 14 h 61"/>
                  <a:gd name="T72" fmla="*/ 117 w 177"/>
                  <a:gd name="T73" fmla="*/ 5 h 61"/>
                  <a:gd name="T74" fmla="*/ 122 w 177"/>
                  <a:gd name="T75" fmla="*/ 19 h 61"/>
                  <a:gd name="T76" fmla="*/ 119 w 177"/>
                  <a:gd name="T77" fmla="*/ 13 h 61"/>
                  <a:gd name="T78" fmla="*/ 121 w 177"/>
                  <a:gd name="T79" fmla="*/ 12 h 61"/>
                  <a:gd name="T80" fmla="*/ 124 w 177"/>
                  <a:gd name="T81" fmla="*/ 10 h 61"/>
                  <a:gd name="T82" fmla="*/ 131 w 177"/>
                  <a:gd name="T83" fmla="*/ 26 h 61"/>
                  <a:gd name="T84" fmla="*/ 126 w 177"/>
                  <a:gd name="T85" fmla="*/ 23 h 61"/>
                  <a:gd name="T86" fmla="*/ 124 w 177"/>
                  <a:gd name="T87" fmla="*/ 23 h 61"/>
                  <a:gd name="T88" fmla="*/ 137 w 177"/>
                  <a:gd name="T89" fmla="*/ 14 h 61"/>
                  <a:gd name="T90" fmla="*/ 133 w 177"/>
                  <a:gd name="T91" fmla="*/ 11 h 61"/>
                  <a:gd name="T92" fmla="*/ 137 w 177"/>
                  <a:gd name="T93" fmla="*/ 32 h 61"/>
                  <a:gd name="T94" fmla="*/ 137 w 177"/>
                  <a:gd name="T95" fmla="*/ 32 h 61"/>
                  <a:gd name="T96" fmla="*/ 145 w 177"/>
                  <a:gd name="T97" fmla="*/ 19 h 61"/>
                  <a:gd name="T98" fmla="*/ 146 w 177"/>
                  <a:gd name="T99" fmla="*/ 19 h 61"/>
                  <a:gd name="T100" fmla="*/ 159 w 177"/>
                  <a:gd name="T101" fmla="*/ 31 h 61"/>
                  <a:gd name="T102" fmla="*/ 149 w 177"/>
                  <a:gd name="T103" fmla="*/ 42 h 61"/>
                  <a:gd name="T104" fmla="*/ 155 w 177"/>
                  <a:gd name="T105" fmla="*/ 27 h 61"/>
                  <a:gd name="T106" fmla="*/ 166 w 177"/>
                  <a:gd name="T107" fmla="*/ 40 h 61"/>
                  <a:gd name="T108" fmla="*/ 160 w 177"/>
                  <a:gd name="T109" fmla="*/ 37 h 61"/>
                  <a:gd name="T110" fmla="*/ 153 w 177"/>
                  <a:gd name="T111" fmla="*/ 46 h 61"/>
                  <a:gd name="T112" fmla="*/ 177 w 177"/>
                  <a:gd name="T113" fmla="*/ 55 h 61"/>
                  <a:gd name="T114" fmla="*/ 162 w 177"/>
                  <a:gd name="T115" fmla="*/ 60 h 61"/>
                  <a:gd name="T116" fmla="*/ 165 w 177"/>
                  <a:gd name="T117" fmla="*/ 55 h 61"/>
                  <a:gd name="T118" fmla="*/ 173 w 177"/>
                  <a:gd name="T119"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7" h="61">
                    <a:moveTo>
                      <a:pt x="6" y="46"/>
                    </a:moveTo>
                    <a:cubicBezTo>
                      <a:pt x="6" y="46"/>
                      <a:pt x="6" y="46"/>
                      <a:pt x="6" y="46"/>
                    </a:cubicBezTo>
                    <a:cubicBezTo>
                      <a:pt x="6" y="46"/>
                      <a:pt x="6" y="46"/>
                      <a:pt x="6" y="46"/>
                    </a:cubicBezTo>
                    <a:cubicBezTo>
                      <a:pt x="6" y="46"/>
                      <a:pt x="6" y="47"/>
                      <a:pt x="6" y="47"/>
                    </a:cubicBezTo>
                    <a:cubicBezTo>
                      <a:pt x="6" y="47"/>
                      <a:pt x="6" y="47"/>
                      <a:pt x="6" y="47"/>
                    </a:cubicBezTo>
                    <a:cubicBezTo>
                      <a:pt x="17" y="57"/>
                      <a:pt x="17" y="57"/>
                      <a:pt x="17" y="57"/>
                    </a:cubicBezTo>
                    <a:cubicBezTo>
                      <a:pt x="17" y="57"/>
                      <a:pt x="17" y="57"/>
                      <a:pt x="17" y="57"/>
                    </a:cubicBezTo>
                    <a:cubicBezTo>
                      <a:pt x="8" y="53"/>
                      <a:pt x="8" y="53"/>
                      <a:pt x="8" y="53"/>
                    </a:cubicBezTo>
                    <a:cubicBezTo>
                      <a:pt x="8" y="54"/>
                      <a:pt x="8" y="54"/>
                      <a:pt x="8" y="54"/>
                    </a:cubicBezTo>
                    <a:cubicBezTo>
                      <a:pt x="15" y="60"/>
                      <a:pt x="15" y="60"/>
                      <a:pt x="15" y="60"/>
                    </a:cubicBezTo>
                    <a:cubicBezTo>
                      <a:pt x="15" y="61"/>
                      <a:pt x="15" y="61"/>
                      <a:pt x="15" y="61"/>
                    </a:cubicBezTo>
                    <a:cubicBezTo>
                      <a:pt x="1" y="55"/>
                      <a:pt x="1" y="55"/>
                      <a:pt x="1" y="55"/>
                    </a:cubicBezTo>
                    <a:cubicBezTo>
                      <a:pt x="1" y="55"/>
                      <a:pt x="1" y="55"/>
                      <a:pt x="1" y="55"/>
                    </a:cubicBezTo>
                    <a:cubicBezTo>
                      <a:pt x="1" y="55"/>
                      <a:pt x="1" y="55"/>
                      <a:pt x="1" y="55"/>
                    </a:cubicBezTo>
                    <a:cubicBezTo>
                      <a:pt x="0" y="56"/>
                      <a:pt x="0" y="56"/>
                      <a:pt x="0" y="56"/>
                    </a:cubicBezTo>
                    <a:cubicBezTo>
                      <a:pt x="0" y="56"/>
                      <a:pt x="0" y="56"/>
                      <a:pt x="0" y="56"/>
                    </a:cubicBezTo>
                    <a:cubicBezTo>
                      <a:pt x="2" y="53"/>
                      <a:pt x="2" y="53"/>
                      <a:pt x="2" y="53"/>
                    </a:cubicBezTo>
                    <a:cubicBezTo>
                      <a:pt x="2" y="53"/>
                      <a:pt x="2" y="53"/>
                      <a:pt x="2" y="53"/>
                    </a:cubicBezTo>
                    <a:cubicBezTo>
                      <a:pt x="2" y="53"/>
                      <a:pt x="2" y="53"/>
                      <a:pt x="2" y="53"/>
                    </a:cubicBezTo>
                    <a:cubicBezTo>
                      <a:pt x="2" y="53"/>
                      <a:pt x="2" y="54"/>
                      <a:pt x="2" y="54"/>
                    </a:cubicBezTo>
                    <a:cubicBezTo>
                      <a:pt x="2" y="54"/>
                      <a:pt x="2" y="54"/>
                      <a:pt x="2" y="54"/>
                    </a:cubicBezTo>
                    <a:cubicBezTo>
                      <a:pt x="11" y="58"/>
                      <a:pt x="11" y="58"/>
                      <a:pt x="11" y="58"/>
                    </a:cubicBezTo>
                    <a:cubicBezTo>
                      <a:pt x="12" y="58"/>
                      <a:pt x="12" y="58"/>
                      <a:pt x="12" y="58"/>
                    </a:cubicBezTo>
                    <a:cubicBezTo>
                      <a:pt x="5" y="52"/>
                      <a:pt x="5" y="52"/>
                      <a:pt x="5" y="52"/>
                    </a:cubicBezTo>
                    <a:cubicBezTo>
                      <a:pt x="4" y="52"/>
                      <a:pt x="4" y="52"/>
                      <a:pt x="4" y="52"/>
                    </a:cubicBezTo>
                    <a:cubicBezTo>
                      <a:pt x="3" y="52"/>
                      <a:pt x="3" y="52"/>
                      <a:pt x="3" y="52"/>
                    </a:cubicBezTo>
                    <a:cubicBezTo>
                      <a:pt x="3" y="52"/>
                      <a:pt x="3" y="52"/>
                      <a:pt x="3" y="52"/>
                    </a:cubicBezTo>
                    <a:cubicBezTo>
                      <a:pt x="3" y="52"/>
                      <a:pt x="3" y="52"/>
                      <a:pt x="3" y="52"/>
                    </a:cubicBezTo>
                    <a:cubicBezTo>
                      <a:pt x="2" y="52"/>
                      <a:pt x="2" y="52"/>
                      <a:pt x="2" y="52"/>
                    </a:cubicBezTo>
                    <a:cubicBezTo>
                      <a:pt x="4" y="49"/>
                      <a:pt x="4" y="49"/>
                      <a:pt x="4" y="49"/>
                    </a:cubicBezTo>
                    <a:cubicBezTo>
                      <a:pt x="4" y="49"/>
                      <a:pt x="4" y="49"/>
                      <a:pt x="4" y="49"/>
                    </a:cubicBezTo>
                    <a:cubicBezTo>
                      <a:pt x="4" y="50"/>
                      <a:pt x="4" y="50"/>
                      <a:pt x="4" y="50"/>
                    </a:cubicBezTo>
                    <a:cubicBezTo>
                      <a:pt x="4" y="50"/>
                      <a:pt x="4" y="50"/>
                      <a:pt x="4" y="50"/>
                    </a:cubicBezTo>
                    <a:cubicBezTo>
                      <a:pt x="4" y="50"/>
                      <a:pt x="4" y="50"/>
                      <a:pt x="4" y="51"/>
                    </a:cubicBezTo>
                    <a:cubicBezTo>
                      <a:pt x="13" y="54"/>
                      <a:pt x="13" y="54"/>
                      <a:pt x="13" y="54"/>
                    </a:cubicBezTo>
                    <a:cubicBezTo>
                      <a:pt x="13" y="54"/>
                      <a:pt x="13" y="54"/>
                      <a:pt x="13" y="54"/>
                    </a:cubicBezTo>
                    <a:cubicBezTo>
                      <a:pt x="6" y="48"/>
                      <a:pt x="6" y="48"/>
                      <a:pt x="6" y="48"/>
                    </a:cubicBezTo>
                    <a:cubicBezTo>
                      <a:pt x="6" y="48"/>
                      <a:pt x="6" y="48"/>
                      <a:pt x="5" y="48"/>
                    </a:cubicBezTo>
                    <a:cubicBezTo>
                      <a:pt x="5" y="48"/>
                      <a:pt x="5" y="48"/>
                      <a:pt x="5" y="48"/>
                    </a:cubicBezTo>
                    <a:cubicBezTo>
                      <a:pt x="5" y="48"/>
                      <a:pt x="5" y="48"/>
                      <a:pt x="5" y="48"/>
                    </a:cubicBezTo>
                    <a:cubicBezTo>
                      <a:pt x="4" y="48"/>
                      <a:pt x="4" y="48"/>
                      <a:pt x="4" y="48"/>
                    </a:cubicBezTo>
                    <a:cubicBezTo>
                      <a:pt x="6" y="46"/>
                      <a:pt x="6" y="46"/>
                      <a:pt x="6" y="46"/>
                    </a:cubicBezTo>
                    <a:close/>
                    <a:moveTo>
                      <a:pt x="22" y="48"/>
                    </a:moveTo>
                    <a:cubicBezTo>
                      <a:pt x="22" y="49"/>
                      <a:pt x="21" y="49"/>
                      <a:pt x="21" y="49"/>
                    </a:cubicBezTo>
                    <a:cubicBezTo>
                      <a:pt x="20" y="50"/>
                      <a:pt x="19" y="49"/>
                      <a:pt x="18" y="48"/>
                    </a:cubicBezTo>
                    <a:cubicBezTo>
                      <a:pt x="10" y="42"/>
                      <a:pt x="10" y="42"/>
                      <a:pt x="10" y="42"/>
                    </a:cubicBezTo>
                    <a:cubicBezTo>
                      <a:pt x="10" y="42"/>
                      <a:pt x="10" y="41"/>
                      <a:pt x="10" y="41"/>
                    </a:cubicBezTo>
                    <a:cubicBezTo>
                      <a:pt x="10" y="41"/>
                      <a:pt x="10" y="41"/>
                      <a:pt x="10" y="41"/>
                    </a:cubicBezTo>
                    <a:cubicBezTo>
                      <a:pt x="10" y="40"/>
                      <a:pt x="10" y="40"/>
                      <a:pt x="10" y="40"/>
                    </a:cubicBezTo>
                    <a:cubicBezTo>
                      <a:pt x="10" y="40"/>
                      <a:pt x="10" y="40"/>
                      <a:pt x="10" y="40"/>
                    </a:cubicBezTo>
                    <a:cubicBezTo>
                      <a:pt x="7" y="43"/>
                      <a:pt x="7" y="43"/>
                      <a:pt x="7" y="43"/>
                    </a:cubicBezTo>
                    <a:cubicBezTo>
                      <a:pt x="8" y="43"/>
                      <a:pt x="8" y="43"/>
                      <a:pt x="8" y="43"/>
                    </a:cubicBezTo>
                    <a:cubicBezTo>
                      <a:pt x="8" y="43"/>
                      <a:pt x="8" y="43"/>
                      <a:pt x="8" y="43"/>
                    </a:cubicBezTo>
                    <a:cubicBezTo>
                      <a:pt x="8" y="43"/>
                      <a:pt x="8" y="43"/>
                      <a:pt x="8" y="43"/>
                    </a:cubicBezTo>
                    <a:cubicBezTo>
                      <a:pt x="9" y="43"/>
                      <a:pt x="9" y="43"/>
                      <a:pt x="9" y="43"/>
                    </a:cubicBezTo>
                    <a:cubicBezTo>
                      <a:pt x="17" y="50"/>
                      <a:pt x="17" y="50"/>
                      <a:pt x="17" y="50"/>
                    </a:cubicBezTo>
                    <a:cubicBezTo>
                      <a:pt x="18" y="50"/>
                      <a:pt x="19" y="51"/>
                      <a:pt x="20" y="50"/>
                    </a:cubicBezTo>
                    <a:cubicBezTo>
                      <a:pt x="21" y="50"/>
                      <a:pt x="22" y="50"/>
                      <a:pt x="23" y="49"/>
                    </a:cubicBezTo>
                    <a:cubicBezTo>
                      <a:pt x="24" y="48"/>
                      <a:pt x="24" y="47"/>
                      <a:pt x="24" y="46"/>
                    </a:cubicBezTo>
                    <a:cubicBezTo>
                      <a:pt x="24" y="45"/>
                      <a:pt x="23" y="44"/>
                      <a:pt x="22" y="43"/>
                    </a:cubicBezTo>
                    <a:cubicBezTo>
                      <a:pt x="14" y="36"/>
                      <a:pt x="14" y="36"/>
                      <a:pt x="14" y="36"/>
                    </a:cubicBezTo>
                    <a:cubicBezTo>
                      <a:pt x="14" y="36"/>
                      <a:pt x="14" y="36"/>
                      <a:pt x="14" y="36"/>
                    </a:cubicBezTo>
                    <a:cubicBezTo>
                      <a:pt x="14" y="36"/>
                      <a:pt x="14" y="36"/>
                      <a:pt x="14" y="35"/>
                    </a:cubicBezTo>
                    <a:cubicBezTo>
                      <a:pt x="14" y="35"/>
                      <a:pt x="14" y="35"/>
                      <a:pt x="14" y="35"/>
                    </a:cubicBezTo>
                    <a:cubicBezTo>
                      <a:pt x="14" y="35"/>
                      <a:pt x="14" y="35"/>
                      <a:pt x="14" y="35"/>
                    </a:cubicBezTo>
                    <a:cubicBezTo>
                      <a:pt x="12" y="37"/>
                      <a:pt x="12" y="37"/>
                      <a:pt x="12" y="37"/>
                    </a:cubicBezTo>
                    <a:cubicBezTo>
                      <a:pt x="12" y="38"/>
                      <a:pt x="12" y="38"/>
                      <a:pt x="12" y="38"/>
                    </a:cubicBezTo>
                    <a:cubicBezTo>
                      <a:pt x="13" y="37"/>
                      <a:pt x="13" y="37"/>
                      <a:pt x="13" y="37"/>
                    </a:cubicBezTo>
                    <a:cubicBezTo>
                      <a:pt x="13" y="37"/>
                      <a:pt x="13" y="37"/>
                      <a:pt x="13" y="37"/>
                    </a:cubicBezTo>
                    <a:cubicBezTo>
                      <a:pt x="13" y="37"/>
                      <a:pt x="14" y="37"/>
                      <a:pt x="14" y="37"/>
                    </a:cubicBezTo>
                    <a:cubicBezTo>
                      <a:pt x="22" y="44"/>
                      <a:pt x="22" y="44"/>
                      <a:pt x="22" y="44"/>
                    </a:cubicBezTo>
                    <a:cubicBezTo>
                      <a:pt x="23" y="44"/>
                      <a:pt x="23" y="45"/>
                      <a:pt x="23" y="46"/>
                    </a:cubicBezTo>
                    <a:cubicBezTo>
                      <a:pt x="23" y="47"/>
                      <a:pt x="23" y="47"/>
                      <a:pt x="22" y="48"/>
                    </a:cubicBezTo>
                    <a:close/>
                    <a:moveTo>
                      <a:pt x="33" y="36"/>
                    </a:moveTo>
                    <a:cubicBezTo>
                      <a:pt x="33" y="36"/>
                      <a:pt x="33" y="36"/>
                      <a:pt x="33" y="36"/>
                    </a:cubicBezTo>
                    <a:cubicBezTo>
                      <a:pt x="33" y="36"/>
                      <a:pt x="34" y="36"/>
                      <a:pt x="34" y="36"/>
                    </a:cubicBezTo>
                    <a:cubicBezTo>
                      <a:pt x="34" y="35"/>
                      <a:pt x="34" y="35"/>
                      <a:pt x="34" y="35"/>
                    </a:cubicBezTo>
                    <a:cubicBezTo>
                      <a:pt x="35" y="36"/>
                      <a:pt x="35" y="36"/>
                      <a:pt x="35" y="36"/>
                    </a:cubicBezTo>
                    <a:cubicBezTo>
                      <a:pt x="32" y="39"/>
                      <a:pt x="32" y="39"/>
                      <a:pt x="32" y="39"/>
                    </a:cubicBezTo>
                    <a:cubicBezTo>
                      <a:pt x="31" y="38"/>
                      <a:pt x="31" y="38"/>
                      <a:pt x="31" y="38"/>
                    </a:cubicBezTo>
                    <a:cubicBezTo>
                      <a:pt x="32" y="38"/>
                      <a:pt x="32" y="38"/>
                      <a:pt x="32" y="38"/>
                    </a:cubicBezTo>
                    <a:cubicBezTo>
                      <a:pt x="32" y="38"/>
                      <a:pt x="32" y="37"/>
                      <a:pt x="32" y="37"/>
                    </a:cubicBezTo>
                    <a:cubicBezTo>
                      <a:pt x="32" y="37"/>
                      <a:pt x="32" y="37"/>
                      <a:pt x="32" y="37"/>
                    </a:cubicBezTo>
                    <a:cubicBezTo>
                      <a:pt x="27" y="32"/>
                      <a:pt x="27" y="32"/>
                      <a:pt x="27" y="32"/>
                    </a:cubicBezTo>
                    <a:cubicBezTo>
                      <a:pt x="23" y="36"/>
                      <a:pt x="23" y="36"/>
                      <a:pt x="23" y="36"/>
                    </a:cubicBezTo>
                    <a:cubicBezTo>
                      <a:pt x="28" y="40"/>
                      <a:pt x="28" y="40"/>
                      <a:pt x="28" y="40"/>
                    </a:cubicBezTo>
                    <a:cubicBezTo>
                      <a:pt x="28" y="41"/>
                      <a:pt x="28" y="41"/>
                      <a:pt x="28" y="41"/>
                    </a:cubicBezTo>
                    <a:cubicBezTo>
                      <a:pt x="28" y="41"/>
                      <a:pt x="29" y="41"/>
                      <a:pt x="29" y="40"/>
                    </a:cubicBezTo>
                    <a:cubicBezTo>
                      <a:pt x="29" y="40"/>
                      <a:pt x="29" y="40"/>
                      <a:pt x="29" y="40"/>
                    </a:cubicBezTo>
                    <a:cubicBezTo>
                      <a:pt x="30" y="41"/>
                      <a:pt x="30" y="41"/>
                      <a:pt x="30" y="41"/>
                    </a:cubicBezTo>
                    <a:cubicBezTo>
                      <a:pt x="27" y="43"/>
                      <a:pt x="27" y="43"/>
                      <a:pt x="27" y="43"/>
                    </a:cubicBezTo>
                    <a:cubicBezTo>
                      <a:pt x="26" y="43"/>
                      <a:pt x="26" y="43"/>
                      <a:pt x="26" y="43"/>
                    </a:cubicBezTo>
                    <a:cubicBezTo>
                      <a:pt x="27" y="43"/>
                      <a:pt x="27" y="43"/>
                      <a:pt x="27" y="43"/>
                    </a:cubicBezTo>
                    <a:cubicBezTo>
                      <a:pt x="27" y="42"/>
                      <a:pt x="27" y="42"/>
                      <a:pt x="27" y="42"/>
                    </a:cubicBezTo>
                    <a:cubicBezTo>
                      <a:pt x="27" y="42"/>
                      <a:pt x="27" y="42"/>
                      <a:pt x="27" y="41"/>
                    </a:cubicBezTo>
                    <a:cubicBezTo>
                      <a:pt x="18" y="32"/>
                      <a:pt x="18" y="32"/>
                      <a:pt x="18" y="32"/>
                    </a:cubicBezTo>
                    <a:cubicBezTo>
                      <a:pt x="18" y="32"/>
                      <a:pt x="17" y="32"/>
                      <a:pt x="17" y="32"/>
                    </a:cubicBezTo>
                    <a:cubicBezTo>
                      <a:pt x="17" y="32"/>
                      <a:pt x="17" y="32"/>
                      <a:pt x="17" y="32"/>
                    </a:cubicBezTo>
                    <a:cubicBezTo>
                      <a:pt x="16" y="32"/>
                      <a:pt x="16" y="32"/>
                      <a:pt x="16" y="32"/>
                    </a:cubicBezTo>
                    <a:cubicBezTo>
                      <a:pt x="16" y="32"/>
                      <a:pt x="16" y="32"/>
                      <a:pt x="16" y="32"/>
                    </a:cubicBezTo>
                    <a:cubicBezTo>
                      <a:pt x="19" y="29"/>
                      <a:pt x="19" y="29"/>
                      <a:pt x="19" y="29"/>
                    </a:cubicBezTo>
                    <a:cubicBezTo>
                      <a:pt x="19" y="29"/>
                      <a:pt x="19" y="29"/>
                      <a:pt x="19" y="29"/>
                    </a:cubicBezTo>
                    <a:cubicBezTo>
                      <a:pt x="19" y="30"/>
                      <a:pt x="19" y="30"/>
                      <a:pt x="19" y="30"/>
                    </a:cubicBezTo>
                    <a:cubicBezTo>
                      <a:pt x="19" y="30"/>
                      <a:pt x="19" y="30"/>
                      <a:pt x="19" y="30"/>
                    </a:cubicBezTo>
                    <a:cubicBezTo>
                      <a:pt x="19" y="30"/>
                      <a:pt x="19" y="31"/>
                      <a:pt x="19" y="31"/>
                    </a:cubicBezTo>
                    <a:cubicBezTo>
                      <a:pt x="23" y="35"/>
                      <a:pt x="23" y="35"/>
                      <a:pt x="23" y="35"/>
                    </a:cubicBezTo>
                    <a:cubicBezTo>
                      <a:pt x="27" y="31"/>
                      <a:pt x="27" y="31"/>
                      <a:pt x="27" y="31"/>
                    </a:cubicBezTo>
                    <a:cubicBezTo>
                      <a:pt x="23" y="27"/>
                      <a:pt x="23" y="27"/>
                      <a:pt x="23" y="27"/>
                    </a:cubicBezTo>
                    <a:cubicBezTo>
                      <a:pt x="23" y="27"/>
                      <a:pt x="22" y="27"/>
                      <a:pt x="22" y="27"/>
                    </a:cubicBezTo>
                    <a:cubicBezTo>
                      <a:pt x="22" y="27"/>
                      <a:pt x="22" y="27"/>
                      <a:pt x="22" y="27"/>
                    </a:cubicBezTo>
                    <a:cubicBezTo>
                      <a:pt x="21" y="27"/>
                      <a:pt x="21" y="27"/>
                      <a:pt x="21" y="27"/>
                    </a:cubicBezTo>
                    <a:cubicBezTo>
                      <a:pt x="21" y="27"/>
                      <a:pt x="21" y="27"/>
                      <a:pt x="21" y="27"/>
                    </a:cubicBezTo>
                    <a:cubicBezTo>
                      <a:pt x="24" y="24"/>
                      <a:pt x="24" y="24"/>
                      <a:pt x="24" y="24"/>
                    </a:cubicBezTo>
                    <a:cubicBezTo>
                      <a:pt x="24" y="25"/>
                      <a:pt x="24" y="25"/>
                      <a:pt x="24" y="25"/>
                    </a:cubicBezTo>
                    <a:cubicBezTo>
                      <a:pt x="24" y="25"/>
                      <a:pt x="24" y="25"/>
                      <a:pt x="24" y="25"/>
                    </a:cubicBezTo>
                    <a:cubicBezTo>
                      <a:pt x="24" y="25"/>
                      <a:pt x="24" y="25"/>
                      <a:pt x="24" y="26"/>
                    </a:cubicBezTo>
                    <a:cubicBezTo>
                      <a:pt x="24" y="26"/>
                      <a:pt x="24" y="26"/>
                      <a:pt x="24" y="26"/>
                    </a:cubicBezTo>
                    <a:cubicBezTo>
                      <a:pt x="33" y="36"/>
                      <a:pt x="33" y="36"/>
                      <a:pt x="33" y="36"/>
                    </a:cubicBezTo>
                    <a:close/>
                    <a:moveTo>
                      <a:pt x="38" y="26"/>
                    </a:moveTo>
                    <a:cubicBezTo>
                      <a:pt x="41" y="29"/>
                      <a:pt x="41" y="29"/>
                      <a:pt x="41" y="29"/>
                    </a:cubicBezTo>
                    <a:cubicBezTo>
                      <a:pt x="41" y="29"/>
                      <a:pt x="41" y="30"/>
                      <a:pt x="41" y="30"/>
                    </a:cubicBezTo>
                    <a:cubicBezTo>
                      <a:pt x="41" y="30"/>
                      <a:pt x="41" y="30"/>
                      <a:pt x="41" y="30"/>
                    </a:cubicBezTo>
                    <a:cubicBezTo>
                      <a:pt x="41" y="31"/>
                      <a:pt x="41" y="31"/>
                      <a:pt x="41" y="31"/>
                    </a:cubicBezTo>
                    <a:cubicBezTo>
                      <a:pt x="41" y="31"/>
                      <a:pt x="41" y="31"/>
                      <a:pt x="41" y="31"/>
                    </a:cubicBezTo>
                    <a:cubicBezTo>
                      <a:pt x="44" y="29"/>
                      <a:pt x="44" y="29"/>
                      <a:pt x="44" y="29"/>
                    </a:cubicBezTo>
                    <a:cubicBezTo>
                      <a:pt x="44" y="28"/>
                      <a:pt x="44" y="28"/>
                      <a:pt x="44" y="28"/>
                    </a:cubicBezTo>
                    <a:cubicBezTo>
                      <a:pt x="44" y="29"/>
                      <a:pt x="44" y="29"/>
                      <a:pt x="44" y="29"/>
                    </a:cubicBezTo>
                    <a:cubicBezTo>
                      <a:pt x="43" y="29"/>
                      <a:pt x="43" y="29"/>
                      <a:pt x="43" y="29"/>
                    </a:cubicBezTo>
                    <a:cubicBezTo>
                      <a:pt x="43" y="29"/>
                      <a:pt x="42" y="29"/>
                      <a:pt x="42" y="28"/>
                    </a:cubicBezTo>
                    <a:cubicBezTo>
                      <a:pt x="31" y="18"/>
                      <a:pt x="31" y="18"/>
                      <a:pt x="31" y="18"/>
                    </a:cubicBezTo>
                    <a:cubicBezTo>
                      <a:pt x="30" y="20"/>
                      <a:pt x="30" y="20"/>
                      <a:pt x="30" y="20"/>
                    </a:cubicBezTo>
                    <a:cubicBezTo>
                      <a:pt x="35" y="33"/>
                      <a:pt x="35" y="33"/>
                      <a:pt x="35" y="33"/>
                    </a:cubicBezTo>
                    <a:cubicBezTo>
                      <a:pt x="35" y="33"/>
                      <a:pt x="35" y="34"/>
                      <a:pt x="35" y="34"/>
                    </a:cubicBezTo>
                    <a:cubicBezTo>
                      <a:pt x="35" y="34"/>
                      <a:pt x="35" y="34"/>
                      <a:pt x="35" y="35"/>
                    </a:cubicBezTo>
                    <a:cubicBezTo>
                      <a:pt x="35" y="35"/>
                      <a:pt x="35" y="35"/>
                      <a:pt x="35" y="35"/>
                    </a:cubicBezTo>
                    <a:cubicBezTo>
                      <a:pt x="35" y="35"/>
                      <a:pt x="35" y="35"/>
                      <a:pt x="35" y="35"/>
                    </a:cubicBezTo>
                    <a:cubicBezTo>
                      <a:pt x="38" y="33"/>
                      <a:pt x="38" y="33"/>
                      <a:pt x="38" y="33"/>
                    </a:cubicBezTo>
                    <a:cubicBezTo>
                      <a:pt x="38" y="33"/>
                      <a:pt x="38" y="33"/>
                      <a:pt x="38" y="33"/>
                    </a:cubicBezTo>
                    <a:cubicBezTo>
                      <a:pt x="37" y="33"/>
                      <a:pt x="37" y="33"/>
                      <a:pt x="37" y="33"/>
                    </a:cubicBezTo>
                    <a:cubicBezTo>
                      <a:pt x="37" y="33"/>
                      <a:pt x="37" y="33"/>
                      <a:pt x="36" y="33"/>
                    </a:cubicBezTo>
                    <a:cubicBezTo>
                      <a:pt x="36" y="33"/>
                      <a:pt x="36" y="32"/>
                      <a:pt x="36" y="32"/>
                    </a:cubicBezTo>
                    <a:cubicBezTo>
                      <a:pt x="34" y="29"/>
                      <a:pt x="34" y="29"/>
                      <a:pt x="34" y="29"/>
                    </a:cubicBezTo>
                    <a:cubicBezTo>
                      <a:pt x="38" y="26"/>
                      <a:pt x="38" y="26"/>
                      <a:pt x="38" y="26"/>
                    </a:cubicBezTo>
                    <a:close/>
                    <a:moveTo>
                      <a:pt x="31" y="21"/>
                    </a:moveTo>
                    <a:cubicBezTo>
                      <a:pt x="31" y="21"/>
                      <a:pt x="31" y="21"/>
                      <a:pt x="31" y="21"/>
                    </a:cubicBezTo>
                    <a:cubicBezTo>
                      <a:pt x="34" y="28"/>
                      <a:pt x="34" y="28"/>
                      <a:pt x="34" y="28"/>
                    </a:cubicBezTo>
                    <a:cubicBezTo>
                      <a:pt x="37" y="26"/>
                      <a:pt x="37" y="26"/>
                      <a:pt x="37" y="26"/>
                    </a:cubicBezTo>
                    <a:cubicBezTo>
                      <a:pt x="31" y="21"/>
                      <a:pt x="31" y="21"/>
                      <a:pt x="31" y="21"/>
                    </a:cubicBezTo>
                    <a:close/>
                    <a:moveTo>
                      <a:pt x="51" y="21"/>
                    </a:moveTo>
                    <a:cubicBezTo>
                      <a:pt x="51" y="21"/>
                      <a:pt x="51" y="21"/>
                      <a:pt x="51" y="21"/>
                    </a:cubicBezTo>
                    <a:cubicBezTo>
                      <a:pt x="46" y="11"/>
                      <a:pt x="46" y="11"/>
                      <a:pt x="46" y="11"/>
                    </a:cubicBezTo>
                    <a:cubicBezTo>
                      <a:pt x="46" y="11"/>
                      <a:pt x="46" y="11"/>
                      <a:pt x="46" y="11"/>
                    </a:cubicBezTo>
                    <a:cubicBezTo>
                      <a:pt x="46" y="11"/>
                      <a:pt x="46" y="11"/>
                      <a:pt x="45" y="11"/>
                    </a:cubicBezTo>
                    <a:cubicBezTo>
                      <a:pt x="45" y="11"/>
                      <a:pt x="45" y="11"/>
                      <a:pt x="45" y="11"/>
                    </a:cubicBezTo>
                    <a:cubicBezTo>
                      <a:pt x="44" y="11"/>
                      <a:pt x="44" y="11"/>
                      <a:pt x="44" y="11"/>
                    </a:cubicBezTo>
                    <a:cubicBezTo>
                      <a:pt x="48" y="9"/>
                      <a:pt x="48" y="9"/>
                      <a:pt x="48" y="9"/>
                    </a:cubicBezTo>
                    <a:cubicBezTo>
                      <a:pt x="48" y="10"/>
                      <a:pt x="48" y="10"/>
                      <a:pt x="48" y="10"/>
                    </a:cubicBezTo>
                    <a:cubicBezTo>
                      <a:pt x="47" y="10"/>
                      <a:pt x="47" y="10"/>
                      <a:pt x="47" y="10"/>
                    </a:cubicBezTo>
                    <a:cubicBezTo>
                      <a:pt x="47" y="10"/>
                      <a:pt x="47" y="10"/>
                      <a:pt x="47" y="10"/>
                    </a:cubicBezTo>
                    <a:cubicBezTo>
                      <a:pt x="47" y="10"/>
                      <a:pt x="47" y="11"/>
                      <a:pt x="47" y="11"/>
                    </a:cubicBezTo>
                    <a:cubicBezTo>
                      <a:pt x="53" y="24"/>
                      <a:pt x="53" y="24"/>
                      <a:pt x="53" y="24"/>
                    </a:cubicBezTo>
                    <a:cubicBezTo>
                      <a:pt x="53" y="24"/>
                      <a:pt x="53" y="24"/>
                      <a:pt x="53" y="24"/>
                    </a:cubicBezTo>
                    <a:cubicBezTo>
                      <a:pt x="53" y="24"/>
                      <a:pt x="53" y="24"/>
                      <a:pt x="53" y="24"/>
                    </a:cubicBezTo>
                    <a:cubicBezTo>
                      <a:pt x="40" y="15"/>
                      <a:pt x="40" y="15"/>
                      <a:pt x="40" y="15"/>
                    </a:cubicBezTo>
                    <a:cubicBezTo>
                      <a:pt x="40" y="15"/>
                      <a:pt x="40" y="15"/>
                      <a:pt x="40" y="15"/>
                    </a:cubicBezTo>
                    <a:cubicBezTo>
                      <a:pt x="46" y="26"/>
                      <a:pt x="46" y="26"/>
                      <a:pt x="46" y="26"/>
                    </a:cubicBezTo>
                    <a:cubicBezTo>
                      <a:pt x="46" y="26"/>
                      <a:pt x="46" y="26"/>
                      <a:pt x="46" y="26"/>
                    </a:cubicBezTo>
                    <a:cubicBezTo>
                      <a:pt x="47" y="26"/>
                      <a:pt x="47" y="26"/>
                      <a:pt x="47" y="26"/>
                    </a:cubicBezTo>
                    <a:cubicBezTo>
                      <a:pt x="48" y="26"/>
                      <a:pt x="48" y="26"/>
                      <a:pt x="48" y="26"/>
                    </a:cubicBezTo>
                    <a:cubicBezTo>
                      <a:pt x="48" y="26"/>
                      <a:pt x="48" y="26"/>
                      <a:pt x="48" y="26"/>
                    </a:cubicBezTo>
                    <a:cubicBezTo>
                      <a:pt x="45" y="28"/>
                      <a:pt x="45" y="28"/>
                      <a:pt x="45" y="28"/>
                    </a:cubicBezTo>
                    <a:cubicBezTo>
                      <a:pt x="44" y="28"/>
                      <a:pt x="44" y="28"/>
                      <a:pt x="44" y="28"/>
                    </a:cubicBezTo>
                    <a:cubicBezTo>
                      <a:pt x="45" y="27"/>
                      <a:pt x="45" y="27"/>
                      <a:pt x="45" y="27"/>
                    </a:cubicBezTo>
                    <a:cubicBezTo>
                      <a:pt x="45" y="27"/>
                      <a:pt x="45" y="27"/>
                      <a:pt x="45" y="27"/>
                    </a:cubicBezTo>
                    <a:cubicBezTo>
                      <a:pt x="46" y="27"/>
                      <a:pt x="46" y="26"/>
                      <a:pt x="45" y="26"/>
                    </a:cubicBezTo>
                    <a:cubicBezTo>
                      <a:pt x="39" y="15"/>
                      <a:pt x="39" y="15"/>
                      <a:pt x="39" y="15"/>
                    </a:cubicBezTo>
                    <a:cubicBezTo>
                      <a:pt x="39" y="14"/>
                      <a:pt x="39" y="14"/>
                      <a:pt x="39" y="14"/>
                    </a:cubicBezTo>
                    <a:cubicBezTo>
                      <a:pt x="39" y="14"/>
                      <a:pt x="39" y="14"/>
                      <a:pt x="38" y="14"/>
                    </a:cubicBezTo>
                    <a:cubicBezTo>
                      <a:pt x="38" y="15"/>
                      <a:pt x="38" y="15"/>
                      <a:pt x="38" y="15"/>
                    </a:cubicBezTo>
                    <a:cubicBezTo>
                      <a:pt x="37" y="14"/>
                      <a:pt x="37" y="14"/>
                      <a:pt x="37" y="14"/>
                    </a:cubicBezTo>
                    <a:cubicBezTo>
                      <a:pt x="40" y="13"/>
                      <a:pt x="40" y="13"/>
                      <a:pt x="40" y="13"/>
                    </a:cubicBezTo>
                    <a:cubicBezTo>
                      <a:pt x="51" y="21"/>
                      <a:pt x="51" y="21"/>
                      <a:pt x="51" y="21"/>
                    </a:cubicBezTo>
                    <a:close/>
                    <a:moveTo>
                      <a:pt x="70" y="17"/>
                    </a:moveTo>
                    <a:cubicBezTo>
                      <a:pt x="70" y="17"/>
                      <a:pt x="71" y="17"/>
                      <a:pt x="72" y="16"/>
                    </a:cubicBezTo>
                    <a:cubicBezTo>
                      <a:pt x="72" y="15"/>
                      <a:pt x="72" y="14"/>
                      <a:pt x="72" y="14"/>
                    </a:cubicBezTo>
                    <a:cubicBezTo>
                      <a:pt x="70" y="3"/>
                      <a:pt x="70" y="3"/>
                      <a:pt x="70" y="3"/>
                    </a:cubicBezTo>
                    <a:cubicBezTo>
                      <a:pt x="70" y="3"/>
                      <a:pt x="69" y="3"/>
                      <a:pt x="69" y="3"/>
                    </a:cubicBezTo>
                    <a:cubicBezTo>
                      <a:pt x="69" y="3"/>
                      <a:pt x="69" y="3"/>
                      <a:pt x="69" y="3"/>
                    </a:cubicBezTo>
                    <a:cubicBezTo>
                      <a:pt x="68" y="3"/>
                      <a:pt x="68" y="3"/>
                      <a:pt x="68" y="3"/>
                    </a:cubicBezTo>
                    <a:cubicBezTo>
                      <a:pt x="68" y="2"/>
                      <a:pt x="68" y="2"/>
                      <a:pt x="68" y="2"/>
                    </a:cubicBezTo>
                    <a:cubicBezTo>
                      <a:pt x="71" y="1"/>
                      <a:pt x="71" y="1"/>
                      <a:pt x="71" y="1"/>
                    </a:cubicBezTo>
                    <a:cubicBezTo>
                      <a:pt x="71" y="2"/>
                      <a:pt x="71" y="2"/>
                      <a:pt x="71" y="2"/>
                    </a:cubicBezTo>
                    <a:cubicBezTo>
                      <a:pt x="71" y="2"/>
                      <a:pt x="71" y="2"/>
                      <a:pt x="71" y="2"/>
                    </a:cubicBezTo>
                    <a:cubicBezTo>
                      <a:pt x="71" y="2"/>
                      <a:pt x="70" y="2"/>
                      <a:pt x="70" y="2"/>
                    </a:cubicBezTo>
                    <a:cubicBezTo>
                      <a:pt x="70" y="3"/>
                      <a:pt x="70" y="3"/>
                      <a:pt x="70" y="3"/>
                    </a:cubicBezTo>
                    <a:cubicBezTo>
                      <a:pt x="73" y="13"/>
                      <a:pt x="73" y="13"/>
                      <a:pt x="73" y="13"/>
                    </a:cubicBezTo>
                    <a:cubicBezTo>
                      <a:pt x="73" y="15"/>
                      <a:pt x="73" y="16"/>
                      <a:pt x="72" y="16"/>
                    </a:cubicBezTo>
                    <a:cubicBezTo>
                      <a:pt x="71" y="17"/>
                      <a:pt x="71" y="18"/>
                      <a:pt x="70" y="18"/>
                    </a:cubicBezTo>
                    <a:cubicBezTo>
                      <a:pt x="68" y="18"/>
                      <a:pt x="67" y="18"/>
                      <a:pt x="66" y="18"/>
                    </a:cubicBezTo>
                    <a:cubicBezTo>
                      <a:pt x="66" y="17"/>
                      <a:pt x="65" y="17"/>
                      <a:pt x="65" y="15"/>
                    </a:cubicBezTo>
                    <a:cubicBezTo>
                      <a:pt x="62" y="5"/>
                      <a:pt x="62" y="5"/>
                      <a:pt x="62" y="5"/>
                    </a:cubicBezTo>
                    <a:cubicBezTo>
                      <a:pt x="62" y="5"/>
                      <a:pt x="62" y="4"/>
                      <a:pt x="62" y="4"/>
                    </a:cubicBezTo>
                    <a:cubicBezTo>
                      <a:pt x="62" y="4"/>
                      <a:pt x="62" y="4"/>
                      <a:pt x="61" y="4"/>
                    </a:cubicBezTo>
                    <a:cubicBezTo>
                      <a:pt x="61" y="4"/>
                      <a:pt x="61" y="4"/>
                      <a:pt x="61" y="4"/>
                    </a:cubicBezTo>
                    <a:cubicBezTo>
                      <a:pt x="61" y="4"/>
                      <a:pt x="61" y="4"/>
                      <a:pt x="61" y="4"/>
                    </a:cubicBezTo>
                    <a:cubicBezTo>
                      <a:pt x="65" y="3"/>
                      <a:pt x="65" y="3"/>
                      <a:pt x="65" y="3"/>
                    </a:cubicBezTo>
                    <a:cubicBezTo>
                      <a:pt x="65" y="4"/>
                      <a:pt x="65" y="4"/>
                      <a:pt x="65" y="4"/>
                    </a:cubicBezTo>
                    <a:cubicBezTo>
                      <a:pt x="64" y="4"/>
                      <a:pt x="64" y="4"/>
                      <a:pt x="64" y="4"/>
                    </a:cubicBezTo>
                    <a:cubicBezTo>
                      <a:pt x="64" y="4"/>
                      <a:pt x="64" y="4"/>
                      <a:pt x="64" y="4"/>
                    </a:cubicBezTo>
                    <a:cubicBezTo>
                      <a:pt x="64" y="4"/>
                      <a:pt x="64" y="4"/>
                      <a:pt x="64" y="5"/>
                    </a:cubicBezTo>
                    <a:cubicBezTo>
                      <a:pt x="66" y="15"/>
                      <a:pt x="66" y="15"/>
                      <a:pt x="66" y="15"/>
                    </a:cubicBezTo>
                    <a:cubicBezTo>
                      <a:pt x="66" y="16"/>
                      <a:pt x="67" y="17"/>
                      <a:pt x="67" y="17"/>
                    </a:cubicBezTo>
                    <a:cubicBezTo>
                      <a:pt x="68" y="18"/>
                      <a:pt x="69" y="18"/>
                      <a:pt x="70" y="17"/>
                    </a:cubicBezTo>
                    <a:close/>
                    <a:moveTo>
                      <a:pt x="84" y="12"/>
                    </a:moveTo>
                    <a:cubicBezTo>
                      <a:pt x="84" y="12"/>
                      <a:pt x="84" y="12"/>
                      <a:pt x="84" y="12"/>
                    </a:cubicBezTo>
                    <a:cubicBezTo>
                      <a:pt x="84" y="1"/>
                      <a:pt x="84" y="1"/>
                      <a:pt x="84" y="1"/>
                    </a:cubicBezTo>
                    <a:cubicBezTo>
                      <a:pt x="84" y="1"/>
                      <a:pt x="84" y="1"/>
                      <a:pt x="83" y="1"/>
                    </a:cubicBezTo>
                    <a:cubicBezTo>
                      <a:pt x="83" y="1"/>
                      <a:pt x="83" y="1"/>
                      <a:pt x="83" y="1"/>
                    </a:cubicBezTo>
                    <a:cubicBezTo>
                      <a:pt x="82" y="1"/>
                      <a:pt x="82" y="1"/>
                      <a:pt x="82" y="1"/>
                    </a:cubicBezTo>
                    <a:cubicBezTo>
                      <a:pt x="82" y="0"/>
                      <a:pt x="82" y="0"/>
                      <a:pt x="82" y="0"/>
                    </a:cubicBezTo>
                    <a:cubicBezTo>
                      <a:pt x="86" y="0"/>
                      <a:pt x="86" y="0"/>
                      <a:pt x="86" y="0"/>
                    </a:cubicBezTo>
                    <a:cubicBezTo>
                      <a:pt x="86" y="1"/>
                      <a:pt x="86" y="1"/>
                      <a:pt x="86" y="1"/>
                    </a:cubicBezTo>
                    <a:cubicBezTo>
                      <a:pt x="85" y="1"/>
                      <a:pt x="85" y="1"/>
                      <a:pt x="85" y="1"/>
                    </a:cubicBezTo>
                    <a:cubicBezTo>
                      <a:pt x="85" y="1"/>
                      <a:pt x="85" y="1"/>
                      <a:pt x="84" y="1"/>
                    </a:cubicBezTo>
                    <a:cubicBezTo>
                      <a:pt x="84" y="1"/>
                      <a:pt x="84" y="1"/>
                      <a:pt x="84" y="1"/>
                    </a:cubicBezTo>
                    <a:cubicBezTo>
                      <a:pt x="85" y="16"/>
                      <a:pt x="85" y="16"/>
                      <a:pt x="85" y="16"/>
                    </a:cubicBezTo>
                    <a:cubicBezTo>
                      <a:pt x="85" y="16"/>
                      <a:pt x="85" y="16"/>
                      <a:pt x="85" y="16"/>
                    </a:cubicBezTo>
                    <a:cubicBezTo>
                      <a:pt x="85" y="16"/>
                      <a:pt x="85" y="16"/>
                      <a:pt x="85" y="16"/>
                    </a:cubicBezTo>
                    <a:cubicBezTo>
                      <a:pt x="77" y="3"/>
                      <a:pt x="77" y="3"/>
                      <a:pt x="77" y="3"/>
                    </a:cubicBezTo>
                    <a:cubicBezTo>
                      <a:pt x="77" y="3"/>
                      <a:pt x="77" y="3"/>
                      <a:pt x="77" y="3"/>
                    </a:cubicBezTo>
                    <a:cubicBezTo>
                      <a:pt x="77" y="15"/>
                      <a:pt x="77" y="15"/>
                      <a:pt x="77" y="15"/>
                    </a:cubicBezTo>
                    <a:cubicBezTo>
                      <a:pt x="77" y="15"/>
                      <a:pt x="78" y="15"/>
                      <a:pt x="78" y="16"/>
                    </a:cubicBezTo>
                    <a:cubicBezTo>
                      <a:pt x="78" y="16"/>
                      <a:pt x="78" y="16"/>
                      <a:pt x="78" y="16"/>
                    </a:cubicBezTo>
                    <a:cubicBezTo>
                      <a:pt x="79" y="16"/>
                      <a:pt x="79" y="16"/>
                      <a:pt x="79" y="16"/>
                    </a:cubicBezTo>
                    <a:cubicBezTo>
                      <a:pt x="79" y="16"/>
                      <a:pt x="79" y="16"/>
                      <a:pt x="79" y="16"/>
                    </a:cubicBezTo>
                    <a:cubicBezTo>
                      <a:pt x="75" y="16"/>
                      <a:pt x="75" y="16"/>
                      <a:pt x="75" y="16"/>
                    </a:cubicBezTo>
                    <a:cubicBezTo>
                      <a:pt x="75" y="16"/>
                      <a:pt x="75" y="16"/>
                      <a:pt x="75" y="16"/>
                    </a:cubicBezTo>
                    <a:cubicBezTo>
                      <a:pt x="76" y="16"/>
                      <a:pt x="76" y="16"/>
                      <a:pt x="76" y="16"/>
                    </a:cubicBezTo>
                    <a:cubicBezTo>
                      <a:pt x="76" y="16"/>
                      <a:pt x="77" y="16"/>
                      <a:pt x="77" y="16"/>
                    </a:cubicBezTo>
                    <a:cubicBezTo>
                      <a:pt x="77" y="15"/>
                      <a:pt x="77" y="15"/>
                      <a:pt x="77" y="15"/>
                    </a:cubicBezTo>
                    <a:cubicBezTo>
                      <a:pt x="76" y="2"/>
                      <a:pt x="76" y="2"/>
                      <a:pt x="76" y="2"/>
                    </a:cubicBezTo>
                    <a:cubicBezTo>
                      <a:pt x="76" y="2"/>
                      <a:pt x="76" y="2"/>
                      <a:pt x="76" y="1"/>
                    </a:cubicBezTo>
                    <a:cubicBezTo>
                      <a:pt x="76" y="1"/>
                      <a:pt x="75" y="1"/>
                      <a:pt x="75" y="1"/>
                    </a:cubicBezTo>
                    <a:cubicBezTo>
                      <a:pt x="74" y="1"/>
                      <a:pt x="74" y="1"/>
                      <a:pt x="74" y="1"/>
                    </a:cubicBezTo>
                    <a:cubicBezTo>
                      <a:pt x="74" y="1"/>
                      <a:pt x="74" y="1"/>
                      <a:pt x="74" y="1"/>
                    </a:cubicBezTo>
                    <a:cubicBezTo>
                      <a:pt x="77" y="1"/>
                      <a:pt x="77" y="1"/>
                      <a:pt x="77" y="1"/>
                    </a:cubicBezTo>
                    <a:cubicBezTo>
                      <a:pt x="84" y="12"/>
                      <a:pt x="84" y="12"/>
                      <a:pt x="84" y="12"/>
                    </a:cubicBezTo>
                    <a:close/>
                    <a:moveTo>
                      <a:pt x="90" y="1"/>
                    </a:moveTo>
                    <a:cubicBezTo>
                      <a:pt x="90" y="0"/>
                      <a:pt x="90" y="0"/>
                      <a:pt x="90" y="0"/>
                    </a:cubicBezTo>
                    <a:cubicBezTo>
                      <a:pt x="98" y="1"/>
                      <a:pt x="98" y="1"/>
                      <a:pt x="98" y="1"/>
                    </a:cubicBezTo>
                    <a:cubicBezTo>
                      <a:pt x="98" y="1"/>
                      <a:pt x="98" y="1"/>
                      <a:pt x="98" y="1"/>
                    </a:cubicBezTo>
                    <a:cubicBezTo>
                      <a:pt x="96" y="1"/>
                      <a:pt x="96" y="1"/>
                      <a:pt x="96" y="1"/>
                    </a:cubicBezTo>
                    <a:cubicBezTo>
                      <a:pt x="95" y="1"/>
                      <a:pt x="95" y="1"/>
                      <a:pt x="95" y="1"/>
                    </a:cubicBezTo>
                    <a:cubicBezTo>
                      <a:pt x="95" y="1"/>
                      <a:pt x="95" y="1"/>
                      <a:pt x="95" y="2"/>
                    </a:cubicBezTo>
                    <a:cubicBezTo>
                      <a:pt x="94" y="15"/>
                      <a:pt x="94" y="15"/>
                      <a:pt x="94" y="15"/>
                    </a:cubicBezTo>
                    <a:cubicBezTo>
                      <a:pt x="94" y="15"/>
                      <a:pt x="94" y="15"/>
                      <a:pt x="94" y="15"/>
                    </a:cubicBezTo>
                    <a:cubicBezTo>
                      <a:pt x="94" y="15"/>
                      <a:pt x="94" y="15"/>
                      <a:pt x="95" y="15"/>
                    </a:cubicBezTo>
                    <a:cubicBezTo>
                      <a:pt x="97" y="16"/>
                      <a:pt x="97" y="16"/>
                      <a:pt x="97" y="16"/>
                    </a:cubicBezTo>
                    <a:cubicBezTo>
                      <a:pt x="97" y="16"/>
                      <a:pt x="97" y="16"/>
                      <a:pt x="97" y="16"/>
                    </a:cubicBezTo>
                    <a:cubicBezTo>
                      <a:pt x="89" y="16"/>
                      <a:pt x="89" y="16"/>
                      <a:pt x="89" y="16"/>
                    </a:cubicBezTo>
                    <a:cubicBezTo>
                      <a:pt x="89" y="15"/>
                      <a:pt x="89" y="15"/>
                      <a:pt x="89" y="15"/>
                    </a:cubicBezTo>
                    <a:cubicBezTo>
                      <a:pt x="91" y="15"/>
                      <a:pt x="91" y="15"/>
                      <a:pt x="91" y="15"/>
                    </a:cubicBezTo>
                    <a:cubicBezTo>
                      <a:pt x="92" y="15"/>
                      <a:pt x="92" y="15"/>
                      <a:pt x="92" y="15"/>
                    </a:cubicBezTo>
                    <a:cubicBezTo>
                      <a:pt x="92" y="15"/>
                      <a:pt x="92" y="15"/>
                      <a:pt x="92" y="15"/>
                    </a:cubicBezTo>
                    <a:cubicBezTo>
                      <a:pt x="93" y="2"/>
                      <a:pt x="93" y="2"/>
                      <a:pt x="93" y="2"/>
                    </a:cubicBezTo>
                    <a:cubicBezTo>
                      <a:pt x="93" y="1"/>
                      <a:pt x="93" y="1"/>
                      <a:pt x="93" y="1"/>
                    </a:cubicBezTo>
                    <a:cubicBezTo>
                      <a:pt x="93" y="1"/>
                      <a:pt x="93" y="1"/>
                      <a:pt x="92" y="1"/>
                    </a:cubicBezTo>
                    <a:cubicBezTo>
                      <a:pt x="90" y="1"/>
                      <a:pt x="90" y="1"/>
                      <a:pt x="90" y="1"/>
                    </a:cubicBezTo>
                    <a:close/>
                    <a:moveTo>
                      <a:pt x="109" y="3"/>
                    </a:moveTo>
                    <a:cubicBezTo>
                      <a:pt x="109" y="2"/>
                      <a:pt x="109" y="2"/>
                      <a:pt x="109" y="2"/>
                    </a:cubicBezTo>
                    <a:cubicBezTo>
                      <a:pt x="113" y="3"/>
                      <a:pt x="113" y="3"/>
                      <a:pt x="113" y="3"/>
                    </a:cubicBezTo>
                    <a:cubicBezTo>
                      <a:pt x="113" y="3"/>
                      <a:pt x="113" y="3"/>
                      <a:pt x="113" y="3"/>
                    </a:cubicBezTo>
                    <a:cubicBezTo>
                      <a:pt x="112" y="3"/>
                      <a:pt x="112" y="3"/>
                      <a:pt x="112" y="3"/>
                    </a:cubicBezTo>
                    <a:cubicBezTo>
                      <a:pt x="112" y="3"/>
                      <a:pt x="112" y="3"/>
                      <a:pt x="111" y="4"/>
                    </a:cubicBezTo>
                    <a:cubicBezTo>
                      <a:pt x="111" y="4"/>
                      <a:pt x="111" y="4"/>
                      <a:pt x="111" y="4"/>
                    </a:cubicBezTo>
                    <a:cubicBezTo>
                      <a:pt x="105" y="17"/>
                      <a:pt x="105" y="17"/>
                      <a:pt x="105" y="17"/>
                    </a:cubicBezTo>
                    <a:cubicBezTo>
                      <a:pt x="104" y="17"/>
                      <a:pt x="104" y="17"/>
                      <a:pt x="104" y="17"/>
                    </a:cubicBezTo>
                    <a:cubicBezTo>
                      <a:pt x="103" y="3"/>
                      <a:pt x="103" y="3"/>
                      <a:pt x="103" y="3"/>
                    </a:cubicBezTo>
                    <a:cubicBezTo>
                      <a:pt x="103" y="3"/>
                      <a:pt x="103" y="2"/>
                      <a:pt x="103" y="2"/>
                    </a:cubicBezTo>
                    <a:cubicBezTo>
                      <a:pt x="103" y="2"/>
                      <a:pt x="103" y="2"/>
                      <a:pt x="102" y="2"/>
                    </a:cubicBezTo>
                    <a:cubicBezTo>
                      <a:pt x="102" y="2"/>
                      <a:pt x="102" y="2"/>
                      <a:pt x="102" y="2"/>
                    </a:cubicBezTo>
                    <a:cubicBezTo>
                      <a:pt x="102" y="1"/>
                      <a:pt x="102" y="1"/>
                      <a:pt x="102" y="1"/>
                    </a:cubicBezTo>
                    <a:cubicBezTo>
                      <a:pt x="106" y="2"/>
                      <a:pt x="106" y="2"/>
                      <a:pt x="106" y="2"/>
                    </a:cubicBezTo>
                    <a:cubicBezTo>
                      <a:pt x="106" y="2"/>
                      <a:pt x="106" y="2"/>
                      <a:pt x="106" y="2"/>
                    </a:cubicBezTo>
                    <a:cubicBezTo>
                      <a:pt x="105" y="2"/>
                      <a:pt x="105" y="2"/>
                      <a:pt x="105" y="2"/>
                    </a:cubicBezTo>
                    <a:cubicBezTo>
                      <a:pt x="105" y="2"/>
                      <a:pt x="105" y="2"/>
                      <a:pt x="105" y="2"/>
                    </a:cubicBezTo>
                    <a:cubicBezTo>
                      <a:pt x="105" y="3"/>
                      <a:pt x="105" y="3"/>
                      <a:pt x="105" y="3"/>
                    </a:cubicBezTo>
                    <a:cubicBezTo>
                      <a:pt x="105" y="14"/>
                      <a:pt x="105" y="14"/>
                      <a:pt x="105" y="14"/>
                    </a:cubicBezTo>
                    <a:cubicBezTo>
                      <a:pt x="106" y="14"/>
                      <a:pt x="106" y="14"/>
                      <a:pt x="106" y="14"/>
                    </a:cubicBezTo>
                    <a:cubicBezTo>
                      <a:pt x="110" y="4"/>
                      <a:pt x="110" y="4"/>
                      <a:pt x="110" y="4"/>
                    </a:cubicBezTo>
                    <a:cubicBezTo>
                      <a:pt x="110" y="4"/>
                      <a:pt x="110" y="4"/>
                      <a:pt x="110" y="3"/>
                    </a:cubicBezTo>
                    <a:cubicBezTo>
                      <a:pt x="110" y="3"/>
                      <a:pt x="110" y="3"/>
                      <a:pt x="110" y="3"/>
                    </a:cubicBezTo>
                    <a:cubicBezTo>
                      <a:pt x="109" y="3"/>
                      <a:pt x="109" y="3"/>
                      <a:pt x="109" y="3"/>
                    </a:cubicBezTo>
                    <a:close/>
                    <a:moveTo>
                      <a:pt x="116" y="5"/>
                    </a:moveTo>
                    <a:cubicBezTo>
                      <a:pt x="116" y="5"/>
                      <a:pt x="116" y="5"/>
                      <a:pt x="116" y="5"/>
                    </a:cubicBezTo>
                    <a:cubicBezTo>
                      <a:pt x="117" y="5"/>
                      <a:pt x="117" y="5"/>
                      <a:pt x="117" y="5"/>
                    </a:cubicBezTo>
                    <a:cubicBezTo>
                      <a:pt x="117" y="5"/>
                      <a:pt x="117" y="6"/>
                      <a:pt x="117" y="6"/>
                    </a:cubicBezTo>
                    <a:cubicBezTo>
                      <a:pt x="113" y="18"/>
                      <a:pt x="113" y="18"/>
                      <a:pt x="113" y="18"/>
                    </a:cubicBezTo>
                    <a:cubicBezTo>
                      <a:pt x="113" y="18"/>
                      <a:pt x="113" y="19"/>
                      <a:pt x="113" y="19"/>
                    </a:cubicBezTo>
                    <a:cubicBezTo>
                      <a:pt x="112" y="19"/>
                      <a:pt x="112" y="19"/>
                      <a:pt x="112" y="19"/>
                    </a:cubicBezTo>
                    <a:cubicBezTo>
                      <a:pt x="111" y="18"/>
                      <a:pt x="111" y="18"/>
                      <a:pt x="111" y="18"/>
                    </a:cubicBezTo>
                    <a:cubicBezTo>
                      <a:pt x="111" y="19"/>
                      <a:pt x="111" y="19"/>
                      <a:pt x="111" y="19"/>
                    </a:cubicBezTo>
                    <a:cubicBezTo>
                      <a:pt x="120" y="22"/>
                      <a:pt x="120" y="22"/>
                      <a:pt x="120" y="22"/>
                    </a:cubicBezTo>
                    <a:cubicBezTo>
                      <a:pt x="122" y="19"/>
                      <a:pt x="122" y="19"/>
                      <a:pt x="122" y="19"/>
                    </a:cubicBezTo>
                    <a:cubicBezTo>
                      <a:pt x="122" y="18"/>
                      <a:pt x="122" y="18"/>
                      <a:pt x="122" y="18"/>
                    </a:cubicBezTo>
                    <a:cubicBezTo>
                      <a:pt x="121" y="19"/>
                      <a:pt x="120" y="20"/>
                      <a:pt x="120" y="20"/>
                    </a:cubicBezTo>
                    <a:cubicBezTo>
                      <a:pt x="119" y="21"/>
                      <a:pt x="118" y="21"/>
                      <a:pt x="117" y="20"/>
                    </a:cubicBezTo>
                    <a:cubicBezTo>
                      <a:pt x="115" y="20"/>
                      <a:pt x="115" y="20"/>
                      <a:pt x="115" y="20"/>
                    </a:cubicBezTo>
                    <a:cubicBezTo>
                      <a:pt x="115" y="20"/>
                      <a:pt x="114" y="19"/>
                      <a:pt x="114" y="19"/>
                    </a:cubicBezTo>
                    <a:cubicBezTo>
                      <a:pt x="114" y="19"/>
                      <a:pt x="114" y="19"/>
                      <a:pt x="114" y="19"/>
                    </a:cubicBezTo>
                    <a:cubicBezTo>
                      <a:pt x="116" y="12"/>
                      <a:pt x="116" y="12"/>
                      <a:pt x="116" y="12"/>
                    </a:cubicBezTo>
                    <a:cubicBezTo>
                      <a:pt x="119" y="13"/>
                      <a:pt x="119" y="13"/>
                      <a:pt x="119" y="13"/>
                    </a:cubicBezTo>
                    <a:cubicBezTo>
                      <a:pt x="120" y="13"/>
                      <a:pt x="120" y="13"/>
                      <a:pt x="120" y="14"/>
                    </a:cubicBezTo>
                    <a:cubicBezTo>
                      <a:pt x="120" y="14"/>
                      <a:pt x="120" y="15"/>
                      <a:pt x="120" y="15"/>
                    </a:cubicBezTo>
                    <a:cubicBezTo>
                      <a:pt x="120" y="16"/>
                      <a:pt x="120" y="16"/>
                      <a:pt x="120" y="16"/>
                    </a:cubicBezTo>
                    <a:cubicBezTo>
                      <a:pt x="120" y="16"/>
                      <a:pt x="120" y="16"/>
                      <a:pt x="120" y="16"/>
                    </a:cubicBezTo>
                    <a:cubicBezTo>
                      <a:pt x="122" y="11"/>
                      <a:pt x="122" y="11"/>
                      <a:pt x="122" y="11"/>
                    </a:cubicBezTo>
                    <a:cubicBezTo>
                      <a:pt x="122" y="11"/>
                      <a:pt x="122" y="11"/>
                      <a:pt x="122" y="11"/>
                    </a:cubicBezTo>
                    <a:cubicBezTo>
                      <a:pt x="121" y="11"/>
                      <a:pt x="121" y="11"/>
                      <a:pt x="121" y="11"/>
                    </a:cubicBezTo>
                    <a:cubicBezTo>
                      <a:pt x="121" y="12"/>
                      <a:pt x="121" y="12"/>
                      <a:pt x="121" y="12"/>
                    </a:cubicBezTo>
                    <a:cubicBezTo>
                      <a:pt x="120" y="13"/>
                      <a:pt x="120" y="13"/>
                      <a:pt x="119" y="12"/>
                    </a:cubicBezTo>
                    <a:cubicBezTo>
                      <a:pt x="117" y="12"/>
                      <a:pt x="117" y="12"/>
                      <a:pt x="117" y="12"/>
                    </a:cubicBezTo>
                    <a:cubicBezTo>
                      <a:pt x="118" y="6"/>
                      <a:pt x="118" y="6"/>
                      <a:pt x="118" y="6"/>
                    </a:cubicBezTo>
                    <a:cubicBezTo>
                      <a:pt x="118" y="6"/>
                      <a:pt x="119" y="6"/>
                      <a:pt x="119" y="6"/>
                    </a:cubicBezTo>
                    <a:cubicBezTo>
                      <a:pt x="119" y="6"/>
                      <a:pt x="119" y="6"/>
                      <a:pt x="119" y="6"/>
                    </a:cubicBezTo>
                    <a:cubicBezTo>
                      <a:pt x="122" y="7"/>
                      <a:pt x="122" y="7"/>
                      <a:pt x="122" y="7"/>
                    </a:cubicBezTo>
                    <a:cubicBezTo>
                      <a:pt x="122" y="7"/>
                      <a:pt x="123" y="7"/>
                      <a:pt x="123" y="8"/>
                    </a:cubicBezTo>
                    <a:cubicBezTo>
                      <a:pt x="124" y="8"/>
                      <a:pt x="124" y="9"/>
                      <a:pt x="124" y="10"/>
                    </a:cubicBezTo>
                    <a:cubicBezTo>
                      <a:pt x="125" y="10"/>
                      <a:pt x="125" y="10"/>
                      <a:pt x="125" y="10"/>
                    </a:cubicBezTo>
                    <a:cubicBezTo>
                      <a:pt x="125" y="7"/>
                      <a:pt x="125" y="7"/>
                      <a:pt x="125" y="7"/>
                    </a:cubicBezTo>
                    <a:cubicBezTo>
                      <a:pt x="116" y="4"/>
                      <a:pt x="116" y="4"/>
                      <a:pt x="116" y="4"/>
                    </a:cubicBezTo>
                    <a:cubicBezTo>
                      <a:pt x="116" y="5"/>
                      <a:pt x="116" y="5"/>
                      <a:pt x="116" y="5"/>
                    </a:cubicBezTo>
                    <a:close/>
                    <a:moveTo>
                      <a:pt x="136" y="17"/>
                    </a:moveTo>
                    <a:cubicBezTo>
                      <a:pt x="136" y="18"/>
                      <a:pt x="135" y="19"/>
                      <a:pt x="134" y="19"/>
                    </a:cubicBezTo>
                    <a:cubicBezTo>
                      <a:pt x="133" y="19"/>
                      <a:pt x="133" y="19"/>
                      <a:pt x="132" y="19"/>
                    </a:cubicBezTo>
                    <a:cubicBezTo>
                      <a:pt x="131" y="26"/>
                      <a:pt x="131" y="26"/>
                      <a:pt x="131" y="26"/>
                    </a:cubicBezTo>
                    <a:cubicBezTo>
                      <a:pt x="131" y="26"/>
                      <a:pt x="131" y="27"/>
                      <a:pt x="131" y="27"/>
                    </a:cubicBezTo>
                    <a:cubicBezTo>
                      <a:pt x="131" y="27"/>
                      <a:pt x="131" y="27"/>
                      <a:pt x="132" y="27"/>
                    </a:cubicBezTo>
                    <a:cubicBezTo>
                      <a:pt x="132" y="27"/>
                      <a:pt x="132" y="27"/>
                      <a:pt x="132" y="27"/>
                    </a:cubicBezTo>
                    <a:cubicBezTo>
                      <a:pt x="132" y="28"/>
                      <a:pt x="132" y="28"/>
                      <a:pt x="132" y="28"/>
                    </a:cubicBezTo>
                    <a:cubicBezTo>
                      <a:pt x="130" y="27"/>
                      <a:pt x="130" y="27"/>
                      <a:pt x="130" y="27"/>
                    </a:cubicBezTo>
                    <a:cubicBezTo>
                      <a:pt x="130" y="18"/>
                      <a:pt x="130" y="18"/>
                      <a:pt x="130" y="18"/>
                    </a:cubicBezTo>
                    <a:cubicBezTo>
                      <a:pt x="129" y="17"/>
                      <a:pt x="129" y="17"/>
                      <a:pt x="129" y="17"/>
                    </a:cubicBezTo>
                    <a:cubicBezTo>
                      <a:pt x="126" y="23"/>
                      <a:pt x="126" y="23"/>
                      <a:pt x="126" y="23"/>
                    </a:cubicBezTo>
                    <a:cubicBezTo>
                      <a:pt x="125" y="24"/>
                      <a:pt x="125" y="24"/>
                      <a:pt x="126" y="24"/>
                    </a:cubicBezTo>
                    <a:cubicBezTo>
                      <a:pt x="126" y="24"/>
                      <a:pt x="126" y="24"/>
                      <a:pt x="126" y="24"/>
                    </a:cubicBezTo>
                    <a:cubicBezTo>
                      <a:pt x="126" y="25"/>
                      <a:pt x="126" y="25"/>
                      <a:pt x="126" y="25"/>
                    </a:cubicBezTo>
                    <a:cubicBezTo>
                      <a:pt x="126" y="25"/>
                      <a:pt x="126" y="25"/>
                      <a:pt x="126" y="25"/>
                    </a:cubicBezTo>
                    <a:cubicBezTo>
                      <a:pt x="122" y="23"/>
                      <a:pt x="122" y="23"/>
                      <a:pt x="122" y="23"/>
                    </a:cubicBezTo>
                    <a:cubicBezTo>
                      <a:pt x="123" y="23"/>
                      <a:pt x="123" y="23"/>
                      <a:pt x="123" y="23"/>
                    </a:cubicBezTo>
                    <a:cubicBezTo>
                      <a:pt x="123" y="23"/>
                      <a:pt x="123" y="23"/>
                      <a:pt x="123" y="23"/>
                    </a:cubicBezTo>
                    <a:cubicBezTo>
                      <a:pt x="123" y="23"/>
                      <a:pt x="124" y="23"/>
                      <a:pt x="124" y="23"/>
                    </a:cubicBezTo>
                    <a:cubicBezTo>
                      <a:pt x="124" y="23"/>
                      <a:pt x="124" y="23"/>
                      <a:pt x="124" y="23"/>
                    </a:cubicBezTo>
                    <a:cubicBezTo>
                      <a:pt x="130" y="11"/>
                      <a:pt x="130" y="11"/>
                      <a:pt x="130" y="11"/>
                    </a:cubicBezTo>
                    <a:cubicBezTo>
                      <a:pt x="130" y="11"/>
                      <a:pt x="130" y="11"/>
                      <a:pt x="130" y="10"/>
                    </a:cubicBezTo>
                    <a:cubicBezTo>
                      <a:pt x="130" y="10"/>
                      <a:pt x="130" y="10"/>
                      <a:pt x="130" y="10"/>
                    </a:cubicBezTo>
                    <a:cubicBezTo>
                      <a:pt x="129" y="10"/>
                      <a:pt x="129" y="10"/>
                      <a:pt x="129" y="10"/>
                    </a:cubicBezTo>
                    <a:cubicBezTo>
                      <a:pt x="130" y="9"/>
                      <a:pt x="130" y="9"/>
                      <a:pt x="130" y="9"/>
                    </a:cubicBezTo>
                    <a:cubicBezTo>
                      <a:pt x="134" y="12"/>
                      <a:pt x="134" y="12"/>
                      <a:pt x="134" y="12"/>
                    </a:cubicBezTo>
                    <a:cubicBezTo>
                      <a:pt x="135" y="12"/>
                      <a:pt x="136" y="13"/>
                      <a:pt x="137" y="14"/>
                    </a:cubicBezTo>
                    <a:cubicBezTo>
                      <a:pt x="137" y="15"/>
                      <a:pt x="137" y="16"/>
                      <a:pt x="136" y="17"/>
                    </a:cubicBezTo>
                    <a:close/>
                    <a:moveTo>
                      <a:pt x="129" y="17"/>
                    </a:moveTo>
                    <a:cubicBezTo>
                      <a:pt x="131" y="18"/>
                      <a:pt x="131" y="18"/>
                      <a:pt x="131" y="18"/>
                    </a:cubicBezTo>
                    <a:cubicBezTo>
                      <a:pt x="131" y="18"/>
                      <a:pt x="132" y="18"/>
                      <a:pt x="133" y="18"/>
                    </a:cubicBezTo>
                    <a:cubicBezTo>
                      <a:pt x="134" y="18"/>
                      <a:pt x="134" y="17"/>
                      <a:pt x="135" y="16"/>
                    </a:cubicBezTo>
                    <a:cubicBezTo>
                      <a:pt x="135" y="15"/>
                      <a:pt x="136" y="15"/>
                      <a:pt x="135" y="14"/>
                    </a:cubicBezTo>
                    <a:cubicBezTo>
                      <a:pt x="135" y="13"/>
                      <a:pt x="135" y="12"/>
                      <a:pt x="133" y="12"/>
                    </a:cubicBezTo>
                    <a:cubicBezTo>
                      <a:pt x="133" y="11"/>
                      <a:pt x="133" y="11"/>
                      <a:pt x="133" y="11"/>
                    </a:cubicBezTo>
                    <a:cubicBezTo>
                      <a:pt x="132" y="11"/>
                      <a:pt x="132" y="11"/>
                      <a:pt x="132" y="11"/>
                    </a:cubicBezTo>
                    <a:cubicBezTo>
                      <a:pt x="132" y="11"/>
                      <a:pt x="132" y="11"/>
                      <a:pt x="132" y="12"/>
                    </a:cubicBezTo>
                    <a:cubicBezTo>
                      <a:pt x="129" y="17"/>
                      <a:pt x="129" y="17"/>
                      <a:pt x="129" y="17"/>
                    </a:cubicBezTo>
                    <a:close/>
                    <a:moveTo>
                      <a:pt x="141" y="25"/>
                    </a:moveTo>
                    <a:cubicBezTo>
                      <a:pt x="142" y="27"/>
                      <a:pt x="142" y="28"/>
                      <a:pt x="142" y="28"/>
                    </a:cubicBezTo>
                    <a:cubicBezTo>
                      <a:pt x="142" y="29"/>
                      <a:pt x="142" y="30"/>
                      <a:pt x="142" y="30"/>
                    </a:cubicBezTo>
                    <a:cubicBezTo>
                      <a:pt x="141" y="31"/>
                      <a:pt x="141" y="32"/>
                      <a:pt x="140" y="32"/>
                    </a:cubicBezTo>
                    <a:cubicBezTo>
                      <a:pt x="139" y="32"/>
                      <a:pt x="138" y="32"/>
                      <a:pt x="137" y="32"/>
                    </a:cubicBezTo>
                    <a:cubicBezTo>
                      <a:pt x="137" y="31"/>
                      <a:pt x="136" y="30"/>
                      <a:pt x="136" y="29"/>
                    </a:cubicBezTo>
                    <a:cubicBezTo>
                      <a:pt x="135" y="28"/>
                      <a:pt x="136" y="27"/>
                      <a:pt x="136" y="26"/>
                    </a:cubicBezTo>
                    <a:cubicBezTo>
                      <a:pt x="136" y="26"/>
                      <a:pt x="136" y="26"/>
                      <a:pt x="136" y="26"/>
                    </a:cubicBezTo>
                    <a:cubicBezTo>
                      <a:pt x="134" y="30"/>
                      <a:pt x="134" y="30"/>
                      <a:pt x="134" y="30"/>
                    </a:cubicBezTo>
                    <a:cubicBezTo>
                      <a:pt x="134" y="30"/>
                      <a:pt x="134" y="30"/>
                      <a:pt x="134" y="30"/>
                    </a:cubicBezTo>
                    <a:cubicBezTo>
                      <a:pt x="135" y="30"/>
                      <a:pt x="135" y="30"/>
                      <a:pt x="135" y="30"/>
                    </a:cubicBezTo>
                    <a:cubicBezTo>
                      <a:pt x="135" y="30"/>
                      <a:pt x="135" y="30"/>
                      <a:pt x="136" y="31"/>
                    </a:cubicBezTo>
                    <a:cubicBezTo>
                      <a:pt x="136" y="31"/>
                      <a:pt x="136" y="32"/>
                      <a:pt x="137" y="32"/>
                    </a:cubicBezTo>
                    <a:cubicBezTo>
                      <a:pt x="138" y="33"/>
                      <a:pt x="139" y="33"/>
                      <a:pt x="140" y="33"/>
                    </a:cubicBezTo>
                    <a:cubicBezTo>
                      <a:pt x="142" y="33"/>
                      <a:pt x="142" y="32"/>
                      <a:pt x="143" y="31"/>
                    </a:cubicBezTo>
                    <a:cubicBezTo>
                      <a:pt x="144" y="30"/>
                      <a:pt x="144" y="29"/>
                      <a:pt x="144" y="28"/>
                    </a:cubicBezTo>
                    <a:cubicBezTo>
                      <a:pt x="144" y="27"/>
                      <a:pt x="143" y="26"/>
                      <a:pt x="142" y="25"/>
                    </a:cubicBezTo>
                    <a:cubicBezTo>
                      <a:pt x="141" y="23"/>
                      <a:pt x="141" y="22"/>
                      <a:pt x="141" y="22"/>
                    </a:cubicBezTo>
                    <a:cubicBezTo>
                      <a:pt x="141" y="21"/>
                      <a:pt x="141" y="20"/>
                      <a:pt x="141" y="20"/>
                    </a:cubicBezTo>
                    <a:cubicBezTo>
                      <a:pt x="142" y="19"/>
                      <a:pt x="142" y="19"/>
                      <a:pt x="143" y="19"/>
                    </a:cubicBezTo>
                    <a:cubicBezTo>
                      <a:pt x="144" y="18"/>
                      <a:pt x="144" y="18"/>
                      <a:pt x="145" y="19"/>
                    </a:cubicBezTo>
                    <a:cubicBezTo>
                      <a:pt x="146" y="20"/>
                      <a:pt x="147" y="20"/>
                      <a:pt x="147" y="21"/>
                    </a:cubicBezTo>
                    <a:cubicBezTo>
                      <a:pt x="147" y="22"/>
                      <a:pt x="147" y="23"/>
                      <a:pt x="147" y="24"/>
                    </a:cubicBezTo>
                    <a:cubicBezTo>
                      <a:pt x="147" y="24"/>
                      <a:pt x="147" y="24"/>
                      <a:pt x="147" y="24"/>
                    </a:cubicBezTo>
                    <a:cubicBezTo>
                      <a:pt x="149" y="21"/>
                      <a:pt x="149" y="21"/>
                      <a:pt x="149" y="21"/>
                    </a:cubicBezTo>
                    <a:cubicBezTo>
                      <a:pt x="149" y="21"/>
                      <a:pt x="149" y="21"/>
                      <a:pt x="148" y="21"/>
                    </a:cubicBezTo>
                    <a:cubicBezTo>
                      <a:pt x="148" y="21"/>
                      <a:pt x="148" y="21"/>
                      <a:pt x="148" y="21"/>
                    </a:cubicBezTo>
                    <a:cubicBezTo>
                      <a:pt x="148" y="21"/>
                      <a:pt x="147" y="20"/>
                      <a:pt x="147" y="20"/>
                    </a:cubicBezTo>
                    <a:cubicBezTo>
                      <a:pt x="147" y="19"/>
                      <a:pt x="146" y="19"/>
                      <a:pt x="146" y="19"/>
                    </a:cubicBezTo>
                    <a:cubicBezTo>
                      <a:pt x="145" y="18"/>
                      <a:pt x="144" y="18"/>
                      <a:pt x="143" y="18"/>
                    </a:cubicBezTo>
                    <a:cubicBezTo>
                      <a:pt x="141" y="18"/>
                      <a:pt x="141" y="19"/>
                      <a:pt x="140" y="19"/>
                    </a:cubicBezTo>
                    <a:cubicBezTo>
                      <a:pt x="139" y="20"/>
                      <a:pt x="139" y="21"/>
                      <a:pt x="139" y="22"/>
                    </a:cubicBezTo>
                    <a:cubicBezTo>
                      <a:pt x="140" y="23"/>
                      <a:pt x="140" y="24"/>
                      <a:pt x="141" y="25"/>
                    </a:cubicBezTo>
                    <a:close/>
                    <a:moveTo>
                      <a:pt x="154" y="26"/>
                    </a:moveTo>
                    <a:cubicBezTo>
                      <a:pt x="154" y="26"/>
                      <a:pt x="154" y="26"/>
                      <a:pt x="154" y="26"/>
                    </a:cubicBezTo>
                    <a:cubicBezTo>
                      <a:pt x="159" y="31"/>
                      <a:pt x="159" y="31"/>
                      <a:pt x="159" y="31"/>
                    </a:cubicBezTo>
                    <a:cubicBezTo>
                      <a:pt x="159" y="31"/>
                      <a:pt x="159" y="31"/>
                      <a:pt x="159" y="31"/>
                    </a:cubicBezTo>
                    <a:cubicBezTo>
                      <a:pt x="158" y="30"/>
                      <a:pt x="158" y="30"/>
                      <a:pt x="158" y="30"/>
                    </a:cubicBezTo>
                    <a:cubicBezTo>
                      <a:pt x="157" y="29"/>
                      <a:pt x="157" y="29"/>
                      <a:pt x="157" y="29"/>
                    </a:cubicBezTo>
                    <a:cubicBezTo>
                      <a:pt x="157" y="29"/>
                      <a:pt x="157" y="29"/>
                      <a:pt x="156" y="30"/>
                    </a:cubicBezTo>
                    <a:cubicBezTo>
                      <a:pt x="147" y="39"/>
                      <a:pt x="147" y="39"/>
                      <a:pt x="147" y="39"/>
                    </a:cubicBezTo>
                    <a:cubicBezTo>
                      <a:pt x="147" y="39"/>
                      <a:pt x="147" y="39"/>
                      <a:pt x="147" y="40"/>
                    </a:cubicBezTo>
                    <a:cubicBezTo>
                      <a:pt x="147" y="40"/>
                      <a:pt x="147" y="40"/>
                      <a:pt x="148" y="40"/>
                    </a:cubicBezTo>
                    <a:cubicBezTo>
                      <a:pt x="149" y="42"/>
                      <a:pt x="149" y="42"/>
                      <a:pt x="149" y="42"/>
                    </a:cubicBezTo>
                    <a:cubicBezTo>
                      <a:pt x="149" y="42"/>
                      <a:pt x="149" y="42"/>
                      <a:pt x="149" y="42"/>
                    </a:cubicBezTo>
                    <a:cubicBezTo>
                      <a:pt x="143" y="37"/>
                      <a:pt x="143" y="37"/>
                      <a:pt x="143" y="37"/>
                    </a:cubicBezTo>
                    <a:cubicBezTo>
                      <a:pt x="144" y="37"/>
                      <a:pt x="144" y="37"/>
                      <a:pt x="144" y="37"/>
                    </a:cubicBezTo>
                    <a:cubicBezTo>
                      <a:pt x="145" y="38"/>
                      <a:pt x="145" y="38"/>
                      <a:pt x="145" y="38"/>
                    </a:cubicBezTo>
                    <a:cubicBezTo>
                      <a:pt x="146" y="38"/>
                      <a:pt x="146" y="38"/>
                      <a:pt x="146" y="38"/>
                    </a:cubicBezTo>
                    <a:cubicBezTo>
                      <a:pt x="146" y="38"/>
                      <a:pt x="146" y="38"/>
                      <a:pt x="146" y="38"/>
                    </a:cubicBezTo>
                    <a:cubicBezTo>
                      <a:pt x="155" y="29"/>
                      <a:pt x="155" y="29"/>
                      <a:pt x="155" y="29"/>
                    </a:cubicBezTo>
                    <a:cubicBezTo>
                      <a:pt x="155" y="28"/>
                      <a:pt x="156" y="28"/>
                      <a:pt x="156" y="28"/>
                    </a:cubicBezTo>
                    <a:cubicBezTo>
                      <a:pt x="156" y="28"/>
                      <a:pt x="155" y="28"/>
                      <a:pt x="155" y="27"/>
                    </a:cubicBezTo>
                    <a:cubicBezTo>
                      <a:pt x="154" y="26"/>
                      <a:pt x="154" y="26"/>
                      <a:pt x="154" y="26"/>
                    </a:cubicBezTo>
                    <a:close/>
                    <a:moveTo>
                      <a:pt x="155" y="50"/>
                    </a:moveTo>
                    <a:cubicBezTo>
                      <a:pt x="156" y="50"/>
                      <a:pt x="156" y="50"/>
                      <a:pt x="156" y="50"/>
                    </a:cubicBezTo>
                    <a:cubicBezTo>
                      <a:pt x="155" y="49"/>
                      <a:pt x="155" y="49"/>
                      <a:pt x="155" y="49"/>
                    </a:cubicBezTo>
                    <a:cubicBezTo>
                      <a:pt x="155" y="49"/>
                      <a:pt x="155" y="49"/>
                      <a:pt x="155" y="49"/>
                    </a:cubicBezTo>
                    <a:cubicBezTo>
                      <a:pt x="155" y="49"/>
                      <a:pt x="155" y="48"/>
                      <a:pt x="155" y="48"/>
                    </a:cubicBezTo>
                    <a:cubicBezTo>
                      <a:pt x="165" y="40"/>
                      <a:pt x="165" y="40"/>
                      <a:pt x="165" y="40"/>
                    </a:cubicBezTo>
                    <a:cubicBezTo>
                      <a:pt x="166" y="40"/>
                      <a:pt x="166" y="40"/>
                      <a:pt x="166" y="40"/>
                    </a:cubicBezTo>
                    <a:cubicBezTo>
                      <a:pt x="166" y="40"/>
                      <a:pt x="166" y="40"/>
                      <a:pt x="167" y="40"/>
                    </a:cubicBezTo>
                    <a:cubicBezTo>
                      <a:pt x="167" y="41"/>
                      <a:pt x="167" y="42"/>
                      <a:pt x="167" y="42"/>
                    </a:cubicBezTo>
                    <a:cubicBezTo>
                      <a:pt x="167" y="43"/>
                      <a:pt x="167" y="43"/>
                      <a:pt x="166" y="45"/>
                    </a:cubicBezTo>
                    <a:cubicBezTo>
                      <a:pt x="166" y="45"/>
                      <a:pt x="166" y="45"/>
                      <a:pt x="166" y="45"/>
                    </a:cubicBezTo>
                    <a:cubicBezTo>
                      <a:pt x="169" y="42"/>
                      <a:pt x="169" y="42"/>
                      <a:pt x="169" y="42"/>
                    </a:cubicBezTo>
                    <a:cubicBezTo>
                      <a:pt x="163" y="35"/>
                      <a:pt x="163" y="35"/>
                      <a:pt x="163" y="35"/>
                    </a:cubicBezTo>
                    <a:cubicBezTo>
                      <a:pt x="160" y="37"/>
                      <a:pt x="160" y="37"/>
                      <a:pt x="160" y="37"/>
                    </a:cubicBezTo>
                    <a:cubicBezTo>
                      <a:pt x="160" y="37"/>
                      <a:pt x="160" y="37"/>
                      <a:pt x="160" y="37"/>
                    </a:cubicBezTo>
                    <a:cubicBezTo>
                      <a:pt x="162" y="37"/>
                      <a:pt x="163" y="37"/>
                      <a:pt x="163" y="37"/>
                    </a:cubicBezTo>
                    <a:cubicBezTo>
                      <a:pt x="163" y="37"/>
                      <a:pt x="164" y="37"/>
                      <a:pt x="164" y="38"/>
                    </a:cubicBezTo>
                    <a:cubicBezTo>
                      <a:pt x="165" y="38"/>
                      <a:pt x="165" y="38"/>
                      <a:pt x="165" y="38"/>
                    </a:cubicBezTo>
                    <a:cubicBezTo>
                      <a:pt x="165" y="39"/>
                      <a:pt x="165" y="39"/>
                      <a:pt x="164" y="39"/>
                    </a:cubicBezTo>
                    <a:cubicBezTo>
                      <a:pt x="154" y="47"/>
                      <a:pt x="154" y="47"/>
                      <a:pt x="154" y="47"/>
                    </a:cubicBezTo>
                    <a:cubicBezTo>
                      <a:pt x="154" y="47"/>
                      <a:pt x="154" y="47"/>
                      <a:pt x="154" y="47"/>
                    </a:cubicBezTo>
                    <a:cubicBezTo>
                      <a:pt x="154" y="47"/>
                      <a:pt x="153" y="47"/>
                      <a:pt x="153" y="47"/>
                    </a:cubicBezTo>
                    <a:cubicBezTo>
                      <a:pt x="153" y="46"/>
                      <a:pt x="153" y="46"/>
                      <a:pt x="153" y="46"/>
                    </a:cubicBezTo>
                    <a:cubicBezTo>
                      <a:pt x="152" y="47"/>
                      <a:pt x="152" y="47"/>
                      <a:pt x="152" y="47"/>
                    </a:cubicBezTo>
                    <a:cubicBezTo>
                      <a:pt x="155" y="50"/>
                      <a:pt x="155" y="50"/>
                      <a:pt x="155" y="50"/>
                    </a:cubicBezTo>
                    <a:close/>
                    <a:moveTo>
                      <a:pt x="174" y="54"/>
                    </a:moveTo>
                    <a:cubicBezTo>
                      <a:pt x="174" y="54"/>
                      <a:pt x="175" y="54"/>
                      <a:pt x="175" y="53"/>
                    </a:cubicBezTo>
                    <a:cubicBezTo>
                      <a:pt x="175" y="53"/>
                      <a:pt x="175" y="53"/>
                      <a:pt x="174" y="53"/>
                    </a:cubicBezTo>
                    <a:cubicBezTo>
                      <a:pt x="174" y="52"/>
                      <a:pt x="174" y="52"/>
                      <a:pt x="174" y="52"/>
                    </a:cubicBezTo>
                    <a:cubicBezTo>
                      <a:pt x="175" y="52"/>
                      <a:pt x="175" y="52"/>
                      <a:pt x="175" y="52"/>
                    </a:cubicBezTo>
                    <a:cubicBezTo>
                      <a:pt x="177" y="55"/>
                      <a:pt x="177" y="55"/>
                      <a:pt x="177" y="55"/>
                    </a:cubicBezTo>
                    <a:cubicBezTo>
                      <a:pt x="176" y="55"/>
                      <a:pt x="176" y="55"/>
                      <a:pt x="176" y="55"/>
                    </a:cubicBezTo>
                    <a:cubicBezTo>
                      <a:pt x="176" y="55"/>
                      <a:pt x="176" y="55"/>
                      <a:pt x="176" y="55"/>
                    </a:cubicBezTo>
                    <a:cubicBezTo>
                      <a:pt x="176" y="55"/>
                      <a:pt x="176" y="55"/>
                      <a:pt x="175" y="55"/>
                    </a:cubicBezTo>
                    <a:cubicBezTo>
                      <a:pt x="175" y="55"/>
                      <a:pt x="175" y="55"/>
                      <a:pt x="174" y="55"/>
                    </a:cubicBezTo>
                    <a:cubicBezTo>
                      <a:pt x="166" y="56"/>
                      <a:pt x="166" y="56"/>
                      <a:pt x="166" y="56"/>
                    </a:cubicBezTo>
                    <a:cubicBezTo>
                      <a:pt x="162" y="58"/>
                      <a:pt x="162" y="58"/>
                      <a:pt x="162" y="58"/>
                    </a:cubicBezTo>
                    <a:cubicBezTo>
                      <a:pt x="162" y="59"/>
                      <a:pt x="162" y="59"/>
                      <a:pt x="162" y="59"/>
                    </a:cubicBezTo>
                    <a:cubicBezTo>
                      <a:pt x="161" y="59"/>
                      <a:pt x="162" y="59"/>
                      <a:pt x="162" y="60"/>
                    </a:cubicBezTo>
                    <a:cubicBezTo>
                      <a:pt x="162" y="60"/>
                      <a:pt x="162" y="60"/>
                      <a:pt x="162" y="60"/>
                    </a:cubicBezTo>
                    <a:cubicBezTo>
                      <a:pt x="162" y="61"/>
                      <a:pt x="162" y="61"/>
                      <a:pt x="162" y="61"/>
                    </a:cubicBezTo>
                    <a:cubicBezTo>
                      <a:pt x="159" y="56"/>
                      <a:pt x="159" y="56"/>
                      <a:pt x="159" y="56"/>
                    </a:cubicBezTo>
                    <a:cubicBezTo>
                      <a:pt x="160" y="56"/>
                      <a:pt x="160" y="56"/>
                      <a:pt x="160" y="56"/>
                    </a:cubicBezTo>
                    <a:cubicBezTo>
                      <a:pt x="160" y="57"/>
                      <a:pt x="160" y="57"/>
                      <a:pt x="160" y="57"/>
                    </a:cubicBezTo>
                    <a:cubicBezTo>
                      <a:pt x="160" y="57"/>
                      <a:pt x="160" y="57"/>
                      <a:pt x="161" y="57"/>
                    </a:cubicBezTo>
                    <a:cubicBezTo>
                      <a:pt x="161" y="57"/>
                      <a:pt x="161" y="57"/>
                      <a:pt x="161" y="57"/>
                    </a:cubicBezTo>
                    <a:cubicBezTo>
                      <a:pt x="165" y="55"/>
                      <a:pt x="165" y="55"/>
                      <a:pt x="165" y="55"/>
                    </a:cubicBezTo>
                    <a:cubicBezTo>
                      <a:pt x="171" y="48"/>
                      <a:pt x="171" y="48"/>
                      <a:pt x="171" y="48"/>
                    </a:cubicBezTo>
                    <a:cubicBezTo>
                      <a:pt x="171" y="48"/>
                      <a:pt x="171" y="48"/>
                      <a:pt x="171" y="47"/>
                    </a:cubicBezTo>
                    <a:cubicBezTo>
                      <a:pt x="171" y="47"/>
                      <a:pt x="171" y="47"/>
                      <a:pt x="171" y="47"/>
                    </a:cubicBezTo>
                    <a:cubicBezTo>
                      <a:pt x="171" y="46"/>
                      <a:pt x="171" y="46"/>
                      <a:pt x="171" y="46"/>
                    </a:cubicBezTo>
                    <a:cubicBezTo>
                      <a:pt x="171" y="46"/>
                      <a:pt x="171" y="46"/>
                      <a:pt x="171" y="46"/>
                    </a:cubicBezTo>
                    <a:cubicBezTo>
                      <a:pt x="173" y="50"/>
                      <a:pt x="173" y="50"/>
                      <a:pt x="173" y="50"/>
                    </a:cubicBezTo>
                    <a:cubicBezTo>
                      <a:pt x="173" y="50"/>
                      <a:pt x="173" y="50"/>
                      <a:pt x="173" y="50"/>
                    </a:cubicBezTo>
                    <a:cubicBezTo>
                      <a:pt x="173" y="49"/>
                      <a:pt x="173" y="49"/>
                      <a:pt x="173" y="49"/>
                    </a:cubicBezTo>
                    <a:cubicBezTo>
                      <a:pt x="172" y="49"/>
                      <a:pt x="172" y="49"/>
                      <a:pt x="172" y="49"/>
                    </a:cubicBezTo>
                    <a:cubicBezTo>
                      <a:pt x="172" y="49"/>
                      <a:pt x="172" y="49"/>
                      <a:pt x="171" y="49"/>
                    </a:cubicBezTo>
                    <a:cubicBezTo>
                      <a:pt x="167" y="55"/>
                      <a:pt x="167" y="55"/>
                      <a:pt x="167" y="55"/>
                    </a:cubicBezTo>
                    <a:cubicBezTo>
                      <a:pt x="167" y="55"/>
                      <a:pt x="167" y="55"/>
                      <a:pt x="167" y="55"/>
                    </a:cubicBezTo>
                    <a:lnTo>
                      <a:pt x="174" y="54"/>
                    </a:lnTo>
                    <a:close/>
                  </a:path>
                </a:pathLst>
              </a:custGeom>
              <a:solidFill>
                <a:srgbClr val="FFFFFF"/>
              </a:solidFill>
              <a:ln w="3175" cap="flat">
                <a:solidFill>
                  <a:srgbClr val="FFFFFF"/>
                </a:solidFill>
                <a:prstDash val="solid"/>
                <a:miter lim="800000"/>
              </a:ln>
            </p:spPr>
            <p:txBody>
              <a:bodyPr anchor="ctr"/>
              <a:lstStyle/>
              <a:p>
                <a:pPr algn="ctr"/>
                <a:endParaRPr dirty="0"/>
              </a:p>
            </p:txBody>
          </p:sp>
          <p:sp>
            <p:nvSpPr>
              <p:cNvPr id="45" name="íŝ1îḓè"/>
              <p:cNvSpPr/>
              <p:nvPr/>
            </p:nvSpPr>
            <p:spPr bwMode="auto">
              <a:xfrm>
                <a:off x="3667126" y="3184525"/>
                <a:ext cx="492125" cy="496888"/>
              </a:xfrm>
              <a:custGeom>
                <a:avLst/>
                <a:gdLst>
                  <a:gd name="T0" fmla="*/ 74 w 149"/>
                  <a:gd name="T1" fmla="*/ 0 h 149"/>
                  <a:gd name="T2" fmla="*/ 149 w 149"/>
                  <a:gd name="T3" fmla="*/ 74 h 149"/>
                  <a:gd name="T4" fmla="*/ 74 w 149"/>
                  <a:gd name="T5" fmla="*/ 149 h 149"/>
                  <a:gd name="T6" fmla="*/ 0 w 149"/>
                  <a:gd name="T7" fmla="*/ 74 h 149"/>
                  <a:gd name="T8" fmla="*/ 74 w 149"/>
                  <a:gd name="T9" fmla="*/ 0 h 149"/>
                  <a:gd name="T10" fmla="*/ 74 w 149"/>
                  <a:gd name="T11" fmla="*/ 2 h 149"/>
                  <a:gd name="T12" fmla="*/ 2 w 149"/>
                  <a:gd name="T13" fmla="*/ 74 h 149"/>
                  <a:gd name="T14" fmla="*/ 74 w 149"/>
                  <a:gd name="T15" fmla="*/ 146 h 149"/>
                  <a:gd name="T16" fmla="*/ 146 w 149"/>
                  <a:gd name="T17" fmla="*/ 74 h 149"/>
                  <a:gd name="T18" fmla="*/ 74 w 149"/>
                  <a:gd name="T19"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149">
                    <a:moveTo>
                      <a:pt x="74" y="0"/>
                    </a:moveTo>
                    <a:cubicBezTo>
                      <a:pt x="115" y="0"/>
                      <a:pt x="149" y="33"/>
                      <a:pt x="149" y="74"/>
                    </a:cubicBezTo>
                    <a:cubicBezTo>
                      <a:pt x="149" y="115"/>
                      <a:pt x="115" y="149"/>
                      <a:pt x="74" y="149"/>
                    </a:cubicBezTo>
                    <a:cubicBezTo>
                      <a:pt x="33" y="149"/>
                      <a:pt x="0" y="115"/>
                      <a:pt x="0" y="74"/>
                    </a:cubicBezTo>
                    <a:cubicBezTo>
                      <a:pt x="0" y="33"/>
                      <a:pt x="33" y="0"/>
                      <a:pt x="74" y="0"/>
                    </a:cubicBezTo>
                    <a:close/>
                    <a:moveTo>
                      <a:pt x="74" y="2"/>
                    </a:moveTo>
                    <a:cubicBezTo>
                      <a:pt x="35" y="2"/>
                      <a:pt x="2" y="34"/>
                      <a:pt x="2" y="74"/>
                    </a:cubicBezTo>
                    <a:cubicBezTo>
                      <a:pt x="2" y="114"/>
                      <a:pt x="35" y="146"/>
                      <a:pt x="74" y="146"/>
                    </a:cubicBezTo>
                    <a:cubicBezTo>
                      <a:pt x="114" y="146"/>
                      <a:pt x="146" y="114"/>
                      <a:pt x="146" y="74"/>
                    </a:cubicBezTo>
                    <a:cubicBezTo>
                      <a:pt x="146" y="34"/>
                      <a:pt x="114" y="2"/>
                      <a:pt x="74" y="2"/>
                    </a:cubicBezTo>
                    <a:close/>
                  </a:path>
                </a:pathLst>
              </a:custGeom>
              <a:solidFill>
                <a:srgbClr val="00523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46" name="iṣḷîďê"/>
              <p:cNvSpPr/>
              <p:nvPr/>
            </p:nvSpPr>
            <p:spPr bwMode="auto">
              <a:xfrm>
                <a:off x="3775076" y="3248025"/>
                <a:ext cx="274638" cy="146050"/>
              </a:xfrm>
              <a:custGeom>
                <a:avLst/>
                <a:gdLst>
                  <a:gd name="T0" fmla="*/ 10 w 83"/>
                  <a:gd name="T1" fmla="*/ 43 h 44"/>
                  <a:gd name="T2" fmla="*/ 18 w 83"/>
                  <a:gd name="T3" fmla="*/ 39 h 44"/>
                  <a:gd name="T4" fmla="*/ 67 w 83"/>
                  <a:gd name="T5" fmla="*/ 39 h 44"/>
                  <a:gd name="T6" fmla="*/ 73 w 83"/>
                  <a:gd name="T7" fmla="*/ 42 h 44"/>
                  <a:gd name="T8" fmla="*/ 76 w 83"/>
                  <a:gd name="T9" fmla="*/ 43 h 44"/>
                  <a:gd name="T10" fmla="*/ 83 w 83"/>
                  <a:gd name="T11" fmla="*/ 35 h 44"/>
                  <a:gd name="T12" fmla="*/ 76 w 83"/>
                  <a:gd name="T13" fmla="*/ 37 h 44"/>
                  <a:gd name="T14" fmla="*/ 69 w 83"/>
                  <a:gd name="T15" fmla="*/ 33 h 44"/>
                  <a:gd name="T16" fmla="*/ 70 w 83"/>
                  <a:gd name="T17" fmla="*/ 26 h 44"/>
                  <a:gd name="T18" fmla="*/ 64 w 83"/>
                  <a:gd name="T19" fmla="*/ 30 h 44"/>
                  <a:gd name="T20" fmla="*/ 59 w 83"/>
                  <a:gd name="T21" fmla="*/ 31 h 44"/>
                  <a:gd name="T22" fmla="*/ 56 w 83"/>
                  <a:gd name="T23" fmla="*/ 29 h 44"/>
                  <a:gd name="T24" fmla="*/ 56 w 83"/>
                  <a:gd name="T25" fmla="*/ 24 h 44"/>
                  <a:gd name="T26" fmla="*/ 58 w 83"/>
                  <a:gd name="T27" fmla="*/ 23 h 44"/>
                  <a:gd name="T28" fmla="*/ 58 w 83"/>
                  <a:gd name="T29" fmla="*/ 19 h 44"/>
                  <a:gd name="T30" fmla="*/ 54 w 83"/>
                  <a:gd name="T31" fmla="*/ 19 h 44"/>
                  <a:gd name="T32" fmla="*/ 53 w 83"/>
                  <a:gd name="T33" fmla="*/ 21 h 44"/>
                  <a:gd name="T34" fmla="*/ 44 w 83"/>
                  <a:gd name="T35" fmla="*/ 21 h 44"/>
                  <a:gd name="T36" fmla="*/ 43 w 83"/>
                  <a:gd name="T37" fmla="*/ 18 h 44"/>
                  <a:gd name="T38" fmla="*/ 44 w 83"/>
                  <a:gd name="T39" fmla="*/ 13 h 44"/>
                  <a:gd name="T40" fmla="*/ 43 w 83"/>
                  <a:gd name="T41" fmla="*/ 8 h 44"/>
                  <a:gd name="T42" fmla="*/ 43 w 83"/>
                  <a:gd name="T43" fmla="*/ 6 h 44"/>
                  <a:gd name="T44" fmla="*/ 43 w 83"/>
                  <a:gd name="T45" fmla="*/ 2 h 44"/>
                  <a:gd name="T46" fmla="*/ 43 w 83"/>
                  <a:gd name="T47" fmla="*/ 0 h 44"/>
                  <a:gd name="T48" fmla="*/ 40 w 83"/>
                  <a:gd name="T49" fmla="*/ 0 h 44"/>
                  <a:gd name="T50" fmla="*/ 39 w 83"/>
                  <a:gd name="T51" fmla="*/ 2 h 44"/>
                  <a:gd name="T52" fmla="*/ 39 w 83"/>
                  <a:gd name="T53" fmla="*/ 6 h 44"/>
                  <a:gd name="T54" fmla="*/ 39 w 83"/>
                  <a:gd name="T55" fmla="*/ 8 h 44"/>
                  <a:gd name="T56" fmla="*/ 38 w 83"/>
                  <a:gd name="T57" fmla="*/ 13 h 44"/>
                  <a:gd name="T58" fmla="*/ 38 w 83"/>
                  <a:gd name="T59" fmla="*/ 18 h 44"/>
                  <a:gd name="T60" fmla="*/ 38 w 83"/>
                  <a:gd name="T61" fmla="*/ 21 h 44"/>
                  <a:gd name="T62" fmla="*/ 30 w 83"/>
                  <a:gd name="T63" fmla="*/ 21 h 44"/>
                  <a:gd name="T64" fmla="*/ 29 w 83"/>
                  <a:gd name="T65" fmla="*/ 19 h 44"/>
                  <a:gd name="T66" fmla="*/ 25 w 83"/>
                  <a:gd name="T67" fmla="*/ 19 h 44"/>
                  <a:gd name="T68" fmla="*/ 25 w 83"/>
                  <a:gd name="T69" fmla="*/ 23 h 44"/>
                  <a:gd name="T70" fmla="*/ 26 w 83"/>
                  <a:gd name="T71" fmla="*/ 24 h 44"/>
                  <a:gd name="T72" fmla="*/ 27 w 83"/>
                  <a:gd name="T73" fmla="*/ 29 h 44"/>
                  <a:gd name="T74" fmla="*/ 22 w 83"/>
                  <a:gd name="T75" fmla="*/ 31 h 44"/>
                  <a:gd name="T76" fmla="*/ 13 w 83"/>
                  <a:gd name="T77" fmla="*/ 26 h 44"/>
                  <a:gd name="T78" fmla="*/ 13 w 83"/>
                  <a:gd name="T79" fmla="*/ 35 h 44"/>
                  <a:gd name="T80" fmla="*/ 7 w 83"/>
                  <a:gd name="T81" fmla="*/ 37 h 44"/>
                  <a:gd name="T82" fmla="*/ 0 w 83"/>
                  <a:gd name="T83" fmla="*/ 34 h 44"/>
                  <a:gd name="T84" fmla="*/ 5 w 83"/>
                  <a:gd name="T85" fmla="*/ 42 h 44"/>
                  <a:gd name="T86" fmla="*/ 10 w 83"/>
                  <a:gd name="T87" fmla="*/ 4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3" h="44">
                    <a:moveTo>
                      <a:pt x="10" y="43"/>
                    </a:moveTo>
                    <a:cubicBezTo>
                      <a:pt x="18" y="39"/>
                      <a:pt x="18" y="39"/>
                      <a:pt x="18" y="39"/>
                    </a:cubicBezTo>
                    <a:cubicBezTo>
                      <a:pt x="67" y="39"/>
                      <a:pt x="67" y="39"/>
                      <a:pt x="67" y="39"/>
                    </a:cubicBezTo>
                    <a:cubicBezTo>
                      <a:pt x="73" y="42"/>
                      <a:pt x="73" y="42"/>
                      <a:pt x="73" y="42"/>
                    </a:cubicBezTo>
                    <a:cubicBezTo>
                      <a:pt x="74" y="43"/>
                      <a:pt x="75" y="43"/>
                      <a:pt x="76" y="43"/>
                    </a:cubicBezTo>
                    <a:cubicBezTo>
                      <a:pt x="80" y="42"/>
                      <a:pt x="83" y="35"/>
                      <a:pt x="83" y="35"/>
                    </a:cubicBezTo>
                    <a:cubicBezTo>
                      <a:pt x="83" y="35"/>
                      <a:pt x="79" y="38"/>
                      <a:pt x="76" y="37"/>
                    </a:cubicBezTo>
                    <a:cubicBezTo>
                      <a:pt x="73" y="37"/>
                      <a:pt x="69" y="36"/>
                      <a:pt x="69" y="33"/>
                    </a:cubicBezTo>
                    <a:cubicBezTo>
                      <a:pt x="69" y="30"/>
                      <a:pt x="70" y="27"/>
                      <a:pt x="70" y="26"/>
                    </a:cubicBezTo>
                    <a:cubicBezTo>
                      <a:pt x="70" y="26"/>
                      <a:pt x="67" y="29"/>
                      <a:pt x="64" y="30"/>
                    </a:cubicBezTo>
                    <a:cubicBezTo>
                      <a:pt x="61" y="32"/>
                      <a:pt x="60" y="31"/>
                      <a:pt x="59" y="31"/>
                    </a:cubicBezTo>
                    <a:cubicBezTo>
                      <a:pt x="57" y="30"/>
                      <a:pt x="56" y="29"/>
                      <a:pt x="56" y="29"/>
                    </a:cubicBezTo>
                    <a:cubicBezTo>
                      <a:pt x="56" y="24"/>
                      <a:pt x="56" y="24"/>
                      <a:pt x="56" y="24"/>
                    </a:cubicBezTo>
                    <a:cubicBezTo>
                      <a:pt x="58" y="23"/>
                      <a:pt x="58" y="23"/>
                      <a:pt x="58" y="23"/>
                    </a:cubicBezTo>
                    <a:cubicBezTo>
                      <a:pt x="58" y="19"/>
                      <a:pt x="58" y="19"/>
                      <a:pt x="58" y="19"/>
                    </a:cubicBezTo>
                    <a:cubicBezTo>
                      <a:pt x="54" y="19"/>
                      <a:pt x="54" y="19"/>
                      <a:pt x="54" y="19"/>
                    </a:cubicBezTo>
                    <a:cubicBezTo>
                      <a:pt x="54" y="19"/>
                      <a:pt x="54" y="21"/>
                      <a:pt x="53" y="21"/>
                    </a:cubicBezTo>
                    <a:cubicBezTo>
                      <a:pt x="52" y="21"/>
                      <a:pt x="44" y="21"/>
                      <a:pt x="44" y="21"/>
                    </a:cubicBezTo>
                    <a:cubicBezTo>
                      <a:pt x="44" y="21"/>
                      <a:pt x="43" y="20"/>
                      <a:pt x="43" y="18"/>
                    </a:cubicBezTo>
                    <a:cubicBezTo>
                      <a:pt x="44" y="17"/>
                      <a:pt x="44" y="17"/>
                      <a:pt x="44" y="13"/>
                    </a:cubicBezTo>
                    <a:cubicBezTo>
                      <a:pt x="44" y="10"/>
                      <a:pt x="44" y="9"/>
                      <a:pt x="43" y="8"/>
                    </a:cubicBezTo>
                    <a:cubicBezTo>
                      <a:pt x="43" y="7"/>
                      <a:pt x="42" y="7"/>
                      <a:pt x="43" y="6"/>
                    </a:cubicBezTo>
                    <a:cubicBezTo>
                      <a:pt x="44" y="5"/>
                      <a:pt x="44" y="4"/>
                      <a:pt x="43" y="2"/>
                    </a:cubicBezTo>
                    <a:cubicBezTo>
                      <a:pt x="42" y="1"/>
                      <a:pt x="43" y="2"/>
                      <a:pt x="43" y="0"/>
                    </a:cubicBezTo>
                    <a:cubicBezTo>
                      <a:pt x="40" y="0"/>
                      <a:pt x="40" y="0"/>
                      <a:pt x="40" y="0"/>
                    </a:cubicBezTo>
                    <a:cubicBezTo>
                      <a:pt x="39" y="0"/>
                      <a:pt x="40" y="1"/>
                      <a:pt x="39" y="2"/>
                    </a:cubicBezTo>
                    <a:cubicBezTo>
                      <a:pt x="38" y="3"/>
                      <a:pt x="38" y="5"/>
                      <a:pt x="39" y="6"/>
                    </a:cubicBezTo>
                    <a:cubicBezTo>
                      <a:pt x="39" y="7"/>
                      <a:pt x="40" y="7"/>
                      <a:pt x="39" y="8"/>
                    </a:cubicBezTo>
                    <a:cubicBezTo>
                      <a:pt x="38" y="9"/>
                      <a:pt x="38" y="10"/>
                      <a:pt x="38" y="13"/>
                    </a:cubicBezTo>
                    <a:cubicBezTo>
                      <a:pt x="38" y="16"/>
                      <a:pt x="38" y="17"/>
                      <a:pt x="38" y="18"/>
                    </a:cubicBezTo>
                    <a:cubicBezTo>
                      <a:pt x="39" y="20"/>
                      <a:pt x="38" y="21"/>
                      <a:pt x="38" y="21"/>
                    </a:cubicBezTo>
                    <a:cubicBezTo>
                      <a:pt x="37" y="21"/>
                      <a:pt x="30" y="21"/>
                      <a:pt x="30" y="21"/>
                    </a:cubicBezTo>
                    <a:cubicBezTo>
                      <a:pt x="30" y="21"/>
                      <a:pt x="29" y="20"/>
                      <a:pt x="29" y="19"/>
                    </a:cubicBezTo>
                    <a:cubicBezTo>
                      <a:pt x="25" y="19"/>
                      <a:pt x="25" y="19"/>
                      <a:pt x="25" y="19"/>
                    </a:cubicBezTo>
                    <a:cubicBezTo>
                      <a:pt x="25" y="23"/>
                      <a:pt x="25" y="23"/>
                      <a:pt x="25" y="23"/>
                    </a:cubicBezTo>
                    <a:cubicBezTo>
                      <a:pt x="26" y="24"/>
                      <a:pt x="26" y="24"/>
                      <a:pt x="26" y="24"/>
                    </a:cubicBezTo>
                    <a:cubicBezTo>
                      <a:pt x="27" y="29"/>
                      <a:pt x="27" y="29"/>
                      <a:pt x="27" y="29"/>
                    </a:cubicBezTo>
                    <a:cubicBezTo>
                      <a:pt x="27" y="29"/>
                      <a:pt x="24" y="31"/>
                      <a:pt x="22" y="31"/>
                    </a:cubicBezTo>
                    <a:cubicBezTo>
                      <a:pt x="19" y="31"/>
                      <a:pt x="13" y="26"/>
                      <a:pt x="13" y="26"/>
                    </a:cubicBezTo>
                    <a:cubicBezTo>
                      <a:pt x="13" y="26"/>
                      <a:pt x="14" y="33"/>
                      <a:pt x="13" y="35"/>
                    </a:cubicBezTo>
                    <a:cubicBezTo>
                      <a:pt x="13" y="37"/>
                      <a:pt x="10" y="37"/>
                      <a:pt x="7" y="37"/>
                    </a:cubicBezTo>
                    <a:cubicBezTo>
                      <a:pt x="4" y="37"/>
                      <a:pt x="0" y="35"/>
                      <a:pt x="0" y="34"/>
                    </a:cubicBezTo>
                    <a:cubicBezTo>
                      <a:pt x="0" y="34"/>
                      <a:pt x="3" y="40"/>
                      <a:pt x="5" y="42"/>
                    </a:cubicBezTo>
                    <a:cubicBezTo>
                      <a:pt x="7" y="44"/>
                      <a:pt x="10" y="43"/>
                      <a:pt x="10" y="43"/>
                    </a:cubicBezTo>
                    <a:close/>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47" name="iṧlîḋe"/>
              <p:cNvSpPr/>
              <p:nvPr/>
            </p:nvSpPr>
            <p:spPr bwMode="auto">
              <a:xfrm>
                <a:off x="3614738" y="3370263"/>
                <a:ext cx="596900" cy="241300"/>
              </a:xfrm>
              <a:custGeom>
                <a:avLst/>
                <a:gdLst>
                  <a:gd name="T0" fmla="*/ 58 w 181"/>
                  <a:gd name="T1" fmla="*/ 72 h 72"/>
                  <a:gd name="T2" fmla="*/ 8 w 181"/>
                  <a:gd name="T3" fmla="*/ 72 h 72"/>
                  <a:gd name="T4" fmla="*/ 3 w 181"/>
                  <a:gd name="T5" fmla="*/ 63 h 72"/>
                  <a:gd name="T6" fmla="*/ 6 w 181"/>
                  <a:gd name="T7" fmla="*/ 63 h 72"/>
                  <a:gd name="T8" fmla="*/ 11 w 181"/>
                  <a:gd name="T9" fmla="*/ 55 h 72"/>
                  <a:gd name="T10" fmla="*/ 14 w 181"/>
                  <a:gd name="T11" fmla="*/ 55 h 72"/>
                  <a:gd name="T12" fmla="*/ 14 w 181"/>
                  <a:gd name="T13" fmla="*/ 29 h 72"/>
                  <a:gd name="T14" fmla="*/ 0 w 181"/>
                  <a:gd name="T15" fmla="*/ 4 h 72"/>
                  <a:gd name="T16" fmla="*/ 30 w 181"/>
                  <a:gd name="T17" fmla="*/ 0 h 72"/>
                  <a:gd name="T18" fmla="*/ 58 w 181"/>
                  <a:gd name="T19" fmla="*/ 8 h 72"/>
                  <a:gd name="T20" fmla="*/ 51 w 181"/>
                  <a:gd name="T21" fmla="*/ 25 h 72"/>
                  <a:gd name="T22" fmla="*/ 131 w 181"/>
                  <a:gd name="T23" fmla="*/ 25 h 72"/>
                  <a:gd name="T24" fmla="*/ 122 w 181"/>
                  <a:gd name="T25" fmla="*/ 8 h 72"/>
                  <a:gd name="T26" fmla="*/ 150 w 181"/>
                  <a:gd name="T27" fmla="*/ 0 h 72"/>
                  <a:gd name="T28" fmla="*/ 181 w 181"/>
                  <a:gd name="T29" fmla="*/ 5 h 72"/>
                  <a:gd name="T30" fmla="*/ 166 w 181"/>
                  <a:gd name="T31" fmla="*/ 28 h 72"/>
                  <a:gd name="T32" fmla="*/ 166 w 181"/>
                  <a:gd name="T33" fmla="*/ 55 h 72"/>
                  <a:gd name="T34" fmla="*/ 171 w 181"/>
                  <a:gd name="T35" fmla="*/ 55 h 72"/>
                  <a:gd name="T36" fmla="*/ 178 w 181"/>
                  <a:gd name="T37" fmla="*/ 65 h 72"/>
                  <a:gd name="T38" fmla="*/ 174 w 181"/>
                  <a:gd name="T39" fmla="*/ 72 h 72"/>
                  <a:gd name="T40" fmla="*/ 58 w 181"/>
                  <a:gd name="T4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1" h="72">
                    <a:moveTo>
                      <a:pt x="58" y="72"/>
                    </a:moveTo>
                    <a:cubicBezTo>
                      <a:pt x="8" y="72"/>
                      <a:pt x="8" y="72"/>
                      <a:pt x="8" y="72"/>
                    </a:cubicBezTo>
                    <a:cubicBezTo>
                      <a:pt x="3" y="63"/>
                      <a:pt x="3" y="63"/>
                      <a:pt x="3" y="63"/>
                    </a:cubicBezTo>
                    <a:cubicBezTo>
                      <a:pt x="6" y="63"/>
                      <a:pt x="6" y="63"/>
                      <a:pt x="6" y="63"/>
                    </a:cubicBezTo>
                    <a:cubicBezTo>
                      <a:pt x="7" y="61"/>
                      <a:pt x="10" y="57"/>
                      <a:pt x="11" y="55"/>
                    </a:cubicBezTo>
                    <a:cubicBezTo>
                      <a:pt x="12" y="55"/>
                      <a:pt x="13" y="55"/>
                      <a:pt x="14" y="55"/>
                    </a:cubicBezTo>
                    <a:cubicBezTo>
                      <a:pt x="14" y="45"/>
                      <a:pt x="14" y="39"/>
                      <a:pt x="14" y="29"/>
                    </a:cubicBezTo>
                    <a:cubicBezTo>
                      <a:pt x="6" y="25"/>
                      <a:pt x="0" y="19"/>
                      <a:pt x="0" y="4"/>
                    </a:cubicBezTo>
                    <a:cubicBezTo>
                      <a:pt x="13" y="19"/>
                      <a:pt x="25" y="20"/>
                      <a:pt x="30" y="0"/>
                    </a:cubicBezTo>
                    <a:cubicBezTo>
                      <a:pt x="40" y="22"/>
                      <a:pt x="50" y="16"/>
                      <a:pt x="58" y="8"/>
                    </a:cubicBezTo>
                    <a:cubicBezTo>
                      <a:pt x="59" y="17"/>
                      <a:pt x="51" y="24"/>
                      <a:pt x="51" y="25"/>
                    </a:cubicBezTo>
                    <a:cubicBezTo>
                      <a:pt x="131" y="25"/>
                      <a:pt x="131" y="25"/>
                      <a:pt x="131" y="25"/>
                    </a:cubicBezTo>
                    <a:cubicBezTo>
                      <a:pt x="128" y="21"/>
                      <a:pt x="123" y="15"/>
                      <a:pt x="122" y="8"/>
                    </a:cubicBezTo>
                    <a:cubicBezTo>
                      <a:pt x="131" y="18"/>
                      <a:pt x="141" y="23"/>
                      <a:pt x="150" y="0"/>
                    </a:cubicBezTo>
                    <a:cubicBezTo>
                      <a:pt x="160" y="23"/>
                      <a:pt x="169" y="16"/>
                      <a:pt x="181" y="5"/>
                    </a:cubicBezTo>
                    <a:cubicBezTo>
                      <a:pt x="178" y="23"/>
                      <a:pt x="174" y="23"/>
                      <a:pt x="166" y="28"/>
                    </a:cubicBezTo>
                    <a:cubicBezTo>
                      <a:pt x="166" y="38"/>
                      <a:pt x="166" y="45"/>
                      <a:pt x="166" y="55"/>
                    </a:cubicBezTo>
                    <a:cubicBezTo>
                      <a:pt x="168" y="55"/>
                      <a:pt x="169" y="55"/>
                      <a:pt x="171" y="55"/>
                    </a:cubicBezTo>
                    <a:cubicBezTo>
                      <a:pt x="178" y="65"/>
                      <a:pt x="178" y="65"/>
                      <a:pt x="178" y="65"/>
                    </a:cubicBezTo>
                    <a:cubicBezTo>
                      <a:pt x="174" y="72"/>
                      <a:pt x="174" y="72"/>
                      <a:pt x="174" y="72"/>
                    </a:cubicBezTo>
                    <a:lnTo>
                      <a:pt x="58" y="7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48" name="ïṩľïḓè"/>
              <p:cNvSpPr/>
              <p:nvPr/>
            </p:nvSpPr>
            <p:spPr bwMode="auto">
              <a:xfrm>
                <a:off x="3624263" y="3381375"/>
                <a:ext cx="577850" cy="200025"/>
              </a:xfrm>
              <a:custGeom>
                <a:avLst/>
                <a:gdLst>
                  <a:gd name="T0" fmla="*/ 130 w 175"/>
                  <a:gd name="T1" fmla="*/ 51 h 60"/>
                  <a:gd name="T2" fmla="*/ 130 w 175"/>
                  <a:gd name="T3" fmla="*/ 50 h 60"/>
                  <a:gd name="T4" fmla="*/ 48 w 175"/>
                  <a:gd name="T5" fmla="*/ 50 h 60"/>
                  <a:gd name="T6" fmla="*/ 48 w 175"/>
                  <a:gd name="T7" fmla="*/ 51 h 60"/>
                  <a:gd name="T8" fmla="*/ 52 w 175"/>
                  <a:gd name="T9" fmla="*/ 51 h 60"/>
                  <a:gd name="T10" fmla="*/ 48 w 175"/>
                  <a:gd name="T11" fmla="*/ 60 h 60"/>
                  <a:gd name="T12" fmla="*/ 7 w 175"/>
                  <a:gd name="T13" fmla="*/ 60 h 60"/>
                  <a:gd name="T14" fmla="*/ 10 w 175"/>
                  <a:gd name="T15" fmla="*/ 54 h 60"/>
                  <a:gd name="T16" fmla="*/ 14 w 175"/>
                  <a:gd name="T17" fmla="*/ 54 h 60"/>
                  <a:gd name="T18" fmla="*/ 13 w 175"/>
                  <a:gd name="T19" fmla="*/ 25 h 60"/>
                  <a:gd name="T20" fmla="*/ 0 w 175"/>
                  <a:gd name="T21" fmla="*/ 7 h 60"/>
                  <a:gd name="T22" fmla="*/ 28 w 175"/>
                  <a:gd name="T23" fmla="*/ 0 h 60"/>
                  <a:gd name="T24" fmla="*/ 55 w 175"/>
                  <a:gd name="T25" fmla="*/ 7 h 60"/>
                  <a:gd name="T26" fmla="*/ 48 w 175"/>
                  <a:gd name="T27" fmla="*/ 22 h 60"/>
                  <a:gd name="T28" fmla="*/ 127 w 175"/>
                  <a:gd name="T29" fmla="*/ 22 h 60"/>
                  <a:gd name="T30" fmla="*/ 119 w 175"/>
                  <a:gd name="T31" fmla="*/ 7 h 60"/>
                  <a:gd name="T32" fmla="*/ 147 w 175"/>
                  <a:gd name="T33" fmla="*/ 0 h 60"/>
                  <a:gd name="T34" fmla="*/ 175 w 175"/>
                  <a:gd name="T35" fmla="*/ 7 h 60"/>
                  <a:gd name="T36" fmla="*/ 161 w 175"/>
                  <a:gd name="T37" fmla="*/ 24 h 60"/>
                  <a:gd name="T38" fmla="*/ 161 w 175"/>
                  <a:gd name="T39" fmla="*/ 53 h 60"/>
                  <a:gd name="T40" fmla="*/ 165 w 175"/>
                  <a:gd name="T41" fmla="*/ 53 h 60"/>
                  <a:gd name="T42" fmla="*/ 169 w 175"/>
                  <a:gd name="T43" fmla="*/ 60 h 60"/>
                  <a:gd name="T44" fmla="*/ 128 w 175"/>
                  <a:gd name="T45" fmla="*/ 60 h 60"/>
                  <a:gd name="T46" fmla="*/ 124 w 175"/>
                  <a:gd name="T47" fmla="*/ 51 h 60"/>
                  <a:gd name="T48" fmla="*/ 130 w 175"/>
                  <a:gd name="T49" fmla="*/ 5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5" h="60">
                    <a:moveTo>
                      <a:pt x="130" y="51"/>
                    </a:moveTo>
                    <a:cubicBezTo>
                      <a:pt x="130" y="50"/>
                      <a:pt x="130" y="50"/>
                      <a:pt x="130" y="50"/>
                    </a:cubicBezTo>
                    <a:cubicBezTo>
                      <a:pt x="48" y="50"/>
                      <a:pt x="48" y="50"/>
                      <a:pt x="48" y="50"/>
                    </a:cubicBezTo>
                    <a:cubicBezTo>
                      <a:pt x="48" y="51"/>
                      <a:pt x="48" y="51"/>
                      <a:pt x="48" y="51"/>
                    </a:cubicBezTo>
                    <a:cubicBezTo>
                      <a:pt x="52" y="51"/>
                      <a:pt x="52" y="51"/>
                      <a:pt x="52" y="51"/>
                    </a:cubicBezTo>
                    <a:cubicBezTo>
                      <a:pt x="48" y="60"/>
                      <a:pt x="48" y="60"/>
                      <a:pt x="48" y="60"/>
                    </a:cubicBezTo>
                    <a:cubicBezTo>
                      <a:pt x="34" y="60"/>
                      <a:pt x="20" y="60"/>
                      <a:pt x="7" y="60"/>
                    </a:cubicBezTo>
                    <a:cubicBezTo>
                      <a:pt x="8" y="58"/>
                      <a:pt x="9" y="56"/>
                      <a:pt x="10" y="54"/>
                    </a:cubicBezTo>
                    <a:cubicBezTo>
                      <a:pt x="11" y="54"/>
                      <a:pt x="12" y="54"/>
                      <a:pt x="14" y="54"/>
                    </a:cubicBezTo>
                    <a:cubicBezTo>
                      <a:pt x="14" y="44"/>
                      <a:pt x="13" y="34"/>
                      <a:pt x="13" y="25"/>
                    </a:cubicBezTo>
                    <a:cubicBezTo>
                      <a:pt x="5" y="20"/>
                      <a:pt x="1" y="14"/>
                      <a:pt x="0" y="7"/>
                    </a:cubicBezTo>
                    <a:cubicBezTo>
                      <a:pt x="12" y="18"/>
                      <a:pt x="22" y="17"/>
                      <a:pt x="28" y="0"/>
                    </a:cubicBezTo>
                    <a:cubicBezTo>
                      <a:pt x="37" y="22"/>
                      <a:pt x="47" y="15"/>
                      <a:pt x="55" y="7"/>
                    </a:cubicBezTo>
                    <a:cubicBezTo>
                      <a:pt x="55" y="14"/>
                      <a:pt x="50" y="17"/>
                      <a:pt x="48" y="22"/>
                    </a:cubicBezTo>
                    <a:cubicBezTo>
                      <a:pt x="127" y="22"/>
                      <a:pt x="127" y="22"/>
                      <a:pt x="127" y="22"/>
                    </a:cubicBezTo>
                    <a:cubicBezTo>
                      <a:pt x="125" y="18"/>
                      <a:pt x="120" y="14"/>
                      <a:pt x="119" y="7"/>
                    </a:cubicBezTo>
                    <a:cubicBezTo>
                      <a:pt x="127" y="15"/>
                      <a:pt x="137" y="22"/>
                      <a:pt x="147" y="0"/>
                    </a:cubicBezTo>
                    <a:cubicBezTo>
                      <a:pt x="153" y="17"/>
                      <a:pt x="163" y="18"/>
                      <a:pt x="175" y="7"/>
                    </a:cubicBezTo>
                    <a:cubicBezTo>
                      <a:pt x="173" y="14"/>
                      <a:pt x="169" y="19"/>
                      <a:pt x="161" y="24"/>
                    </a:cubicBezTo>
                    <a:cubicBezTo>
                      <a:pt x="161" y="34"/>
                      <a:pt x="161" y="44"/>
                      <a:pt x="161" y="53"/>
                    </a:cubicBezTo>
                    <a:cubicBezTo>
                      <a:pt x="162" y="53"/>
                      <a:pt x="164" y="53"/>
                      <a:pt x="165" y="53"/>
                    </a:cubicBezTo>
                    <a:cubicBezTo>
                      <a:pt x="166" y="55"/>
                      <a:pt x="167" y="58"/>
                      <a:pt x="169" y="60"/>
                    </a:cubicBezTo>
                    <a:cubicBezTo>
                      <a:pt x="155" y="60"/>
                      <a:pt x="142" y="60"/>
                      <a:pt x="128" y="60"/>
                    </a:cubicBezTo>
                    <a:cubicBezTo>
                      <a:pt x="124" y="51"/>
                      <a:pt x="124" y="51"/>
                      <a:pt x="124" y="51"/>
                    </a:cubicBezTo>
                    <a:lnTo>
                      <a:pt x="130" y="51"/>
                    </a:lnTo>
                    <a:close/>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49" name="iṣľïdê"/>
              <p:cNvSpPr/>
              <p:nvPr/>
            </p:nvSpPr>
            <p:spPr bwMode="auto">
              <a:xfrm>
                <a:off x="4065588" y="3490913"/>
                <a:ext cx="17463"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50" name="îšļíḍe"/>
              <p:cNvSpPr/>
              <p:nvPr/>
            </p:nvSpPr>
            <p:spPr bwMode="auto">
              <a:xfrm>
                <a:off x="3740151" y="3490913"/>
                <a:ext cx="1587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51" name="íṧľîḋe"/>
              <p:cNvSpPr/>
              <p:nvPr/>
            </p:nvSpPr>
            <p:spPr bwMode="auto">
              <a:xfrm>
                <a:off x="4125913" y="3490913"/>
                <a:ext cx="1587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52" name="îŝľîdê"/>
              <p:cNvSpPr/>
              <p:nvPr/>
            </p:nvSpPr>
            <p:spPr bwMode="auto">
              <a:xfrm>
                <a:off x="3709988" y="3490913"/>
                <a:ext cx="1587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53" name="îṧlîḓè"/>
              <p:cNvSpPr/>
              <p:nvPr/>
            </p:nvSpPr>
            <p:spPr bwMode="auto">
              <a:xfrm>
                <a:off x="4095751" y="3490913"/>
                <a:ext cx="17463"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54" name="iṥḻîḍe"/>
              <p:cNvSpPr/>
              <p:nvPr/>
            </p:nvSpPr>
            <p:spPr bwMode="auto">
              <a:xfrm>
                <a:off x="3663951" y="3460750"/>
                <a:ext cx="495300"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55" name="iṩļïďe"/>
              <p:cNvSpPr/>
              <p:nvPr/>
            </p:nvSpPr>
            <p:spPr bwMode="auto">
              <a:xfrm>
                <a:off x="3663951" y="3473450"/>
                <a:ext cx="115888" cy="4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56" name="iṧliḋé"/>
              <p:cNvSpPr/>
              <p:nvPr/>
            </p:nvSpPr>
            <p:spPr bwMode="auto">
              <a:xfrm>
                <a:off x="3789363" y="3473450"/>
                <a:ext cx="42863" cy="4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57" name="ïs1íde"/>
              <p:cNvSpPr/>
              <p:nvPr/>
            </p:nvSpPr>
            <p:spPr bwMode="auto">
              <a:xfrm>
                <a:off x="3851276" y="3473450"/>
                <a:ext cx="57150" cy="4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58" name="iṣļíde"/>
              <p:cNvSpPr/>
              <p:nvPr/>
            </p:nvSpPr>
            <p:spPr bwMode="auto">
              <a:xfrm>
                <a:off x="3917951" y="3473450"/>
                <a:ext cx="55563" cy="4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59" name="îS1idê"/>
              <p:cNvSpPr/>
              <p:nvPr/>
            </p:nvSpPr>
            <p:spPr bwMode="auto">
              <a:xfrm>
                <a:off x="3994151" y="3473450"/>
                <a:ext cx="42863" cy="4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60" name="íŝlíḓê"/>
              <p:cNvSpPr/>
              <p:nvPr/>
            </p:nvSpPr>
            <p:spPr bwMode="auto">
              <a:xfrm>
                <a:off x="4046538" y="3473450"/>
                <a:ext cx="112713" cy="4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61" name="íšḷíḍè"/>
              <p:cNvSpPr/>
              <p:nvPr/>
            </p:nvSpPr>
            <p:spPr bwMode="auto">
              <a:xfrm>
                <a:off x="3979863" y="3473450"/>
                <a:ext cx="7938" cy="4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62" name="îṣļïďé"/>
              <p:cNvSpPr/>
              <p:nvPr/>
            </p:nvSpPr>
            <p:spPr bwMode="auto">
              <a:xfrm>
                <a:off x="3838576" y="3473450"/>
                <a:ext cx="6350" cy="4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63" name="išľïḑê"/>
              <p:cNvSpPr/>
              <p:nvPr/>
            </p:nvSpPr>
            <p:spPr bwMode="auto">
              <a:xfrm>
                <a:off x="3851276" y="3384550"/>
                <a:ext cx="26988" cy="6350"/>
              </a:xfrm>
              <a:custGeom>
                <a:avLst/>
                <a:gdLst>
                  <a:gd name="T0" fmla="*/ 8 w 8"/>
                  <a:gd name="T1" fmla="*/ 0 h 2"/>
                  <a:gd name="T2" fmla="*/ 8 w 8"/>
                  <a:gd name="T3" fmla="*/ 2 h 2"/>
                  <a:gd name="T4" fmla="*/ 0 w 8"/>
                  <a:gd name="T5" fmla="*/ 2 h 2"/>
                  <a:gd name="T6" fmla="*/ 8 w 8"/>
                  <a:gd name="T7" fmla="*/ 0 h 2"/>
                  <a:gd name="T8" fmla="*/ 8 w 8"/>
                  <a:gd name="T9" fmla="*/ 0 h 2"/>
                  <a:gd name="T10" fmla="*/ 8 w 8"/>
                  <a:gd name="T11" fmla="*/ 0 h 2"/>
                </a:gdLst>
                <a:ahLst/>
                <a:cxnLst>
                  <a:cxn ang="0">
                    <a:pos x="T0" y="T1"/>
                  </a:cxn>
                  <a:cxn ang="0">
                    <a:pos x="T2" y="T3"/>
                  </a:cxn>
                  <a:cxn ang="0">
                    <a:pos x="T4" y="T5"/>
                  </a:cxn>
                  <a:cxn ang="0">
                    <a:pos x="T6" y="T7"/>
                  </a:cxn>
                  <a:cxn ang="0">
                    <a:pos x="T8" y="T9"/>
                  </a:cxn>
                  <a:cxn ang="0">
                    <a:pos x="T10" y="T11"/>
                  </a:cxn>
                </a:cxnLst>
                <a:rect l="0" t="0" r="r" b="b"/>
                <a:pathLst>
                  <a:path w="8" h="2">
                    <a:moveTo>
                      <a:pt x="8" y="0"/>
                    </a:moveTo>
                    <a:cubicBezTo>
                      <a:pt x="8" y="2"/>
                      <a:pt x="8" y="2"/>
                      <a:pt x="8" y="2"/>
                    </a:cubicBezTo>
                    <a:cubicBezTo>
                      <a:pt x="0" y="2"/>
                      <a:pt x="0" y="2"/>
                      <a:pt x="0" y="2"/>
                    </a:cubicBezTo>
                    <a:cubicBezTo>
                      <a:pt x="0" y="2"/>
                      <a:pt x="0" y="0"/>
                      <a:pt x="8" y="0"/>
                    </a:cubicBezTo>
                    <a:close/>
                    <a:moveTo>
                      <a:pt x="8" y="0"/>
                    </a:moveTo>
                    <a:cubicBezTo>
                      <a:pt x="8" y="0"/>
                      <a:pt x="8" y="0"/>
                      <a:pt x="8" y="0"/>
                    </a:cubicBezTo>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64" name="íṣlíḋê"/>
              <p:cNvSpPr/>
              <p:nvPr/>
            </p:nvSpPr>
            <p:spPr bwMode="auto">
              <a:xfrm>
                <a:off x="3817938" y="3384550"/>
                <a:ext cx="26988" cy="15875"/>
              </a:xfrm>
              <a:custGeom>
                <a:avLst/>
                <a:gdLst>
                  <a:gd name="T0" fmla="*/ 7 w 8"/>
                  <a:gd name="T1" fmla="*/ 0 h 5"/>
                  <a:gd name="T2" fmla="*/ 8 w 8"/>
                  <a:gd name="T3" fmla="*/ 2 h 5"/>
                  <a:gd name="T4" fmla="*/ 1 w 8"/>
                  <a:gd name="T5" fmla="*/ 5 h 5"/>
                  <a:gd name="T6" fmla="*/ 7 w 8"/>
                  <a:gd name="T7" fmla="*/ 0 h 5"/>
                  <a:gd name="T8" fmla="*/ 7 w 8"/>
                  <a:gd name="T9" fmla="*/ 0 h 5"/>
                  <a:gd name="T10" fmla="*/ 7 w 8"/>
                  <a:gd name="T11" fmla="*/ 0 h 5"/>
                </a:gdLst>
                <a:ahLst/>
                <a:cxnLst>
                  <a:cxn ang="0">
                    <a:pos x="T0" y="T1"/>
                  </a:cxn>
                  <a:cxn ang="0">
                    <a:pos x="T2" y="T3"/>
                  </a:cxn>
                  <a:cxn ang="0">
                    <a:pos x="T4" y="T5"/>
                  </a:cxn>
                  <a:cxn ang="0">
                    <a:pos x="T6" y="T7"/>
                  </a:cxn>
                  <a:cxn ang="0">
                    <a:pos x="T8" y="T9"/>
                  </a:cxn>
                  <a:cxn ang="0">
                    <a:pos x="T10" y="T11"/>
                  </a:cxn>
                </a:cxnLst>
                <a:rect l="0" t="0" r="r" b="b"/>
                <a:pathLst>
                  <a:path w="8" h="5">
                    <a:moveTo>
                      <a:pt x="7" y="0"/>
                    </a:moveTo>
                    <a:cubicBezTo>
                      <a:pt x="8" y="2"/>
                      <a:pt x="8" y="2"/>
                      <a:pt x="8" y="2"/>
                    </a:cubicBezTo>
                    <a:cubicBezTo>
                      <a:pt x="1" y="5"/>
                      <a:pt x="1" y="5"/>
                      <a:pt x="1" y="5"/>
                    </a:cubicBezTo>
                    <a:cubicBezTo>
                      <a:pt x="1" y="5"/>
                      <a:pt x="0" y="2"/>
                      <a:pt x="7" y="0"/>
                    </a:cubicBezTo>
                    <a:close/>
                    <a:moveTo>
                      <a:pt x="7" y="0"/>
                    </a:moveTo>
                    <a:cubicBezTo>
                      <a:pt x="7" y="0"/>
                      <a:pt x="7" y="0"/>
                      <a:pt x="7" y="0"/>
                    </a:cubicBezTo>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65" name="ïSḷíḓé"/>
              <p:cNvSpPr/>
              <p:nvPr/>
            </p:nvSpPr>
            <p:spPr bwMode="auto">
              <a:xfrm>
                <a:off x="3983038" y="3384550"/>
                <a:ext cx="26988" cy="15875"/>
              </a:xfrm>
              <a:custGeom>
                <a:avLst/>
                <a:gdLst>
                  <a:gd name="T0" fmla="*/ 1 w 8"/>
                  <a:gd name="T1" fmla="*/ 0 h 5"/>
                  <a:gd name="T2" fmla="*/ 0 w 8"/>
                  <a:gd name="T3" fmla="*/ 2 h 5"/>
                  <a:gd name="T4" fmla="*/ 7 w 8"/>
                  <a:gd name="T5" fmla="*/ 5 h 5"/>
                  <a:gd name="T6" fmla="*/ 1 w 8"/>
                  <a:gd name="T7" fmla="*/ 0 h 5"/>
                  <a:gd name="T8" fmla="*/ 1 w 8"/>
                  <a:gd name="T9" fmla="*/ 0 h 5"/>
                  <a:gd name="T10" fmla="*/ 1 w 8"/>
                  <a:gd name="T11" fmla="*/ 0 h 5"/>
                </a:gdLst>
                <a:ahLst/>
                <a:cxnLst>
                  <a:cxn ang="0">
                    <a:pos x="T0" y="T1"/>
                  </a:cxn>
                  <a:cxn ang="0">
                    <a:pos x="T2" y="T3"/>
                  </a:cxn>
                  <a:cxn ang="0">
                    <a:pos x="T4" y="T5"/>
                  </a:cxn>
                  <a:cxn ang="0">
                    <a:pos x="T6" y="T7"/>
                  </a:cxn>
                  <a:cxn ang="0">
                    <a:pos x="T8" y="T9"/>
                  </a:cxn>
                  <a:cxn ang="0">
                    <a:pos x="T10" y="T11"/>
                  </a:cxn>
                </a:cxnLst>
                <a:rect l="0" t="0" r="r" b="b"/>
                <a:pathLst>
                  <a:path w="8" h="5">
                    <a:moveTo>
                      <a:pt x="1" y="0"/>
                    </a:moveTo>
                    <a:cubicBezTo>
                      <a:pt x="0" y="2"/>
                      <a:pt x="0" y="2"/>
                      <a:pt x="0" y="2"/>
                    </a:cubicBezTo>
                    <a:cubicBezTo>
                      <a:pt x="7" y="5"/>
                      <a:pt x="7" y="5"/>
                      <a:pt x="7" y="5"/>
                    </a:cubicBezTo>
                    <a:cubicBezTo>
                      <a:pt x="7" y="5"/>
                      <a:pt x="8" y="2"/>
                      <a:pt x="1" y="0"/>
                    </a:cubicBezTo>
                    <a:close/>
                    <a:moveTo>
                      <a:pt x="1" y="0"/>
                    </a:moveTo>
                    <a:cubicBezTo>
                      <a:pt x="1" y="0"/>
                      <a:pt x="1" y="0"/>
                      <a:pt x="1" y="0"/>
                    </a:cubicBezTo>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66" name="iṩľíḓè"/>
              <p:cNvSpPr/>
              <p:nvPr/>
            </p:nvSpPr>
            <p:spPr bwMode="auto">
              <a:xfrm>
                <a:off x="3884613" y="3384550"/>
                <a:ext cx="26988" cy="6350"/>
              </a:xfrm>
              <a:custGeom>
                <a:avLst/>
                <a:gdLst>
                  <a:gd name="T0" fmla="*/ 8 w 8"/>
                  <a:gd name="T1" fmla="*/ 0 h 2"/>
                  <a:gd name="T2" fmla="*/ 8 w 8"/>
                  <a:gd name="T3" fmla="*/ 2 h 2"/>
                  <a:gd name="T4" fmla="*/ 0 w 8"/>
                  <a:gd name="T5" fmla="*/ 2 h 2"/>
                  <a:gd name="T6" fmla="*/ 8 w 8"/>
                  <a:gd name="T7" fmla="*/ 0 h 2"/>
                  <a:gd name="T8" fmla="*/ 8 w 8"/>
                  <a:gd name="T9" fmla="*/ 0 h 2"/>
                  <a:gd name="T10" fmla="*/ 8 w 8"/>
                  <a:gd name="T11" fmla="*/ 0 h 2"/>
                </a:gdLst>
                <a:ahLst/>
                <a:cxnLst>
                  <a:cxn ang="0">
                    <a:pos x="T0" y="T1"/>
                  </a:cxn>
                  <a:cxn ang="0">
                    <a:pos x="T2" y="T3"/>
                  </a:cxn>
                  <a:cxn ang="0">
                    <a:pos x="T4" y="T5"/>
                  </a:cxn>
                  <a:cxn ang="0">
                    <a:pos x="T6" y="T7"/>
                  </a:cxn>
                  <a:cxn ang="0">
                    <a:pos x="T8" y="T9"/>
                  </a:cxn>
                  <a:cxn ang="0">
                    <a:pos x="T10" y="T11"/>
                  </a:cxn>
                </a:cxnLst>
                <a:rect l="0" t="0" r="r" b="b"/>
                <a:pathLst>
                  <a:path w="8" h="2">
                    <a:moveTo>
                      <a:pt x="8" y="0"/>
                    </a:moveTo>
                    <a:cubicBezTo>
                      <a:pt x="8" y="2"/>
                      <a:pt x="8" y="2"/>
                      <a:pt x="8" y="2"/>
                    </a:cubicBezTo>
                    <a:cubicBezTo>
                      <a:pt x="0" y="2"/>
                      <a:pt x="0" y="2"/>
                      <a:pt x="0" y="2"/>
                    </a:cubicBezTo>
                    <a:cubicBezTo>
                      <a:pt x="0" y="2"/>
                      <a:pt x="0" y="0"/>
                      <a:pt x="8" y="0"/>
                    </a:cubicBezTo>
                    <a:close/>
                    <a:moveTo>
                      <a:pt x="8" y="0"/>
                    </a:moveTo>
                    <a:cubicBezTo>
                      <a:pt x="8" y="0"/>
                      <a:pt x="8" y="0"/>
                      <a:pt x="8" y="0"/>
                    </a:cubicBezTo>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67" name="íṧlíḓè"/>
              <p:cNvSpPr/>
              <p:nvPr/>
            </p:nvSpPr>
            <p:spPr bwMode="auto">
              <a:xfrm>
                <a:off x="3917951" y="3384550"/>
                <a:ext cx="25400" cy="6350"/>
              </a:xfrm>
              <a:custGeom>
                <a:avLst/>
                <a:gdLst>
                  <a:gd name="T0" fmla="*/ 8 w 8"/>
                  <a:gd name="T1" fmla="*/ 0 h 2"/>
                  <a:gd name="T2" fmla="*/ 8 w 8"/>
                  <a:gd name="T3" fmla="*/ 2 h 2"/>
                  <a:gd name="T4" fmla="*/ 0 w 8"/>
                  <a:gd name="T5" fmla="*/ 2 h 2"/>
                  <a:gd name="T6" fmla="*/ 8 w 8"/>
                  <a:gd name="T7" fmla="*/ 0 h 2"/>
                  <a:gd name="T8" fmla="*/ 8 w 8"/>
                  <a:gd name="T9" fmla="*/ 0 h 2"/>
                  <a:gd name="T10" fmla="*/ 8 w 8"/>
                  <a:gd name="T11" fmla="*/ 0 h 2"/>
                </a:gdLst>
                <a:ahLst/>
                <a:cxnLst>
                  <a:cxn ang="0">
                    <a:pos x="T0" y="T1"/>
                  </a:cxn>
                  <a:cxn ang="0">
                    <a:pos x="T2" y="T3"/>
                  </a:cxn>
                  <a:cxn ang="0">
                    <a:pos x="T4" y="T5"/>
                  </a:cxn>
                  <a:cxn ang="0">
                    <a:pos x="T6" y="T7"/>
                  </a:cxn>
                  <a:cxn ang="0">
                    <a:pos x="T8" y="T9"/>
                  </a:cxn>
                  <a:cxn ang="0">
                    <a:pos x="T10" y="T11"/>
                  </a:cxn>
                </a:cxnLst>
                <a:rect l="0" t="0" r="r" b="b"/>
                <a:pathLst>
                  <a:path w="8" h="2">
                    <a:moveTo>
                      <a:pt x="8" y="0"/>
                    </a:moveTo>
                    <a:cubicBezTo>
                      <a:pt x="8" y="2"/>
                      <a:pt x="8" y="2"/>
                      <a:pt x="8" y="2"/>
                    </a:cubicBezTo>
                    <a:cubicBezTo>
                      <a:pt x="0" y="2"/>
                      <a:pt x="0" y="2"/>
                      <a:pt x="0" y="2"/>
                    </a:cubicBezTo>
                    <a:cubicBezTo>
                      <a:pt x="0" y="2"/>
                      <a:pt x="0" y="0"/>
                      <a:pt x="8" y="0"/>
                    </a:cubicBezTo>
                    <a:close/>
                    <a:moveTo>
                      <a:pt x="8" y="0"/>
                    </a:moveTo>
                    <a:cubicBezTo>
                      <a:pt x="8" y="0"/>
                      <a:pt x="8" y="0"/>
                      <a:pt x="8" y="0"/>
                    </a:cubicBezTo>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68" name="îŝ1îďè"/>
              <p:cNvSpPr/>
              <p:nvPr/>
            </p:nvSpPr>
            <p:spPr bwMode="auto">
              <a:xfrm>
                <a:off x="3951288" y="3384550"/>
                <a:ext cx="25400" cy="6350"/>
              </a:xfrm>
              <a:custGeom>
                <a:avLst/>
                <a:gdLst>
                  <a:gd name="T0" fmla="*/ 8 w 8"/>
                  <a:gd name="T1" fmla="*/ 0 h 2"/>
                  <a:gd name="T2" fmla="*/ 8 w 8"/>
                  <a:gd name="T3" fmla="*/ 2 h 2"/>
                  <a:gd name="T4" fmla="*/ 0 w 8"/>
                  <a:gd name="T5" fmla="*/ 2 h 2"/>
                  <a:gd name="T6" fmla="*/ 8 w 8"/>
                  <a:gd name="T7" fmla="*/ 0 h 2"/>
                  <a:gd name="T8" fmla="*/ 8 w 8"/>
                  <a:gd name="T9" fmla="*/ 0 h 2"/>
                  <a:gd name="T10" fmla="*/ 8 w 8"/>
                  <a:gd name="T11" fmla="*/ 0 h 2"/>
                </a:gdLst>
                <a:ahLst/>
                <a:cxnLst>
                  <a:cxn ang="0">
                    <a:pos x="T0" y="T1"/>
                  </a:cxn>
                  <a:cxn ang="0">
                    <a:pos x="T2" y="T3"/>
                  </a:cxn>
                  <a:cxn ang="0">
                    <a:pos x="T4" y="T5"/>
                  </a:cxn>
                  <a:cxn ang="0">
                    <a:pos x="T6" y="T7"/>
                  </a:cxn>
                  <a:cxn ang="0">
                    <a:pos x="T8" y="T9"/>
                  </a:cxn>
                  <a:cxn ang="0">
                    <a:pos x="T10" y="T11"/>
                  </a:cxn>
                </a:cxnLst>
                <a:rect l="0" t="0" r="r" b="b"/>
                <a:pathLst>
                  <a:path w="8" h="2">
                    <a:moveTo>
                      <a:pt x="8" y="0"/>
                    </a:moveTo>
                    <a:cubicBezTo>
                      <a:pt x="8" y="2"/>
                      <a:pt x="8" y="2"/>
                      <a:pt x="8" y="2"/>
                    </a:cubicBezTo>
                    <a:cubicBezTo>
                      <a:pt x="0" y="2"/>
                      <a:pt x="0" y="2"/>
                      <a:pt x="0" y="2"/>
                    </a:cubicBezTo>
                    <a:cubicBezTo>
                      <a:pt x="0" y="2"/>
                      <a:pt x="0" y="0"/>
                      <a:pt x="8" y="0"/>
                    </a:cubicBezTo>
                    <a:close/>
                    <a:moveTo>
                      <a:pt x="8" y="0"/>
                    </a:moveTo>
                    <a:cubicBezTo>
                      <a:pt x="8" y="0"/>
                      <a:pt x="8" y="0"/>
                      <a:pt x="8" y="0"/>
                    </a:cubicBezTo>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69" name="îṥ1íḓe"/>
              <p:cNvSpPr/>
              <p:nvPr/>
            </p:nvSpPr>
            <p:spPr bwMode="auto">
              <a:xfrm>
                <a:off x="3771901" y="3484563"/>
                <a:ext cx="7938" cy="60325"/>
              </a:xfrm>
              <a:prstGeom prst="rect">
                <a:avLst/>
              </a:prstGeom>
              <a:solidFill>
                <a:srgbClr val="FFFFFF"/>
              </a:solidFill>
              <a:ln w="0" cap="flat">
                <a:solidFill>
                  <a:srgbClr val="FFFFFF"/>
                </a:solidFill>
                <a:prstDash val="solid"/>
                <a:miter lim="800000"/>
              </a:ln>
            </p:spPr>
            <p:txBody>
              <a:bodyPr anchor="ctr"/>
              <a:lstStyle/>
              <a:p>
                <a:pPr algn="ctr"/>
                <a:endParaRPr dirty="0"/>
              </a:p>
            </p:txBody>
          </p:sp>
          <p:sp>
            <p:nvSpPr>
              <p:cNvPr id="70" name="íSļïḋè"/>
              <p:cNvSpPr/>
              <p:nvPr/>
            </p:nvSpPr>
            <p:spPr bwMode="auto">
              <a:xfrm>
                <a:off x="3786188" y="3484563"/>
                <a:ext cx="46038" cy="60325"/>
              </a:xfrm>
              <a:custGeom>
                <a:avLst/>
                <a:gdLst>
                  <a:gd name="T0" fmla="*/ 8 w 29"/>
                  <a:gd name="T1" fmla="*/ 0 h 38"/>
                  <a:gd name="T2" fmla="*/ 20 w 29"/>
                  <a:gd name="T3" fmla="*/ 0 h 38"/>
                  <a:gd name="T4" fmla="*/ 29 w 29"/>
                  <a:gd name="T5" fmla="*/ 8 h 38"/>
                  <a:gd name="T6" fmla="*/ 29 w 29"/>
                  <a:gd name="T7" fmla="*/ 38 h 38"/>
                  <a:gd name="T8" fmla="*/ 0 w 29"/>
                  <a:gd name="T9" fmla="*/ 38 h 38"/>
                  <a:gd name="T10" fmla="*/ 0 w 29"/>
                  <a:gd name="T11" fmla="*/ 8 h 38"/>
                  <a:gd name="T12" fmla="*/ 8 w 29"/>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9" h="38">
                    <a:moveTo>
                      <a:pt x="8" y="0"/>
                    </a:moveTo>
                    <a:lnTo>
                      <a:pt x="20" y="0"/>
                    </a:lnTo>
                    <a:lnTo>
                      <a:pt x="29" y="8"/>
                    </a:lnTo>
                    <a:lnTo>
                      <a:pt x="29" y="38"/>
                    </a:lnTo>
                    <a:lnTo>
                      <a:pt x="0" y="38"/>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71" name="îṡḻiḑè"/>
              <p:cNvSpPr/>
              <p:nvPr/>
            </p:nvSpPr>
            <p:spPr bwMode="auto">
              <a:xfrm>
                <a:off x="3994151" y="3484563"/>
                <a:ext cx="46038" cy="60325"/>
              </a:xfrm>
              <a:custGeom>
                <a:avLst/>
                <a:gdLst>
                  <a:gd name="T0" fmla="*/ 8 w 29"/>
                  <a:gd name="T1" fmla="*/ 0 h 38"/>
                  <a:gd name="T2" fmla="*/ 18 w 29"/>
                  <a:gd name="T3" fmla="*/ 0 h 38"/>
                  <a:gd name="T4" fmla="*/ 29 w 29"/>
                  <a:gd name="T5" fmla="*/ 8 h 38"/>
                  <a:gd name="T6" fmla="*/ 29 w 29"/>
                  <a:gd name="T7" fmla="*/ 38 h 38"/>
                  <a:gd name="T8" fmla="*/ 0 w 29"/>
                  <a:gd name="T9" fmla="*/ 38 h 38"/>
                  <a:gd name="T10" fmla="*/ 0 w 29"/>
                  <a:gd name="T11" fmla="*/ 8 h 38"/>
                  <a:gd name="T12" fmla="*/ 8 w 29"/>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29" h="38">
                    <a:moveTo>
                      <a:pt x="8" y="0"/>
                    </a:moveTo>
                    <a:lnTo>
                      <a:pt x="18" y="0"/>
                    </a:lnTo>
                    <a:lnTo>
                      <a:pt x="29" y="8"/>
                    </a:lnTo>
                    <a:lnTo>
                      <a:pt x="29" y="38"/>
                    </a:lnTo>
                    <a:lnTo>
                      <a:pt x="0" y="38"/>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72" name="iš1iḍé"/>
              <p:cNvSpPr/>
              <p:nvPr/>
            </p:nvSpPr>
            <p:spPr bwMode="auto">
              <a:xfrm>
                <a:off x="3851276" y="3484563"/>
                <a:ext cx="122238" cy="60325"/>
              </a:xfrm>
              <a:custGeom>
                <a:avLst/>
                <a:gdLst>
                  <a:gd name="T0" fmla="*/ 9 w 77"/>
                  <a:gd name="T1" fmla="*/ 0 h 38"/>
                  <a:gd name="T2" fmla="*/ 69 w 77"/>
                  <a:gd name="T3" fmla="*/ 0 h 38"/>
                  <a:gd name="T4" fmla="*/ 77 w 77"/>
                  <a:gd name="T5" fmla="*/ 8 h 38"/>
                  <a:gd name="T6" fmla="*/ 77 w 77"/>
                  <a:gd name="T7" fmla="*/ 38 h 38"/>
                  <a:gd name="T8" fmla="*/ 0 w 77"/>
                  <a:gd name="T9" fmla="*/ 38 h 38"/>
                  <a:gd name="T10" fmla="*/ 0 w 77"/>
                  <a:gd name="T11" fmla="*/ 8 h 38"/>
                  <a:gd name="T12" fmla="*/ 9 w 77"/>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77" h="38">
                    <a:moveTo>
                      <a:pt x="9" y="0"/>
                    </a:moveTo>
                    <a:lnTo>
                      <a:pt x="69" y="0"/>
                    </a:lnTo>
                    <a:lnTo>
                      <a:pt x="77" y="8"/>
                    </a:lnTo>
                    <a:lnTo>
                      <a:pt x="77" y="38"/>
                    </a:lnTo>
                    <a:lnTo>
                      <a:pt x="0" y="38"/>
                    </a:lnTo>
                    <a:lnTo>
                      <a:pt x="0" y="8"/>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73" name="î$ḻïḓé"/>
              <p:cNvSpPr/>
              <p:nvPr/>
            </p:nvSpPr>
            <p:spPr bwMode="auto">
              <a:xfrm>
                <a:off x="4046538" y="3484563"/>
                <a:ext cx="6350" cy="60325"/>
              </a:xfrm>
              <a:prstGeom prst="rect">
                <a:avLst/>
              </a:prstGeom>
              <a:solidFill>
                <a:srgbClr val="FFFFFF"/>
              </a:solidFill>
              <a:ln w="0" cap="flat">
                <a:solidFill>
                  <a:srgbClr val="FFFFFF"/>
                </a:solidFill>
                <a:prstDash val="solid"/>
                <a:miter lim="800000"/>
              </a:ln>
            </p:spPr>
            <p:txBody>
              <a:bodyPr anchor="ctr"/>
              <a:lstStyle/>
              <a:p>
                <a:pPr algn="ctr"/>
                <a:endParaRPr dirty="0"/>
              </a:p>
            </p:txBody>
          </p:sp>
          <p:sp>
            <p:nvSpPr>
              <p:cNvPr id="74" name="ïṩ1íḓe"/>
              <p:cNvSpPr/>
              <p:nvPr/>
            </p:nvSpPr>
            <p:spPr bwMode="auto">
              <a:xfrm>
                <a:off x="3838576" y="3484563"/>
                <a:ext cx="6350" cy="60325"/>
              </a:xfrm>
              <a:prstGeom prst="rect">
                <a:avLst/>
              </a:prstGeom>
              <a:solidFill>
                <a:srgbClr val="FFFFFF"/>
              </a:solidFill>
              <a:ln w="0" cap="flat">
                <a:solidFill>
                  <a:srgbClr val="FFFFFF"/>
                </a:solidFill>
                <a:prstDash val="solid"/>
                <a:miter lim="800000"/>
              </a:ln>
            </p:spPr>
            <p:txBody>
              <a:bodyPr anchor="ctr"/>
              <a:lstStyle/>
              <a:p>
                <a:pPr algn="ctr"/>
                <a:endParaRPr dirty="0"/>
              </a:p>
            </p:txBody>
          </p:sp>
          <p:sp>
            <p:nvSpPr>
              <p:cNvPr id="75" name="íṧḷíďê"/>
              <p:cNvSpPr/>
              <p:nvPr/>
            </p:nvSpPr>
            <p:spPr bwMode="auto">
              <a:xfrm>
                <a:off x="3979863" y="3484563"/>
                <a:ext cx="3175" cy="60325"/>
              </a:xfrm>
              <a:prstGeom prst="rect">
                <a:avLst/>
              </a:prstGeom>
              <a:solidFill>
                <a:srgbClr val="FFFFFF"/>
              </a:solidFill>
              <a:ln w="0" cap="flat">
                <a:solidFill>
                  <a:srgbClr val="FFFFFF"/>
                </a:solidFill>
                <a:prstDash val="solid"/>
                <a:miter lim="800000"/>
              </a:ln>
            </p:spPr>
            <p:txBody>
              <a:bodyPr anchor="ctr"/>
              <a:lstStyle/>
              <a:p>
                <a:pPr algn="ctr"/>
                <a:endParaRPr dirty="0"/>
              </a:p>
            </p:txBody>
          </p:sp>
          <p:sp>
            <p:nvSpPr>
              <p:cNvPr id="76" name="îṥļïḓè"/>
              <p:cNvSpPr/>
              <p:nvPr/>
            </p:nvSpPr>
            <p:spPr bwMode="auto">
              <a:xfrm>
                <a:off x="3811588" y="3551238"/>
                <a:ext cx="204788" cy="3175"/>
              </a:xfrm>
              <a:prstGeom prst="rect">
                <a:avLst/>
              </a:prstGeom>
              <a:solidFill>
                <a:srgbClr val="1E267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77" name="îṣlîḋe"/>
              <p:cNvSpPr/>
              <p:nvPr/>
            </p:nvSpPr>
            <p:spPr bwMode="auto">
              <a:xfrm>
                <a:off x="3805238" y="3557588"/>
                <a:ext cx="214313" cy="3175"/>
              </a:xfrm>
              <a:prstGeom prst="rect">
                <a:avLst/>
              </a:prstGeom>
              <a:solidFill>
                <a:srgbClr val="1E267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78" name="íṩ1íďé"/>
              <p:cNvSpPr/>
              <p:nvPr/>
            </p:nvSpPr>
            <p:spPr bwMode="auto">
              <a:xfrm>
                <a:off x="3802063" y="3567113"/>
                <a:ext cx="220663" cy="1588"/>
              </a:xfrm>
              <a:prstGeom prst="rect">
                <a:avLst/>
              </a:prstGeom>
              <a:solidFill>
                <a:srgbClr val="1E267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79" name="iŝlidê"/>
              <p:cNvSpPr/>
              <p:nvPr/>
            </p:nvSpPr>
            <p:spPr bwMode="auto">
              <a:xfrm>
                <a:off x="3802063" y="3570288"/>
                <a:ext cx="223838" cy="3175"/>
              </a:xfrm>
              <a:prstGeom prst="rect">
                <a:avLst/>
              </a:prstGeom>
              <a:solidFill>
                <a:srgbClr val="1E267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80" name="i$ḷîḑê"/>
              <p:cNvSpPr/>
              <p:nvPr/>
            </p:nvSpPr>
            <p:spPr bwMode="auto">
              <a:xfrm>
                <a:off x="3795713" y="3581400"/>
                <a:ext cx="234950" cy="3175"/>
              </a:xfrm>
              <a:prstGeom prst="rect">
                <a:avLst/>
              </a:prstGeom>
              <a:solidFill>
                <a:srgbClr val="1E267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81" name="ïş1íḍê"/>
              <p:cNvSpPr/>
              <p:nvPr/>
            </p:nvSpPr>
            <p:spPr bwMode="auto">
              <a:xfrm>
                <a:off x="3633788" y="3587750"/>
                <a:ext cx="560388" cy="6350"/>
              </a:xfrm>
              <a:custGeom>
                <a:avLst/>
                <a:gdLst>
                  <a:gd name="T0" fmla="*/ 0 w 353"/>
                  <a:gd name="T1" fmla="*/ 0 h 4"/>
                  <a:gd name="T2" fmla="*/ 353 w 353"/>
                  <a:gd name="T3" fmla="*/ 0 h 4"/>
                  <a:gd name="T4" fmla="*/ 351 w 353"/>
                  <a:gd name="T5" fmla="*/ 4 h 4"/>
                  <a:gd name="T6" fmla="*/ 2 w 353"/>
                  <a:gd name="T7" fmla="*/ 4 h 4"/>
                  <a:gd name="T8" fmla="*/ 0 w 353"/>
                  <a:gd name="T9" fmla="*/ 0 h 4"/>
                </a:gdLst>
                <a:ahLst/>
                <a:cxnLst>
                  <a:cxn ang="0">
                    <a:pos x="T0" y="T1"/>
                  </a:cxn>
                  <a:cxn ang="0">
                    <a:pos x="T2" y="T3"/>
                  </a:cxn>
                  <a:cxn ang="0">
                    <a:pos x="T4" y="T5"/>
                  </a:cxn>
                  <a:cxn ang="0">
                    <a:pos x="T6" y="T7"/>
                  </a:cxn>
                  <a:cxn ang="0">
                    <a:pos x="T8" y="T9"/>
                  </a:cxn>
                </a:cxnLst>
                <a:rect l="0" t="0" r="r" b="b"/>
                <a:pathLst>
                  <a:path w="353" h="4">
                    <a:moveTo>
                      <a:pt x="0" y="0"/>
                    </a:moveTo>
                    <a:lnTo>
                      <a:pt x="353" y="0"/>
                    </a:lnTo>
                    <a:lnTo>
                      <a:pt x="351" y="4"/>
                    </a:lnTo>
                    <a:lnTo>
                      <a:pt x="2" y="4"/>
                    </a:lnTo>
                    <a:lnTo>
                      <a:pt x="0" y="0"/>
                    </a:lnTo>
                    <a:close/>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82" name="iṥľîḋe"/>
              <p:cNvSpPr/>
              <p:nvPr/>
            </p:nvSpPr>
            <p:spPr bwMode="auto">
              <a:xfrm>
                <a:off x="3640138" y="3600450"/>
                <a:ext cx="547688" cy="6350"/>
              </a:xfrm>
              <a:custGeom>
                <a:avLst/>
                <a:gdLst>
                  <a:gd name="T0" fmla="*/ 0 w 345"/>
                  <a:gd name="T1" fmla="*/ 0 h 4"/>
                  <a:gd name="T2" fmla="*/ 345 w 345"/>
                  <a:gd name="T3" fmla="*/ 0 h 4"/>
                  <a:gd name="T4" fmla="*/ 343 w 345"/>
                  <a:gd name="T5" fmla="*/ 4 h 4"/>
                  <a:gd name="T6" fmla="*/ 2 w 345"/>
                  <a:gd name="T7" fmla="*/ 4 h 4"/>
                  <a:gd name="T8" fmla="*/ 0 w 345"/>
                  <a:gd name="T9" fmla="*/ 0 h 4"/>
                </a:gdLst>
                <a:ahLst/>
                <a:cxnLst>
                  <a:cxn ang="0">
                    <a:pos x="T0" y="T1"/>
                  </a:cxn>
                  <a:cxn ang="0">
                    <a:pos x="T2" y="T3"/>
                  </a:cxn>
                  <a:cxn ang="0">
                    <a:pos x="T4" y="T5"/>
                  </a:cxn>
                  <a:cxn ang="0">
                    <a:pos x="T6" y="T7"/>
                  </a:cxn>
                  <a:cxn ang="0">
                    <a:pos x="T8" y="T9"/>
                  </a:cxn>
                </a:cxnLst>
                <a:rect l="0" t="0" r="r" b="b"/>
                <a:pathLst>
                  <a:path w="345" h="4">
                    <a:moveTo>
                      <a:pt x="0" y="0"/>
                    </a:moveTo>
                    <a:lnTo>
                      <a:pt x="345" y="0"/>
                    </a:lnTo>
                    <a:lnTo>
                      <a:pt x="343" y="4"/>
                    </a:lnTo>
                    <a:lnTo>
                      <a:pt x="2" y="4"/>
                    </a:lnTo>
                    <a:lnTo>
                      <a:pt x="0" y="0"/>
                    </a:lnTo>
                    <a:close/>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83" name="ís1ide"/>
              <p:cNvSpPr/>
              <p:nvPr/>
            </p:nvSpPr>
            <p:spPr bwMode="auto">
              <a:xfrm>
                <a:off x="3736976" y="3406775"/>
                <a:ext cx="352425" cy="4763"/>
              </a:xfrm>
              <a:prstGeom prst="rect">
                <a:avLst/>
              </a:prstGeom>
              <a:solidFill>
                <a:srgbClr val="1E267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84" name="išḻide"/>
              <p:cNvSpPr/>
              <p:nvPr/>
            </p:nvSpPr>
            <p:spPr bwMode="auto">
              <a:xfrm>
                <a:off x="3746501" y="3417888"/>
                <a:ext cx="33338" cy="3175"/>
              </a:xfrm>
              <a:prstGeom prst="rect">
                <a:avLst/>
              </a:prstGeom>
              <a:solidFill>
                <a:srgbClr val="1E267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85" name="íŝľîḓé"/>
              <p:cNvSpPr/>
              <p:nvPr/>
            </p:nvSpPr>
            <p:spPr bwMode="auto">
              <a:xfrm>
                <a:off x="3805238" y="3417888"/>
                <a:ext cx="211138" cy="1588"/>
              </a:xfrm>
              <a:prstGeom prst="rect">
                <a:avLst/>
              </a:prstGeom>
              <a:solidFill>
                <a:srgbClr val="1E267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86" name="îşḻíďè"/>
              <p:cNvSpPr/>
              <p:nvPr/>
            </p:nvSpPr>
            <p:spPr bwMode="auto">
              <a:xfrm>
                <a:off x="3811588" y="3421063"/>
                <a:ext cx="3175" cy="301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87" name="iş1iḍè"/>
              <p:cNvSpPr/>
              <p:nvPr/>
            </p:nvSpPr>
            <p:spPr bwMode="auto">
              <a:xfrm>
                <a:off x="3802063" y="3421063"/>
                <a:ext cx="3175" cy="301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88" name="iṣľiḑê"/>
              <p:cNvSpPr/>
              <p:nvPr/>
            </p:nvSpPr>
            <p:spPr bwMode="auto">
              <a:xfrm>
                <a:off x="3789363" y="3421063"/>
                <a:ext cx="6350" cy="301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89" name="ï$1íḍé"/>
              <p:cNvSpPr/>
              <p:nvPr/>
            </p:nvSpPr>
            <p:spPr bwMode="auto">
              <a:xfrm>
                <a:off x="3822701" y="3421063"/>
                <a:ext cx="6350" cy="30163"/>
              </a:xfrm>
              <a:custGeom>
                <a:avLst/>
                <a:gdLst>
                  <a:gd name="T0" fmla="*/ 0 w 2"/>
                  <a:gd name="T1" fmla="*/ 0 h 9"/>
                  <a:gd name="T2" fmla="*/ 2 w 2"/>
                  <a:gd name="T3" fmla="*/ 0 h 9"/>
                  <a:gd name="T4" fmla="*/ 2 w 2"/>
                  <a:gd name="T5" fmla="*/ 9 h 9"/>
                  <a:gd name="T6" fmla="*/ 0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cubicBezTo>
                      <a:pt x="1" y="0"/>
                      <a:pt x="1" y="0"/>
                      <a:pt x="2" y="0"/>
                    </a:cubicBezTo>
                    <a:cubicBezTo>
                      <a:pt x="2" y="3"/>
                      <a:pt x="2" y="6"/>
                      <a:pt x="2" y="9"/>
                    </a:cubicBezTo>
                    <a:cubicBezTo>
                      <a:pt x="1" y="9"/>
                      <a:pt x="1"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90" name="ïŝḻïḓé"/>
              <p:cNvSpPr/>
              <p:nvPr/>
            </p:nvSpPr>
            <p:spPr bwMode="auto">
              <a:xfrm>
                <a:off x="3832226" y="3421063"/>
                <a:ext cx="6350" cy="30163"/>
              </a:xfrm>
              <a:custGeom>
                <a:avLst/>
                <a:gdLst>
                  <a:gd name="T0" fmla="*/ 0 w 2"/>
                  <a:gd name="T1" fmla="*/ 0 h 9"/>
                  <a:gd name="T2" fmla="*/ 2 w 2"/>
                  <a:gd name="T3" fmla="*/ 0 h 9"/>
                  <a:gd name="T4" fmla="*/ 2 w 2"/>
                  <a:gd name="T5" fmla="*/ 9 h 9"/>
                  <a:gd name="T6" fmla="*/ 0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cubicBezTo>
                      <a:pt x="1" y="0"/>
                      <a:pt x="1" y="0"/>
                      <a:pt x="2" y="0"/>
                    </a:cubicBezTo>
                    <a:cubicBezTo>
                      <a:pt x="2" y="3"/>
                      <a:pt x="2" y="6"/>
                      <a:pt x="2" y="9"/>
                    </a:cubicBezTo>
                    <a:cubicBezTo>
                      <a:pt x="1" y="9"/>
                      <a:pt x="1"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91" name="íṥḷïďè"/>
              <p:cNvSpPr/>
              <p:nvPr/>
            </p:nvSpPr>
            <p:spPr bwMode="auto">
              <a:xfrm>
                <a:off x="3844926" y="3421063"/>
                <a:ext cx="3175" cy="30163"/>
              </a:xfrm>
              <a:custGeom>
                <a:avLst/>
                <a:gdLst>
                  <a:gd name="T0" fmla="*/ 0 w 1"/>
                  <a:gd name="T1" fmla="*/ 0 h 9"/>
                  <a:gd name="T2" fmla="*/ 1 w 1"/>
                  <a:gd name="T3" fmla="*/ 0 h 9"/>
                  <a:gd name="T4" fmla="*/ 1 w 1"/>
                  <a:gd name="T5" fmla="*/ 9 h 9"/>
                  <a:gd name="T6" fmla="*/ 0 w 1"/>
                  <a:gd name="T7" fmla="*/ 9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1" y="0"/>
                      <a:pt x="1" y="0"/>
                    </a:cubicBezTo>
                    <a:cubicBezTo>
                      <a:pt x="1" y="3"/>
                      <a:pt x="1" y="6"/>
                      <a:pt x="1" y="9"/>
                    </a:cubicBezTo>
                    <a:cubicBezTo>
                      <a:pt x="1" y="9"/>
                      <a:pt x="0"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92" name="işlïďe"/>
              <p:cNvSpPr/>
              <p:nvPr/>
            </p:nvSpPr>
            <p:spPr bwMode="auto">
              <a:xfrm>
                <a:off x="3854451" y="3421063"/>
                <a:ext cx="7938" cy="30163"/>
              </a:xfrm>
              <a:custGeom>
                <a:avLst/>
                <a:gdLst>
                  <a:gd name="T0" fmla="*/ 0 w 2"/>
                  <a:gd name="T1" fmla="*/ 0 h 9"/>
                  <a:gd name="T2" fmla="*/ 2 w 2"/>
                  <a:gd name="T3" fmla="*/ 0 h 9"/>
                  <a:gd name="T4" fmla="*/ 2 w 2"/>
                  <a:gd name="T5" fmla="*/ 9 h 9"/>
                  <a:gd name="T6" fmla="*/ 0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cubicBezTo>
                      <a:pt x="0" y="0"/>
                      <a:pt x="1" y="0"/>
                      <a:pt x="2" y="0"/>
                    </a:cubicBezTo>
                    <a:cubicBezTo>
                      <a:pt x="2" y="3"/>
                      <a:pt x="2" y="6"/>
                      <a:pt x="2" y="9"/>
                    </a:cubicBezTo>
                    <a:cubicBezTo>
                      <a:pt x="1" y="9"/>
                      <a:pt x="0"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93" name="iSļîďè"/>
              <p:cNvSpPr/>
              <p:nvPr/>
            </p:nvSpPr>
            <p:spPr bwMode="auto">
              <a:xfrm>
                <a:off x="3865563" y="3421063"/>
                <a:ext cx="6350" cy="30163"/>
              </a:xfrm>
              <a:custGeom>
                <a:avLst/>
                <a:gdLst>
                  <a:gd name="T0" fmla="*/ 0 w 2"/>
                  <a:gd name="T1" fmla="*/ 0 h 9"/>
                  <a:gd name="T2" fmla="*/ 2 w 2"/>
                  <a:gd name="T3" fmla="*/ 0 h 9"/>
                  <a:gd name="T4" fmla="*/ 2 w 2"/>
                  <a:gd name="T5" fmla="*/ 9 h 9"/>
                  <a:gd name="T6" fmla="*/ 0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cubicBezTo>
                      <a:pt x="1" y="0"/>
                      <a:pt x="1" y="0"/>
                      <a:pt x="2" y="0"/>
                    </a:cubicBezTo>
                    <a:cubicBezTo>
                      <a:pt x="2" y="3"/>
                      <a:pt x="2" y="6"/>
                      <a:pt x="2" y="9"/>
                    </a:cubicBezTo>
                    <a:cubicBezTo>
                      <a:pt x="1" y="9"/>
                      <a:pt x="1"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94" name="îṩ1îďé"/>
              <p:cNvSpPr/>
              <p:nvPr/>
            </p:nvSpPr>
            <p:spPr bwMode="auto">
              <a:xfrm>
                <a:off x="3878263" y="3421063"/>
                <a:ext cx="3175" cy="30163"/>
              </a:xfrm>
              <a:custGeom>
                <a:avLst/>
                <a:gdLst>
                  <a:gd name="T0" fmla="*/ 0 w 1"/>
                  <a:gd name="T1" fmla="*/ 0 h 9"/>
                  <a:gd name="T2" fmla="*/ 1 w 1"/>
                  <a:gd name="T3" fmla="*/ 0 h 9"/>
                  <a:gd name="T4" fmla="*/ 1 w 1"/>
                  <a:gd name="T5" fmla="*/ 9 h 9"/>
                  <a:gd name="T6" fmla="*/ 0 w 1"/>
                  <a:gd name="T7" fmla="*/ 9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1" y="0"/>
                      <a:pt x="1" y="0"/>
                    </a:cubicBezTo>
                    <a:cubicBezTo>
                      <a:pt x="1" y="3"/>
                      <a:pt x="1" y="6"/>
                      <a:pt x="1" y="9"/>
                    </a:cubicBezTo>
                    <a:cubicBezTo>
                      <a:pt x="1" y="9"/>
                      <a:pt x="0"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95" name="ísľiḑe"/>
              <p:cNvSpPr/>
              <p:nvPr/>
            </p:nvSpPr>
            <p:spPr bwMode="auto">
              <a:xfrm>
                <a:off x="3887788" y="3421063"/>
                <a:ext cx="3175" cy="30163"/>
              </a:xfrm>
              <a:custGeom>
                <a:avLst/>
                <a:gdLst>
                  <a:gd name="T0" fmla="*/ 0 w 1"/>
                  <a:gd name="T1" fmla="*/ 0 h 9"/>
                  <a:gd name="T2" fmla="*/ 1 w 1"/>
                  <a:gd name="T3" fmla="*/ 0 h 9"/>
                  <a:gd name="T4" fmla="*/ 1 w 1"/>
                  <a:gd name="T5" fmla="*/ 9 h 9"/>
                  <a:gd name="T6" fmla="*/ 0 w 1"/>
                  <a:gd name="T7" fmla="*/ 9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1" y="0"/>
                      <a:pt x="1" y="0"/>
                    </a:cubicBezTo>
                    <a:cubicBezTo>
                      <a:pt x="1" y="3"/>
                      <a:pt x="1" y="6"/>
                      <a:pt x="1" y="9"/>
                    </a:cubicBezTo>
                    <a:cubicBezTo>
                      <a:pt x="1" y="9"/>
                      <a:pt x="0"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96" name="î$líḑê"/>
              <p:cNvSpPr/>
              <p:nvPr/>
            </p:nvSpPr>
            <p:spPr bwMode="auto">
              <a:xfrm>
                <a:off x="3897313" y="3421063"/>
                <a:ext cx="7938" cy="30163"/>
              </a:xfrm>
              <a:custGeom>
                <a:avLst/>
                <a:gdLst>
                  <a:gd name="T0" fmla="*/ 0 w 2"/>
                  <a:gd name="T1" fmla="*/ 0 h 9"/>
                  <a:gd name="T2" fmla="*/ 2 w 2"/>
                  <a:gd name="T3" fmla="*/ 0 h 9"/>
                  <a:gd name="T4" fmla="*/ 2 w 2"/>
                  <a:gd name="T5" fmla="*/ 9 h 9"/>
                  <a:gd name="T6" fmla="*/ 0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cubicBezTo>
                      <a:pt x="1" y="0"/>
                      <a:pt x="1" y="0"/>
                      <a:pt x="2" y="0"/>
                    </a:cubicBezTo>
                    <a:cubicBezTo>
                      <a:pt x="2" y="3"/>
                      <a:pt x="2" y="6"/>
                      <a:pt x="2" y="9"/>
                    </a:cubicBezTo>
                    <a:cubicBezTo>
                      <a:pt x="1" y="9"/>
                      <a:pt x="1"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97" name="í$ļiḓé"/>
              <p:cNvSpPr/>
              <p:nvPr/>
            </p:nvSpPr>
            <p:spPr bwMode="auto">
              <a:xfrm>
                <a:off x="3908426" y="3421063"/>
                <a:ext cx="6350" cy="30163"/>
              </a:xfrm>
              <a:custGeom>
                <a:avLst/>
                <a:gdLst>
                  <a:gd name="T0" fmla="*/ 0 w 2"/>
                  <a:gd name="T1" fmla="*/ 0 h 9"/>
                  <a:gd name="T2" fmla="*/ 2 w 2"/>
                  <a:gd name="T3" fmla="*/ 0 h 9"/>
                  <a:gd name="T4" fmla="*/ 2 w 2"/>
                  <a:gd name="T5" fmla="*/ 9 h 9"/>
                  <a:gd name="T6" fmla="*/ 0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cubicBezTo>
                      <a:pt x="1" y="0"/>
                      <a:pt x="1" y="0"/>
                      <a:pt x="2" y="0"/>
                    </a:cubicBezTo>
                    <a:cubicBezTo>
                      <a:pt x="2" y="3"/>
                      <a:pt x="2" y="6"/>
                      <a:pt x="2" y="9"/>
                    </a:cubicBezTo>
                    <a:cubicBezTo>
                      <a:pt x="1" y="9"/>
                      <a:pt x="1"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98" name="îSlïḍè"/>
              <p:cNvSpPr/>
              <p:nvPr/>
            </p:nvSpPr>
            <p:spPr bwMode="auto">
              <a:xfrm>
                <a:off x="3921126" y="3421063"/>
                <a:ext cx="3175" cy="30163"/>
              </a:xfrm>
              <a:custGeom>
                <a:avLst/>
                <a:gdLst>
                  <a:gd name="T0" fmla="*/ 0 w 1"/>
                  <a:gd name="T1" fmla="*/ 0 h 9"/>
                  <a:gd name="T2" fmla="*/ 1 w 1"/>
                  <a:gd name="T3" fmla="*/ 0 h 9"/>
                  <a:gd name="T4" fmla="*/ 1 w 1"/>
                  <a:gd name="T5" fmla="*/ 9 h 9"/>
                  <a:gd name="T6" fmla="*/ 0 w 1"/>
                  <a:gd name="T7" fmla="*/ 9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1" y="0"/>
                      <a:pt x="1" y="0"/>
                    </a:cubicBezTo>
                    <a:cubicBezTo>
                      <a:pt x="1" y="3"/>
                      <a:pt x="1" y="6"/>
                      <a:pt x="1" y="9"/>
                    </a:cubicBezTo>
                    <a:cubicBezTo>
                      <a:pt x="1" y="9"/>
                      <a:pt x="0"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99" name="i$ḷídè"/>
              <p:cNvSpPr/>
              <p:nvPr/>
            </p:nvSpPr>
            <p:spPr bwMode="auto">
              <a:xfrm>
                <a:off x="3930651" y="3421063"/>
                <a:ext cx="3175" cy="30163"/>
              </a:xfrm>
              <a:custGeom>
                <a:avLst/>
                <a:gdLst>
                  <a:gd name="T0" fmla="*/ 0 w 1"/>
                  <a:gd name="T1" fmla="*/ 0 h 9"/>
                  <a:gd name="T2" fmla="*/ 1 w 1"/>
                  <a:gd name="T3" fmla="*/ 0 h 9"/>
                  <a:gd name="T4" fmla="*/ 1 w 1"/>
                  <a:gd name="T5" fmla="*/ 9 h 9"/>
                  <a:gd name="T6" fmla="*/ 0 w 1"/>
                  <a:gd name="T7" fmla="*/ 9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1" y="0"/>
                      <a:pt x="1" y="0"/>
                    </a:cubicBezTo>
                    <a:cubicBezTo>
                      <a:pt x="1" y="3"/>
                      <a:pt x="1" y="6"/>
                      <a:pt x="1" y="9"/>
                    </a:cubicBezTo>
                    <a:cubicBezTo>
                      <a:pt x="1" y="9"/>
                      <a:pt x="0"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100" name="îṧḷíḑê"/>
              <p:cNvSpPr/>
              <p:nvPr/>
            </p:nvSpPr>
            <p:spPr bwMode="auto">
              <a:xfrm>
                <a:off x="3940176" y="3421063"/>
                <a:ext cx="7938" cy="30163"/>
              </a:xfrm>
              <a:custGeom>
                <a:avLst/>
                <a:gdLst>
                  <a:gd name="T0" fmla="*/ 0 w 2"/>
                  <a:gd name="T1" fmla="*/ 0 h 9"/>
                  <a:gd name="T2" fmla="*/ 2 w 2"/>
                  <a:gd name="T3" fmla="*/ 0 h 9"/>
                  <a:gd name="T4" fmla="*/ 2 w 2"/>
                  <a:gd name="T5" fmla="*/ 9 h 9"/>
                  <a:gd name="T6" fmla="*/ 0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cubicBezTo>
                      <a:pt x="1" y="0"/>
                      <a:pt x="1" y="0"/>
                      <a:pt x="2" y="0"/>
                    </a:cubicBezTo>
                    <a:cubicBezTo>
                      <a:pt x="2" y="3"/>
                      <a:pt x="2" y="6"/>
                      <a:pt x="2" y="9"/>
                    </a:cubicBezTo>
                    <a:cubicBezTo>
                      <a:pt x="1" y="9"/>
                      <a:pt x="1"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101" name="ïSľïḋê"/>
              <p:cNvSpPr/>
              <p:nvPr/>
            </p:nvSpPr>
            <p:spPr bwMode="auto">
              <a:xfrm>
                <a:off x="3951288" y="3421063"/>
                <a:ext cx="6350" cy="30163"/>
              </a:xfrm>
              <a:custGeom>
                <a:avLst/>
                <a:gdLst>
                  <a:gd name="T0" fmla="*/ 0 w 2"/>
                  <a:gd name="T1" fmla="*/ 0 h 9"/>
                  <a:gd name="T2" fmla="*/ 2 w 2"/>
                  <a:gd name="T3" fmla="*/ 0 h 9"/>
                  <a:gd name="T4" fmla="*/ 2 w 2"/>
                  <a:gd name="T5" fmla="*/ 9 h 9"/>
                  <a:gd name="T6" fmla="*/ 0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cubicBezTo>
                      <a:pt x="1" y="0"/>
                      <a:pt x="2" y="0"/>
                      <a:pt x="2" y="0"/>
                    </a:cubicBezTo>
                    <a:cubicBezTo>
                      <a:pt x="2" y="3"/>
                      <a:pt x="2" y="6"/>
                      <a:pt x="2" y="9"/>
                    </a:cubicBezTo>
                    <a:cubicBezTo>
                      <a:pt x="2" y="9"/>
                      <a:pt x="1"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102" name="ïṧľïdé"/>
              <p:cNvSpPr/>
              <p:nvPr/>
            </p:nvSpPr>
            <p:spPr bwMode="auto">
              <a:xfrm>
                <a:off x="3963988" y="3421063"/>
                <a:ext cx="3175" cy="30163"/>
              </a:xfrm>
              <a:custGeom>
                <a:avLst/>
                <a:gdLst>
                  <a:gd name="T0" fmla="*/ 0 w 1"/>
                  <a:gd name="T1" fmla="*/ 0 h 9"/>
                  <a:gd name="T2" fmla="*/ 1 w 1"/>
                  <a:gd name="T3" fmla="*/ 0 h 9"/>
                  <a:gd name="T4" fmla="*/ 1 w 1"/>
                  <a:gd name="T5" fmla="*/ 9 h 9"/>
                  <a:gd name="T6" fmla="*/ 0 w 1"/>
                  <a:gd name="T7" fmla="*/ 9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1" y="0"/>
                      <a:pt x="1" y="0"/>
                    </a:cubicBezTo>
                    <a:cubicBezTo>
                      <a:pt x="1" y="3"/>
                      <a:pt x="1" y="6"/>
                      <a:pt x="1" y="9"/>
                    </a:cubicBezTo>
                    <a:cubicBezTo>
                      <a:pt x="1" y="9"/>
                      <a:pt x="0"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103" name="ïṥļíďê"/>
              <p:cNvSpPr/>
              <p:nvPr/>
            </p:nvSpPr>
            <p:spPr bwMode="auto">
              <a:xfrm>
                <a:off x="3973513" y="3421063"/>
                <a:ext cx="6350" cy="30163"/>
              </a:xfrm>
              <a:custGeom>
                <a:avLst/>
                <a:gdLst>
                  <a:gd name="T0" fmla="*/ 0 w 2"/>
                  <a:gd name="T1" fmla="*/ 0 h 9"/>
                  <a:gd name="T2" fmla="*/ 2 w 2"/>
                  <a:gd name="T3" fmla="*/ 0 h 9"/>
                  <a:gd name="T4" fmla="*/ 2 w 2"/>
                  <a:gd name="T5" fmla="*/ 9 h 9"/>
                  <a:gd name="T6" fmla="*/ 0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cubicBezTo>
                      <a:pt x="1" y="0"/>
                      <a:pt x="1" y="0"/>
                      <a:pt x="2" y="0"/>
                    </a:cubicBezTo>
                    <a:cubicBezTo>
                      <a:pt x="2" y="3"/>
                      <a:pt x="2" y="6"/>
                      <a:pt x="2" y="9"/>
                    </a:cubicBezTo>
                    <a:cubicBezTo>
                      <a:pt x="1" y="9"/>
                      <a:pt x="1"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104" name="íṥḷïdè"/>
              <p:cNvSpPr/>
              <p:nvPr/>
            </p:nvSpPr>
            <p:spPr bwMode="auto">
              <a:xfrm>
                <a:off x="3983038" y="3421063"/>
                <a:ext cx="7938" cy="30163"/>
              </a:xfrm>
              <a:custGeom>
                <a:avLst/>
                <a:gdLst>
                  <a:gd name="T0" fmla="*/ 0 w 2"/>
                  <a:gd name="T1" fmla="*/ 0 h 9"/>
                  <a:gd name="T2" fmla="*/ 2 w 2"/>
                  <a:gd name="T3" fmla="*/ 0 h 9"/>
                  <a:gd name="T4" fmla="*/ 2 w 2"/>
                  <a:gd name="T5" fmla="*/ 9 h 9"/>
                  <a:gd name="T6" fmla="*/ 0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cubicBezTo>
                      <a:pt x="1" y="0"/>
                      <a:pt x="1" y="0"/>
                      <a:pt x="2" y="0"/>
                    </a:cubicBezTo>
                    <a:cubicBezTo>
                      <a:pt x="2" y="3"/>
                      <a:pt x="2" y="6"/>
                      <a:pt x="2" y="9"/>
                    </a:cubicBezTo>
                    <a:cubicBezTo>
                      <a:pt x="1" y="9"/>
                      <a:pt x="1"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105" name="í$1ïḑê"/>
              <p:cNvSpPr/>
              <p:nvPr/>
            </p:nvSpPr>
            <p:spPr bwMode="auto">
              <a:xfrm>
                <a:off x="3997326" y="3421063"/>
                <a:ext cx="3175" cy="30163"/>
              </a:xfrm>
              <a:custGeom>
                <a:avLst/>
                <a:gdLst>
                  <a:gd name="T0" fmla="*/ 0 w 1"/>
                  <a:gd name="T1" fmla="*/ 0 h 9"/>
                  <a:gd name="T2" fmla="*/ 1 w 1"/>
                  <a:gd name="T3" fmla="*/ 0 h 9"/>
                  <a:gd name="T4" fmla="*/ 1 w 1"/>
                  <a:gd name="T5" fmla="*/ 9 h 9"/>
                  <a:gd name="T6" fmla="*/ 0 w 1"/>
                  <a:gd name="T7" fmla="*/ 9 h 9"/>
                  <a:gd name="T8" fmla="*/ 0 w 1"/>
                  <a:gd name="T9" fmla="*/ 0 h 9"/>
                </a:gdLst>
                <a:ahLst/>
                <a:cxnLst>
                  <a:cxn ang="0">
                    <a:pos x="T0" y="T1"/>
                  </a:cxn>
                  <a:cxn ang="0">
                    <a:pos x="T2" y="T3"/>
                  </a:cxn>
                  <a:cxn ang="0">
                    <a:pos x="T4" y="T5"/>
                  </a:cxn>
                  <a:cxn ang="0">
                    <a:pos x="T6" y="T7"/>
                  </a:cxn>
                  <a:cxn ang="0">
                    <a:pos x="T8" y="T9"/>
                  </a:cxn>
                </a:cxnLst>
                <a:rect l="0" t="0" r="r" b="b"/>
                <a:pathLst>
                  <a:path w="1" h="9">
                    <a:moveTo>
                      <a:pt x="0" y="0"/>
                    </a:moveTo>
                    <a:cubicBezTo>
                      <a:pt x="0" y="0"/>
                      <a:pt x="1" y="0"/>
                      <a:pt x="1" y="0"/>
                    </a:cubicBezTo>
                    <a:cubicBezTo>
                      <a:pt x="1" y="3"/>
                      <a:pt x="1" y="6"/>
                      <a:pt x="1" y="9"/>
                    </a:cubicBezTo>
                    <a:cubicBezTo>
                      <a:pt x="1" y="9"/>
                      <a:pt x="0" y="9"/>
                      <a:pt x="0" y="9"/>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106" name="i$ļïḍê"/>
              <p:cNvSpPr/>
              <p:nvPr/>
            </p:nvSpPr>
            <p:spPr bwMode="auto">
              <a:xfrm>
                <a:off x="4006851" y="3421063"/>
                <a:ext cx="3175" cy="301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107" name="íŝḷídé"/>
              <p:cNvSpPr/>
              <p:nvPr/>
            </p:nvSpPr>
            <p:spPr bwMode="auto">
              <a:xfrm>
                <a:off x="4016376" y="3421063"/>
                <a:ext cx="6350" cy="301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108" name="iṡ1iḍé"/>
              <p:cNvSpPr/>
              <p:nvPr/>
            </p:nvSpPr>
            <p:spPr bwMode="auto">
              <a:xfrm>
                <a:off x="4025901" y="3421063"/>
                <a:ext cx="7938" cy="301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109" name="îṡḻïde"/>
              <p:cNvSpPr/>
              <p:nvPr/>
            </p:nvSpPr>
            <p:spPr bwMode="auto">
              <a:xfrm>
                <a:off x="4040188" y="3417888"/>
                <a:ext cx="39688" cy="3175"/>
              </a:xfrm>
              <a:prstGeom prst="rect">
                <a:avLst/>
              </a:prstGeom>
              <a:solidFill>
                <a:srgbClr val="1E267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110" name="išḻiḑe"/>
              <p:cNvSpPr/>
              <p:nvPr/>
            </p:nvSpPr>
            <p:spPr bwMode="auto">
              <a:xfrm>
                <a:off x="3679826" y="3490913"/>
                <a:ext cx="17463"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p>
            </p:txBody>
          </p:sp>
          <p:sp>
            <p:nvSpPr>
              <p:cNvPr id="111" name="ïSlîḑê"/>
              <p:cNvSpPr/>
              <p:nvPr/>
            </p:nvSpPr>
            <p:spPr bwMode="auto">
              <a:xfrm>
                <a:off x="3884613" y="3490913"/>
                <a:ext cx="55563" cy="53975"/>
              </a:xfrm>
              <a:custGeom>
                <a:avLst/>
                <a:gdLst>
                  <a:gd name="T0" fmla="*/ 0 w 35"/>
                  <a:gd name="T1" fmla="*/ 0 h 34"/>
                  <a:gd name="T2" fmla="*/ 35 w 35"/>
                  <a:gd name="T3" fmla="*/ 0 h 34"/>
                  <a:gd name="T4" fmla="*/ 35 w 35"/>
                  <a:gd name="T5" fmla="*/ 34 h 34"/>
                  <a:gd name="T6" fmla="*/ 0 w 35"/>
                  <a:gd name="T7" fmla="*/ 34 h 34"/>
                  <a:gd name="T8" fmla="*/ 0 w 35"/>
                  <a:gd name="T9" fmla="*/ 0 h 34"/>
                  <a:gd name="T10" fmla="*/ 0 w 35"/>
                  <a:gd name="T11" fmla="*/ 0 h 34"/>
                  <a:gd name="T12" fmla="*/ 4 w 35"/>
                  <a:gd name="T13" fmla="*/ 8 h 34"/>
                  <a:gd name="T14" fmla="*/ 4 w 35"/>
                  <a:gd name="T15" fmla="*/ 27 h 34"/>
                  <a:gd name="T16" fmla="*/ 8 w 35"/>
                  <a:gd name="T17" fmla="*/ 27 h 34"/>
                  <a:gd name="T18" fmla="*/ 8 w 35"/>
                  <a:gd name="T19" fmla="*/ 8 h 34"/>
                  <a:gd name="T20" fmla="*/ 4 w 35"/>
                  <a:gd name="T21" fmla="*/ 8 h 34"/>
                  <a:gd name="T22" fmla="*/ 4 w 35"/>
                  <a:gd name="T23" fmla="*/ 8 h 34"/>
                  <a:gd name="T24" fmla="*/ 29 w 35"/>
                  <a:gd name="T25" fmla="*/ 8 h 34"/>
                  <a:gd name="T26" fmla="*/ 29 w 35"/>
                  <a:gd name="T27" fmla="*/ 27 h 34"/>
                  <a:gd name="T28" fmla="*/ 31 w 35"/>
                  <a:gd name="T29" fmla="*/ 27 h 34"/>
                  <a:gd name="T30" fmla="*/ 31 w 35"/>
                  <a:gd name="T31" fmla="*/ 8 h 34"/>
                  <a:gd name="T32" fmla="*/ 29 w 35"/>
                  <a:gd name="T3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34">
                    <a:moveTo>
                      <a:pt x="0" y="0"/>
                    </a:moveTo>
                    <a:lnTo>
                      <a:pt x="35" y="0"/>
                    </a:lnTo>
                    <a:lnTo>
                      <a:pt x="35" y="34"/>
                    </a:lnTo>
                    <a:lnTo>
                      <a:pt x="0" y="34"/>
                    </a:lnTo>
                    <a:lnTo>
                      <a:pt x="0" y="0"/>
                    </a:lnTo>
                    <a:lnTo>
                      <a:pt x="0" y="0"/>
                    </a:lnTo>
                    <a:close/>
                    <a:moveTo>
                      <a:pt x="4" y="8"/>
                    </a:moveTo>
                    <a:lnTo>
                      <a:pt x="4" y="27"/>
                    </a:lnTo>
                    <a:lnTo>
                      <a:pt x="8" y="27"/>
                    </a:lnTo>
                    <a:lnTo>
                      <a:pt x="8" y="8"/>
                    </a:lnTo>
                    <a:lnTo>
                      <a:pt x="4" y="8"/>
                    </a:lnTo>
                    <a:lnTo>
                      <a:pt x="4" y="8"/>
                    </a:lnTo>
                    <a:close/>
                    <a:moveTo>
                      <a:pt x="29" y="8"/>
                    </a:moveTo>
                    <a:lnTo>
                      <a:pt x="29" y="27"/>
                    </a:lnTo>
                    <a:lnTo>
                      <a:pt x="31" y="27"/>
                    </a:lnTo>
                    <a:lnTo>
                      <a:pt x="31" y="8"/>
                    </a:lnTo>
                    <a:lnTo>
                      <a:pt x="29" y="8"/>
                    </a:lnTo>
                    <a:close/>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112" name="iS1ïde"/>
              <p:cNvSpPr/>
              <p:nvPr/>
            </p:nvSpPr>
            <p:spPr bwMode="auto">
              <a:xfrm>
                <a:off x="3551238" y="3067050"/>
                <a:ext cx="722313" cy="727075"/>
              </a:xfrm>
              <a:custGeom>
                <a:avLst/>
                <a:gdLst>
                  <a:gd name="T0" fmla="*/ 109 w 219"/>
                  <a:gd name="T1" fmla="*/ 0 h 218"/>
                  <a:gd name="T2" fmla="*/ 219 w 219"/>
                  <a:gd name="T3" fmla="*/ 109 h 218"/>
                  <a:gd name="T4" fmla="*/ 109 w 219"/>
                  <a:gd name="T5" fmla="*/ 218 h 218"/>
                  <a:gd name="T6" fmla="*/ 0 w 219"/>
                  <a:gd name="T7" fmla="*/ 109 h 218"/>
                  <a:gd name="T8" fmla="*/ 109 w 219"/>
                  <a:gd name="T9" fmla="*/ 0 h 218"/>
                  <a:gd name="T10" fmla="*/ 109 w 219"/>
                  <a:gd name="T11" fmla="*/ 3 h 218"/>
                  <a:gd name="T12" fmla="*/ 4 w 219"/>
                  <a:gd name="T13" fmla="*/ 109 h 218"/>
                  <a:gd name="T14" fmla="*/ 109 w 219"/>
                  <a:gd name="T15" fmla="*/ 215 h 218"/>
                  <a:gd name="T16" fmla="*/ 215 w 219"/>
                  <a:gd name="T17" fmla="*/ 109 h 218"/>
                  <a:gd name="T18" fmla="*/ 109 w 219"/>
                  <a:gd name="T19" fmla="*/ 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9" h="218">
                    <a:moveTo>
                      <a:pt x="109" y="0"/>
                    </a:moveTo>
                    <a:cubicBezTo>
                      <a:pt x="170" y="0"/>
                      <a:pt x="219" y="49"/>
                      <a:pt x="219" y="109"/>
                    </a:cubicBezTo>
                    <a:cubicBezTo>
                      <a:pt x="219" y="169"/>
                      <a:pt x="170" y="218"/>
                      <a:pt x="109" y="218"/>
                    </a:cubicBezTo>
                    <a:cubicBezTo>
                      <a:pt x="49" y="218"/>
                      <a:pt x="0" y="169"/>
                      <a:pt x="0" y="109"/>
                    </a:cubicBezTo>
                    <a:cubicBezTo>
                      <a:pt x="0" y="49"/>
                      <a:pt x="49" y="0"/>
                      <a:pt x="109" y="0"/>
                    </a:cubicBezTo>
                    <a:close/>
                    <a:moveTo>
                      <a:pt x="109" y="3"/>
                    </a:moveTo>
                    <a:cubicBezTo>
                      <a:pt x="51" y="3"/>
                      <a:pt x="4" y="51"/>
                      <a:pt x="4" y="109"/>
                    </a:cubicBezTo>
                    <a:cubicBezTo>
                      <a:pt x="4" y="167"/>
                      <a:pt x="51" y="215"/>
                      <a:pt x="109" y="215"/>
                    </a:cubicBezTo>
                    <a:cubicBezTo>
                      <a:pt x="168" y="215"/>
                      <a:pt x="215" y="167"/>
                      <a:pt x="215" y="109"/>
                    </a:cubicBezTo>
                    <a:cubicBezTo>
                      <a:pt x="215" y="51"/>
                      <a:pt x="168" y="3"/>
                      <a:pt x="109" y="3"/>
                    </a:cubicBezTo>
                    <a:close/>
                  </a:path>
                </a:pathLst>
              </a:custGeom>
              <a:solidFill>
                <a:srgbClr val="1E267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grpSp>
        <p:grpSp>
          <p:nvGrpSpPr>
            <p:cNvPr id="12" name="ïṡlïḋè"/>
            <p:cNvGrpSpPr/>
            <p:nvPr/>
          </p:nvGrpSpPr>
          <p:grpSpPr>
            <a:xfrm>
              <a:off x="5777051" y="601725"/>
              <a:ext cx="1483367" cy="539516"/>
              <a:chOff x="4412452" y="3106738"/>
              <a:chExt cx="2312689" cy="841148"/>
            </a:xfrm>
          </p:grpSpPr>
          <p:grpSp>
            <p:nvGrpSpPr>
              <p:cNvPr id="14" name="îśḻîḑê"/>
              <p:cNvGrpSpPr/>
              <p:nvPr/>
            </p:nvGrpSpPr>
            <p:grpSpPr>
              <a:xfrm>
                <a:off x="4422776" y="3106738"/>
                <a:ext cx="2293937" cy="617538"/>
                <a:chOff x="4422776" y="3106738"/>
                <a:chExt cx="2293937" cy="617538"/>
              </a:xfrm>
            </p:grpSpPr>
            <p:sp>
              <p:nvSpPr>
                <p:cNvPr id="32" name="iṧļíďé"/>
                <p:cNvSpPr/>
                <p:nvPr/>
              </p:nvSpPr>
              <p:spPr bwMode="auto">
                <a:xfrm>
                  <a:off x="4811713" y="3200400"/>
                  <a:ext cx="49213" cy="100013"/>
                </a:xfrm>
                <a:custGeom>
                  <a:avLst/>
                  <a:gdLst>
                    <a:gd name="T0" fmla="*/ 0 w 15"/>
                    <a:gd name="T1" fmla="*/ 1 h 30"/>
                    <a:gd name="T2" fmla="*/ 1 w 15"/>
                    <a:gd name="T3" fmla="*/ 12 h 30"/>
                    <a:gd name="T4" fmla="*/ 0 w 15"/>
                    <a:gd name="T5" fmla="*/ 21 h 30"/>
                    <a:gd name="T6" fmla="*/ 2 w 15"/>
                    <a:gd name="T7" fmla="*/ 28 h 30"/>
                    <a:gd name="T8" fmla="*/ 7 w 15"/>
                    <a:gd name="T9" fmla="*/ 30 h 30"/>
                    <a:gd name="T10" fmla="*/ 12 w 15"/>
                    <a:gd name="T11" fmla="*/ 26 h 30"/>
                    <a:gd name="T12" fmla="*/ 15 w 15"/>
                    <a:gd name="T13" fmla="*/ 18 h 30"/>
                    <a:gd name="T14" fmla="*/ 3 w 15"/>
                    <a:gd name="T15" fmla="*/ 0 h 30"/>
                    <a:gd name="T16" fmla="*/ 0 w 15"/>
                    <a:gd name="T17"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30">
                      <a:moveTo>
                        <a:pt x="0" y="1"/>
                      </a:moveTo>
                      <a:cubicBezTo>
                        <a:pt x="1" y="12"/>
                        <a:pt x="1" y="12"/>
                        <a:pt x="1" y="12"/>
                      </a:cubicBezTo>
                      <a:cubicBezTo>
                        <a:pt x="1" y="13"/>
                        <a:pt x="0" y="18"/>
                        <a:pt x="0" y="21"/>
                      </a:cubicBezTo>
                      <a:cubicBezTo>
                        <a:pt x="0" y="24"/>
                        <a:pt x="2" y="25"/>
                        <a:pt x="2" y="28"/>
                      </a:cubicBezTo>
                      <a:cubicBezTo>
                        <a:pt x="7" y="30"/>
                        <a:pt x="7" y="30"/>
                        <a:pt x="7" y="30"/>
                      </a:cubicBezTo>
                      <a:cubicBezTo>
                        <a:pt x="9" y="27"/>
                        <a:pt x="10" y="29"/>
                        <a:pt x="12" y="26"/>
                      </a:cubicBezTo>
                      <a:cubicBezTo>
                        <a:pt x="14" y="23"/>
                        <a:pt x="14" y="21"/>
                        <a:pt x="15" y="18"/>
                      </a:cubicBezTo>
                      <a:cubicBezTo>
                        <a:pt x="12" y="7"/>
                        <a:pt x="13" y="5"/>
                        <a:pt x="3" y="0"/>
                      </a:cubicBezTo>
                      <a:lnTo>
                        <a:pt x="0" y="1"/>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3" name="iṡḷíḋè"/>
                <p:cNvSpPr/>
                <p:nvPr/>
              </p:nvSpPr>
              <p:spPr bwMode="auto">
                <a:xfrm>
                  <a:off x="5221288" y="3184525"/>
                  <a:ext cx="36513" cy="122238"/>
                </a:xfrm>
                <a:custGeom>
                  <a:avLst/>
                  <a:gdLst>
                    <a:gd name="T0" fmla="*/ 0 w 11"/>
                    <a:gd name="T1" fmla="*/ 3 h 37"/>
                    <a:gd name="T2" fmla="*/ 2 w 11"/>
                    <a:gd name="T3" fmla="*/ 14 h 37"/>
                    <a:gd name="T4" fmla="*/ 0 w 11"/>
                    <a:gd name="T5" fmla="*/ 33 h 37"/>
                    <a:gd name="T6" fmla="*/ 0 w 11"/>
                    <a:gd name="T7" fmla="*/ 36 h 37"/>
                    <a:gd name="T8" fmla="*/ 2 w 11"/>
                    <a:gd name="T9" fmla="*/ 37 h 37"/>
                    <a:gd name="T10" fmla="*/ 8 w 11"/>
                    <a:gd name="T11" fmla="*/ 27 h 37"/>
                    <a:gd name="T12" fmla="*/ 11 w 11"/>
                    <a:gd name="T13" fmla="*/ 17 h 37"/>
                    <a:gd name="T14" fmla="*/ 11 w 11"/>
                    <a:gd name="T15" fmla="*/ 15 h 37"/>
                    <a:gd name="T16" fmla="*/ 7 w 11"/>
                    <a:gd name="T17" fmla="*/ 2 h 37"/>
                    <a:gd name="T18" fmla="*/ 2 w 11"/>
                    <a:gd name="T19" fmla="*/ 0 h 37"/>
                    <a:gd name="T20" fmla="*/ 0 w 11"/>
                    <a:gd name="T21" fmla="*/ 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37">
                      <a:moveTo>
                        <a:pt x="0" y="3"/>
                      </a:moveTo>
                      <a:cubicBezTo>
                        <a:pt x="2" y="14"/>
                        <a:pt x="2" y="14"/>
                        <a:pt x="2" y="14"/>
                      </a:cubicBezTo>
                      <a:cubicBezTo>
                        <a:pt x="2" y="19"/>
                        <a:pt x="0" y="27"/>
                        <a:pt x="0" y="33"/>
                      </a:cubicBezTo>
                      <a:cubicBezTo>
                        <a:pt x="0" y="36"/>
                        <a:pt x="0" y="36"/>
                        <a:pt x="0" y="36"/>
                      </a:cubicBezTo>
                      <a:cubicBezTo>
                        <a:pt x="2" y="36"/>
                        <a:pt x="1" y="37"/>
                        <a:pt x="2" y="37"/>
                      </a:cubicBezTo>
                      <a:cubicBezTo>
                        <a:pt x="3" y="37"/>
                        <a:pt x="7" y="28"/>
                        <a:pt x="8" y="27"/>
                      </a:cubicBezTo>
                      <a:cubicBezTo>
                        <a:pt x="9" y="24"/>
                        <a:pt x="11" y="21"/>
                        <a:pt x="11" y="17"/>
                      </a:cubicBezTo>
                      <a:cubicBezTo>
                        <a:pt x="11" y="15"/>
                        <a:pt x="11" y="15"/>
                        <a:pt x="11" y="15"/>
                      </a:cubicBezTo>
                      <a:cubicBezTo>
                        <a:pt x="11" y="7"/>
                        <a:pt x="8" y="7"/>
                        <a:pt x="7" y="2"/>
                      </a:cubicBezTo>
                      <a:cubicBezTo>
                        <a:pt x="2" y="0"/>
                        <a:pt x="2" y="0"/>
                        <a:pt x="2" y="0"/>
                      </a:cubicBezTo>
                      <a:cubicBezTo>
                        <a:pt x="2" y="1"/>
                        <a:pt x="0" y="1"/>
                        <a:pt x="0" y="3"/>
                      </a:cubicBez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4" name="ïś1îḓè"/>
                <p:cNvSpPr/>
                <p:nvPr/>
              </p:nvSpPr>
              <p:spPr bwMode="auto">
                <a:xfrm>
                  <a:off x="4554538" y="3251200"/>
                  <a:ext cx="119063" cy="58738"/>
                </a:xfrm>
                <a:custGeom>
                  <a:avLst/>
                  <a:gdLst>
                    <a:gd name="T0" fmla="*/ 0 w 36"/>
                    <a:gd name="T1" fmla="*/ 15 h 18"/>
                    <a:gd name="T2" fmla="*/ 2 w 36"/>
                    <a:gd name="T3" fmla="*/ 16 h 18"/>
                    <a:gd name="T4" fmla="*/ 13 w 36"/>
                    <a:gd name="T5" fmla="*/ 18 h 18"/>
                    <a:gd name="T6" fmla="*/ 16 w 36"/>
                    <a:gd name="T7" fmla="*/ 18 h 18"/>
                    <a:gd name="T8" fmla="*/ 22 w 36"/>
                    <a:gd name="T9" fmla="*/ 17 h 18"/>
                    <a:gd name="T10" fmla="*/ 23 w 36"/>
                    <a:gd name="T11" fmla="*/ 17 h 18"/>
                    <a:gd name="T12" fmla="*/ 30 w 36"/>
                    <a:gd name="T13" fmla="*/ 13 h 18"/>
                    <a:gd name="T14" fmla="*/ 36 w 36"/>
                    <a:gd name="T15" fmla="*/ 8 h 18"/>
                    <a:gd name="T16" fmla="*/ 36 w 36"/>
                    <a:gd name="T17" fmla="*/ 7 h 18"/>
                    <a:gd name="T18" fmla="*/ 36 w 36"/>
                    <a:gd name="T19" fmla="*/ 4 h 18"/>
                    <a:gd name="T20" fmla="*/ 32 w 36"/>
                    <a:gd name="T21" fmla="*/ 0 h 18"/>
                    <a:gd name="T22" fmla="*/ 24 w 36"/>
                    <a:gd name="T23" fmla="*/ 3 h 18"/>
                    <a:gd name="T24" fmla="*/ 16 w 36"/>
                    <a:gd name="T25" fmla="*/ 7 h 18"/>
                    <a:gd name="T26" fmla="*/ 0 w 36"/>
                    <a:gd name="T27"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18">
                      <a:moveTo>
                        <a:pt x="0" y="15"/>
                      </a:moveTo>
                      <a:cubicBezTo>
                        <a:pt x="1" y="16"/>
                        <a:pt x="1" y="16"/>
                        <a:pt x="2" y="16"/>
                      </a:cubicBezTo>
                      <a:cubicBezTo>
                        <a:pt x="6" y="16"/>
                        <a:pt x="9" y="18"/>
                        <a:pt x="13" y="18"/>
                      </a:cubicBezTo>
                      <a:cubicBezTo>
                        <a:pt x="16" y="18"/>
                        <a:pt x="16" y="18"/>
                        <a:pt x="16" y="18"/>
                      </a:cubicBezTo>
                      <a:cubicBezTo>
                        <a:pt x="22" y="17"/>
                        <a:pt x="22" y="17"/>
                        <a:pt x="22" y="17"/>
                      </a:cubicBezTo>
                      <a:cubicBezTo>
                        <a:pt x="23" y="17"/>
                        <a:pt x="23" y="17"/>
                        <a:pt x="23" y="17"/>
                      </a:cubicBezTo>
                      <a:cubicBezTo>
                        <a:pt x="26" y="16"/>
                        <a:pt x="28" y="14"/>
                        <a:pt x="30" y="13"/>
                      </a:cubicBezTo>
                      <a:cubicBezTo>
                        <a:pt x="34" y="11"/>
                        <a:pt x="33" y="10"/>
                        <a:pt x="36" y="8"/>
                      </a:cubicBezTo>
                      <a:cubicBezTo>
                        <a:pt x="36" y="7"/>
                        <a:pt x="36" y="7"/>
                        <a:pt x="36" y="7"/>
                      </a:cubicBezTo>
                      <a:cubicBezTo>
                        <a:pt x="36" y="4"/>
                        <a:pt x="36" y="4"/>
                        <a:pt x="36" y="4"/>
                      </a:cubicBezTo>
                      <a:cubicBezTo>
                        <a:pt x="36" y="1"/>
                        <a:pt x="33" y="2"/>
                        <a:pt x="32" y="0"/>
                      </a:cubicBezTo>
                      <a:cubicBezTo>
                        <a:pt x="29" y="1"/>
                        <a:pt x="27" y="1"/>
                        <a:pt x="24" y="3"/>
                      </a:cubicBezTo>
                      <a:cubicBezTo>
                        <a:pt x="21" y="4"/>
                        <a:pt x="19" y="6"/>
                        <a:pt x="16" y="7"/>
                      </a:cubicBezTo>
                      <a:cubicBezTo>
                        <a:pt x="11" y="11"/>
                        <a:pt x="4" y="10"/>
                        <a:pt x="0" y="15"/>
                      </a:cubicBez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5" name="ï$1îḓê"/>
                <p:cNvSpPr/>
                <p:nvPr/>
              </p:nvSpPr>
              <p:spPr bwMode="auto">
                <a:xfrm>
                  <a:off x="6359526" y="3263900"/>
                  <a:ext cx="93663" cy="139700"/>
                </a:xfrm>
                <a:custGeom>
                  <a:avLst/>
                  <a:gdLst>
                    <a:gd name="T0" fmla="*/ 15 w 28"/>
                    <a:gd name="T1" fmla="*/ 1 h 42"/>
                    <a:gd name="T2" fmla="*/ 6 w 28"/>
                    <a:gd name="T3" fmla="*/ 11 h 42"/>
                    <a:gd name="T4" fmla="*/ 6 w 28"/>
                    <a:gd name="T5" fmla="*/ 13 h 42"/>
                    <a:gd name="T6" fmla="*/ 5 w 28"/>
                    <a:gd name="T7" fmla="*/ 16 h 42"/>
                    <a:gd name="T8" fmla="*/ 6 w 28"/>
                    <a:gd name="T9" fmla="*/ 20 h 42"/>
                    <a:gd name="T10" fmla="*/ 6 w 28"/>
                    <a:gd name="T11" fmla="*/ 21 h 42"/>
                    <a:gd name="T12" fmla="*/ 0 w 28"/>
                    <a:gd name="T13" fmla="*/ 38 h 42"/>
                    <a:gd name="T14" fmla="*/ 0 w 28"/>
                    <a:gd name="T15" fmla="*/ 41 h 42"/>
                    <a:gd name="T16" fmla="*/ 3 w 28"/>
                    <a:gd name="T17" fmla="*/ 42 h 42"/>
                    <a:gd name="T18" fmla="*/ 9 w 28"/>
                    <a:gd name="T19" fmla="*/ 32 h 42"/>
                    <a:gd name="T20" fmla="*/ 12 w 28"/>
                    <a:gd name="T21" fmla="*/ 26 h 42"/>
                    <a:gd name="T22" fmla="*/ 14 w 28"/>
                    <a:gd name="T23" fmla="*/ 26 h 42"/>
                    <a:gd name="T24" fmla="*/ 20 w 28"/>
                    <a:gd name="T25" fmla="*/ 26 h 42"/>
                    <a:gd name="T26" fmla="*/ 28 w 28"/>
                    <a:gd name="T27" fmla="*/ 14 h 42"/>
                    <a:gd name="T28" fmla="*/ 28 w 28"/>
                    <a:gd name="T29" fmla="*/ 6 h 42"/>
                    <a:gd name="T30" fmla="*/ 28 w 28"/>
                    <a:gd name="T31" fmla="*/ 5 h 42"/>
                    <a:gd name="T32" fmla="*/ 27 w 28"/>
                    <a:gd name="T33" fmla="*/ 3 h 42"/>
                    <a:gd name="T34" fmla="*/ 26 w 28"/>
                    <a:gd name="T35" fmla="*/ 3 h 42"/>
                    <a:gd name="T36" fmla="*/ 24 w 28"/>
                    <a:gd name="T37" fmla="*/ 3 h 42"/>
                    <a:gd name="T38" fmla="*/ 23 w 28"/>
                    <a:gd name="T39" fmla="*/ 3 h 42"/>
                    <a:gd name="T40" fmla="*/ 20 w 28"/>
                    <a:gd name="T41" fmla="*/ 0 h 42"/>
                    <a:gd name="T42" fmla="*/ 15 w 28"/>
                    <a:gd name="T43"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42">
                      <a:moveTo>
                        <a:pt x="15" y="1"/>
                      </a:moveTo>
                      <a:cubicBezTo>
                        <a:pt x="15" y="10"/>
                        <a:pt x="8" y="6"/>
                        <a:pt x="6" y="11"/>
                      </a:cubicBezTo>
                      <a:cubicBezTo>
                        <a:pt x="6" y="13"/>
                        <a:pt x="6" y="13"/>
                        <a:pt x="6" y="13"/>
                      </a:cubicBezTo>
                      <a:cubicBezTo>
                        <a:pt x="6" y="14"/>
                        <a:pt x="5" y="14"/>
                        <a:pt x="5" y="16"/>
                      </a:cubicBezTo>
                      <a:cubicBezTo>
                        <a:pt x="6" y="20"/>
                        <a:pt x="6" y="20"/>
                        <a:pt x="6" y="20"/>
                      </a:cubicBezTo>
                      <a:cubicBezTo>
                        <a:pt x="6" y="21"/>
                        <a:pt x="6" y="21"/>
                        <a:pt x="6" y="21"/>
                      </a:cubicBezTo>
                      <a:cubicBezTo>
                        <a:pt x="6" y="29"/>
                        <a:pt x="0" y="31"/>
                        <a:pt x="0" y="38"/>
                      </a:cubicBezTo>
                      <a:cubicBezTo>
                        <a:pt x="0" y="41"/>
                        <a:pt x="0" y="41"/>
                        <a:pt x="0" y="41"/>
                      </a:cubicBezTo>
                      <a:cubicBezTo>
                        <a:pt x="2" y="42"/>
                        <a:pt x="2" y="42"/>
                        <a:pt x="3" y="42"/>
                      </a:cubicBezTo>
                      <a:cubicBezTo>
                        <a:pt x="7" y="42"/>
                        <a:pt x="9" y="36"/>
                        <a:pt x="9" y="32"/>
                      </a:cubicBezTo>
                      <a:cubicBezTo>
                        <a:pt x="9" y="29"/>
                        <a:pt x="10" y="26"/>
                        <a:pt x="12" y="26"/>
                      </a:cubicBezTo>
                      <a:cubicBezTo>
                        <a:pt x="14" y="26"/>
                        <a:pt x="14" y="26"/>
                        <a:pt x="14" y="26"/>
                      </a:cubicBezTo>
                      <a:cubicBezTo>
                        <a:pt x="20" y="26"/>
                        <a:pt x="20" y="26"/>
                        <a:pt x="20" y="26"/>
                      </a:cubicBezTo>
                      <a:cubicBezTo>
                        <a:pt x="24" y="24"/>
                        <a:pt x="28" y="21"/>
                        <a:pt x="28" y="14"/>
                      </a:cubicBezTo>
                      <a:cubicBezTo>
                        <a:pt x="28" y="6"/>
                        <a:pt x="28" y="6"/>
                        <a:pt x="28" y="6"/>
                      </a:cubicBezTo>
                      <a:cubicBezTo>
                        <a:pt x="28" y="5"/>
                        <a:pt x="28" y="5"/>
                        <a:pt x="28" y="5"/>
                      </a:cubicBezTo>
                      <a:cubicBezTo>
                        <a:pt x="27" y="3"/>
                        <a:pt x="27" y="3"/>
                        <a:pt x="27" y="3"/>
                      </a:cubicBezTo>
                      <a:cubicBezTo>
                        <a:pt x="26" y="3"/>
                        <a:pt x="26" y="3"/>
                        <a:pt x="26" y="3"/>
                      </a:cubicBezTo>
                      <a:cubicBezTo>
                        <a:pt x="24" y="3"/>
                        <a:pt x="24" y="3"/>
                        <a:pt x="24" y="3"/>
                      </a:cubicBezTo>
                      <a:cubicBezTo>
                        <a:pt x="23" y="3"/>
                        <a:pt x="23" y="3"/>
                        <a:pt x="23" y="3"/>
                      </a:cubicBezTo>
                      <a:cubicBezTo>
                        <a:pt x="20" y="0"/>
                        <a:pt x="20" y="0"/>
                        <a:pt x="20" y="0"/>
                      </a:cubicBezTo>
                      <a:lnTo>
                        <a:pt x="15" y="1"/>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6" name="íṩḷiďè"/>
                <p:cNvSpPr/>
                <p:nvPr/>
              </p:nvSpPr>
              <p:spPr bwMode="auto">
                <a:xfrm>
                  <a:off x="5826126" y="3273425"/>
                  <a:ext cx="223838" cy="293688"/>
                </a:xfrm>
                <a:custGeom>
                  <a:avLst/>
                  <a:gdLst>
                    <a:gd name="T0" fmla="*/ 38 w 68"/>
                    <a:gd name="T1" fmla="*/ 16 h 88"/>
                    <a:gd name="T2" fmla="*/ 40 w 68"/>
                    <a:gd name="T3" fmla="*/ 5 h 88"/>
                    <a:gd name="T4" fmla="*/ 36 w 68"/>
                    <a:gd name="T5" fmla="*/ 1 h 88"/>
                    <a:gd name="T6" fmla="*/ 36 w 68"/>
                    <a:gd name="T7" fmla="*/ 1 h 88"/>
                    <a:gd name="T8" fmla="*/ 33 w 68"/>
                    <a:gd name="T9" fmla="*/ 0 h 88"/>
                    <a:gd name="T10" fmla="*/ 24 w 68"/>
                    <a:gd name="T11" fmla="*/ 7 h 88"/>
                    <a:gd name="T12" fmla="*/ 24 w 68"/>
                    <a:gd name="T13" fmla="*/ 8 h 88"/>
                    <a:gd name="T14" fmla="*/ 26 w 68"/>
                    <a:gd name="T15" fmla="*/ 18 h 88"/>
                    <a:gd name="T16" fmla="*/ 27 w 68"/>
                    <a:gd name="T17" fmla="*/ 28 h 88"/>
                    <a:gd name="T18" fmla="*/ 27 w 68"/>
                    <a:gd name="T19" fmla="*/ 39 h 88"/>
                    <a:gd name="T20" fmla="*/ 16 w 68"/>
                    <a:gd name="T21" fmla="*/ 48 h 88"/>
                    <a:gd name="T22" fmla="*/ 7 w 68"/>
                    <a:gd name="T23" fmla="*/ 49 h 88"/>
                    <a:gd name="T24" fmla="*/ 5 w 68"/>
                    <a:gd name="T25" fmla="*/ 49 h 88"/>
                    <a:gd name="T26" fmla="*/ 4 w 68"/>
                    <a:gd name="T27" fmla="*/ 49 h 88"/>
                    <a:gd name="T28" fmla="*/ 0 w 68"/>
                    <a:gd name="T29" fmla="*/ 54 h 88"/>
                    <a:gd name="T30" fmla="*/ 5 w 68"/>
                    <a:gd name="T31" fmla="*/ 60 h 88"/>
                    <a:gd name="T32" fmla="*/ 11 w 68"/>
                    <a:gd name="T33" fmla="*/ 60 h 88"/>
                    <a:gd name="T34" fmla="*/ 13 w 68"/>
                    <a:gd name="T35" fmla="*/ 59 h 88"/>
                    <a:gd name="T36" fmla="*/ 20 w 68"/>
                    <a:gd name="T37" fmla="*/ 66 h 88"/>
                    <a:gd name="T38" fmla="*/ 17 w 68"/>
                    <a:gd name="T39" fmla="*/ 72 h 88"/>
                    <a:gd name="T40" fmla="*/ 13 w 68"/>
                    <a:gd name="T41" fmla="*/ 76 h 88"/>
                    <a:gd name="T42" fmla="*/ 2 w 68"/>
                    <a:gd name="T43" fmla="*/ 82 h 88"/>
                    <a:gd name="T44" fmla="*/ 2 w 68"/>
                    <a:gd name="T45" fmla="*/ 83 h 88"/>
                    <a:gd name="T46" fmla="*/ 2 w 68"/>
                    <a:gd name="T47" fmla="*/ 87 h 88"/>
                    <a:gd name="T48" fmla="*/ 4 w 68"/>
                    <a:gd name="T49" fmla="*/ 88 h 88"/>
                    <a:gd name="T50" fmla="*/ 25 w 68"/>
                    <a:gd name="T51" fmla="*/ 77 h 88"/>
                    <a:gd name="T52" fmla="*/ 31 w 68"/>
                    <a:gd name="T53" fmla="*/ 69 h 88"/>
                    <a:gd name="T54" fmla="*/ 40 w 68"/>
                    <a:gd name="T55" fmla="*/ 63 h 88"/>
                    <a:gd name="T56" fmla="*/ 52 w 68"/>
                    <a:gd name="T57" fmla="*/ 70 h 88"/>
                    <a:gd name="T58" fmla="*/ 48 w 68"/>
                    <a:gd name="T59" fmla="*/ 79 h 88"/>
                    <a:gd name="T60" fmla="*/ 59 w 68"/>
                    <a:gd name="T61" fmla="*/ 81 h 88"/>
                    <a:gd name="T62" fmla="*/ 68 w 68"/>
                    <a:gd name="T63" fmla="*/ 71 h 88"/>
                    <a:gd name="T64" fmla="*/ 59 w 68"/>
                    <a:gd name="T65" fmla="*/ 62 h 88"/>
                    <a:gd name="T66" fmla="*/ 44 w 68"/>
                    <a:gd name="T67" fmla="*/ 60 h 88"/>
                    <a:gd name="T68" fmla="*/ 42 w 68"/>
                    <a:gd name="T69" fmla="*/ 60 h 88"/>
                    <a:gd name="T70" fmla="*/ 36 w 68"/>
                    <a:gd name="T71" fmla="*/ 53 h 88"/>
                    <a:gd name="T72" fmla="*/ 48 w 68"/>
                    <a:gd name="T73" fmla="*/ 42 h 88"/>
                    <a:gd name="T74" fmla="*/ 59 w 68"/>
                    <a:gd name="T75" fmla="*/ 32 h 88"/>
                    <a:gd name="T76" fmla="*/ 59 w 68"/>
                    <a:gd name="T77" fmla="*/ 30 h 88"/>
                    <a:gd name="T78" fmla="*/ 59 w 68"/>
                    <a:gd name="T79" fmla="*/ 29 h 88"/>
                    <a:gd name="T80" fmla="*/ 54 w 68"/>
                    <a:gd name="T81" fmla="*/ 26 h 88"/>
                    <a:gd name="T82" fmla="*/ 51 w 68"/>
                    <a:gd name="T83" fmla="*/ 27 h 88"/>
                    <a:gd name="T84" fmla="*/ 50 w 68"/>
                    <a:gd name="T85" fmla="*/ 27 h 88"/>
                    <a:gd name="T86" fmla="*/ 41 w 68"/>
                    <a:gd name="T87" fmla="*/ 33 h 88"/>
                    <a:gd name="T88" fmla="*/ 38 w 68"/>
                    <a:gd name="T89" fmla="*/ 28 h 88"/>
                    <a:gd name="T90" fmla="*/ 38 w 68"/>
                    <a:gd name="T91" fmla="*/ 27 h 88"/>
                    <a:gd name="T92" fmla="*/ 38 w 68"/>
                    <a:gd name="T93" fmla="*/ 1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88">
                      <a:moveTo>
                        <a:pt x="38" y="16"/>
                      </a:moveTo>
                      <a:cubicBezTo>
                        <a:pt x="39" y="11"/>
                        <a:pt x="40" y="9"/>
                        <a:pt x="40" y="5"/>
                      </a:cubicBezTo>
                      <a:cubicBezTo>
                        <a:pt x="40" y="3"/>
                        <a:pt x="38" y="1"/>
                        <a:pt x="36" y="1"/>
                      </a:cubicBezTo>
                      <a:cubicBezTo>
                        <a:pt x="36" y="1"/>
                        <a:pt x="36" y="1"/>
                        <a:pt x="36" y="1"/>
                      </a:cubicBezTo>
                      <a:cubicBezTo>
                        <a:pt x="34" y="1"/>
                        <a:pt x="34" y="1"/>
                        <a:pt x="33" y="0"/>
                      </a:cubicBezTo>
                      <a:cubicBezTo>
                        <a:pt x="28" y="3"/>
                        <a:pt x="28" y="1"/>
                        <a:pt x="24" y="7"/>
                      </a:cubicBezTo>
                      <a:cubicBezTo>
                        <a:pt x="24" y="8"/>
                        <a:pt x="24" y="8"/>
                        <a:pt x="24" y="8"/>
                      </a:cubicBezTo>
                      <a:cubicBezTo>
                        <a:pt x="24" y="12"/>
                        <a:pt x="26" y="14"/>
                        <a:pt x="26" y="18"/>
                      </a:cubicBezTo>
                      <a:cubicBezTo>
                        <a:pt x="27" y="28"/>
                        <a:pt x="27" y="28"/>
                        <a:pt x="27" y="28"/>
                      </a:cubicBezTo>
                      <a:cubicBezTo>
                        <a:pt x="27" y="39"/>
                        <a:pt x="27" y="39"/>
                        <a:pt x="27" y="39"/>
                      </a:cubicBezTo>
                      <a:cubicBezTo>
                        <a:pt x="28" y="45"/>
                        <a:pt x="22" y="48"/>
                        <a:pt x="16" y="48"/>
                      </a:cubicBezTo>
                      <a:cubicBezTo>
                        <a:pt x="7" y="49"/>
                        <a:pt x="7" y="49"/>
                        <a:pt x="7" y="49"/>
                      </a:cubicBezTo>
                      <a:cubicBezTo>
                        <a:pt x="5" y="49"/>
                        <a:pt x="5" y="49"/>
                        <a:pt x="5" y="49"/>
                      </a:cubicBezTo>
                      <a:cubicBezTo>
                        <a:pt x="4" y="49"/>
                        <a:pt x="4" y="49"/>
                        <a:pt x="4" y="49"/>
                      </a:cubicBezTo>
                      <a:cubicBezTo>
                        <a:pt x="2" y="50"/>
                        <a:pt x="0" y="51"/>
                        <a:pt x="0" y="54"/>
                      </a:cubicBezTo>
                      <a:cubicBezTo>
                        <a:pt x="0" y="56"/>
                        <a:pt x="3" y="60"/>
                        <a:pt x="5" y="60"/>
                      </a:cubicBezTo>
                      <a:cubicBezTo>
                        <a:pt x="11" y="60"/>
                        <a:pt x="11" y="60"/>
                        <a:pt x="11" y="60"/>
                      </a:cubicBezTo>
                      <a:cubicBezTo>
                        <a:pt x="12" y="60"/>
                        <a:pt x="12" y="60"/>
                        <a:pt x="13" y="59"/>
                      </a:cubicBezTo>
                      <a:cubicBezTo>
                        <a:pt x="17" y="62"/>
                        <a:pt x="17" y="60"/>
                        <a:pt x="20" y="66"/>
                      </a:cubicBezTo>
                      <a:cubicBezTo>
                        <a:pt x="18" y="69"/>
                        <a:pt x="20" y="68"/>
                        <a:pt x="17" y="72"/>
                      </a:cubicBezTo>
                      <a:cubicBezTo>
                        <a:pt x="15" y="73"/>
                        <a:pt x="15" y="75"/>
                        <a:pt x="13" y="76"/>
                      </a:cubicBezTo>
                      <a:cubicBezTo>
                        <a:pt x="8" y="79"/>
                        <a:pt x="7" y="80"/>
                        <a:pt x="2" y="82"/>
                      </a:cubicBezTo>
                      <a:cubicBezTo>
                        <a:pt x="2" y="83"/>
                        <a:pt x="2" y="83"/>
                        <a:pt x="2" y="83"/>
                      </a:cubicBezTo>
                      <a:cubicBezTo>
                        <a:pt x="2" y="87"/>
                        <a:pt x="2" y="87"/>
                        <a:pt x="2" y="87"/>
                      </a:cubicBezTo>
                      <a:cubicBezTo>
                        <a:pt x="4" y="87"/>
                        <a:pt x="3" y="88"/>
                        <a:pt x="4" y="88"/>
                      </a:cubicBezTo>
                      <a:cubicBezTo>
                        <a:pt x="13" y="88"/>
                        <a:pt x="20" y="82"/>
                        <a:pt x="25" y="77"/>
                      </a:cubicBezTo>
                      <a:cubicBezTo>
                        <a:pt x="26" y="76"/>
                        <a:pt x="30" y="71"/>
                        <a:pt x="31" y="69"/>
                      </a:cubicBezTo>
                      <a:cubicBezTo>
                        <a:pt x="33" y="65"/>
                        <a:pt x="35" y="63"/>
                        <a:pt x="40" y="63"/>
                      </a:cubicBezTo>
                      <a:cubicBezTo>
                        <a:pt x="45" y="63"/>
                        <a:pt x="49" y="67"/>
                        <a:pt x="52" y="70"/>
                      </a:cubicBezTo>
                      <a:cubicBezTo>
                        <a:pt x="48" y="79"/>
                        <a:pt x="48" y="79"/>
                        <a:pt x="48" y="79"/>
                      </a:cubicBezTo>
                      <a:cubicBezTo>
                        <a:pt x="50" y="79"/>
                        <a:pt x="58" y="81"/>
                        <a:pt x="59" y="81"/>
                      </a:cubicBezTo>
                      <a:cubicBezTo>
                        <a:pt x="65" y="81"/>
                        <a:pt x="67" y="76"/>
                        <a:pt x="68" y="71"/>
                      </a:cubicBezTo>
                      <a:cubicBezTo>
                        <a:pt x="67" y="65"/>
                        <a:pt x="63" y="64"/>
                        <a:pt x="59" y="62"/>
                      </a:cubicBezTo>
                      <a:cubicBezTo>
                        <a:pt x="53" y="59"/>
                        <a:pt x="51" y="60"/>
                        <a:pt x="44" y="60"/>
                      </a:cubicBezTo>
                      <a:cubicBezTo>
                        <a:pt x="43" y="60"/>
                        <a:pt x="43" y="60"/>
                        <a:pt x="42" y="60"/>
                      </a:cubicBezTo>
                      <a:cubicBezTo>
                        <a:pt x="40" y="59"/>
                        <a:pt x="36" y="56"/>
                        <a:pt x="36" y="53"/>
                      </a:cubicBezTo>
                      <a:cubicBezTo>
                        <a:pt x="36" y="51"/>
                        <a:pt x="45" y="44"/>
                        <a:pt x="48" y="42"/>
                      </a:cubicBezTo>
                      <a:cubicBezTo>
                        <a:pt x="50" y="41"/>
                        <a:pt x="59" y="34"/>
                        <a:pt x="59" y="32"/>
                      </a:cubicBezTo>
                      <a:cubicBezTo>
                        <a:pt x="59" y="30"/>
                        <a:pt x="59" y="30"/>
                        <a:pt x="59" y="30"/>
                      </a:cubicBezTo>
                      <a:cubicBezTo>
                        <a:pt x="59" y="29"/>
                        <a:pt x="59" y="29"/>
                        <a:pt x="59" y="29"/>
                      </a:cubicBezTo>
                      <a:cubicBezTo>
                        <a:pt x="54" y="26"/>
                        <a:pt x="54" y="26"/>
                        <a:pt x="54" y="26"/>
                      </a:cubicBezTo>
                      <a:cubicBezTo>
                        <a:pt x="53" y="27"/>
                        <a:pt x="53" y="27"/>
                        <a:pt x="51" y="27"/>
                      </a:cubicBezTo>
                      <a:cubicBezTo>
                        <a:pt x="50" y="27"/>
                        <a:pt x="50" y="27"/>
                        <a:pt x="50" y="27"/>
                      </a:cubicBezTo>
                      <a:cubicBezTo>
                        <a:pt x="46" y="32"/>
                        <a:pt x="46" y="30"/>
                        <a:pt x="41" y="33"/>
                      </a:cubicBezTo>
                      <a:cubicBezTo>
                        <a:pt x="40" y="31"/>
                        <a:pt x="39" y="30"/>
                        <a:pt x="38" y="28"/>
                      </a:cubicBezTo>
                      <a:cubicBezTo>
                        <a:pt x="38" y="27"/>
                        <a:pt x="38" y="27"/>
                        <a:pt x="38" y="27"/>
                      </a:cubicBezTo>
                      <a:lnTo>
                        <a:pt x="38" y="16"/>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7" name="îšlîḓe"/>
                <p:cNvSpPr/>
                <p:nvPr/>
              </p:nvSpPr>
              <p:spPr bwMode="auto">
                <a:xfrm>
                  <a:off x="4518026" y="3506788"/>
                  <a:ext cx="53975" cy="71438"/>
                </a:xfrm>
                <a:custGeom>
                  <a:avLst/>
                  <a:gdLst>
                    <a:gd name="T0" fmla="*/ 14 w 16"/>
                    <a:gd name="T1" fmla="*/ 17 h 21"/>
                    <a:gd name="T2" fmla="*/ 16 w 16"/>
                    <a:gd name="T3" fmla="*/ 12 h 21"/>
                    <a:gd name="T4" fmla="*/ 11 w 16"/>
                    <a:gd name="T5" fmla="*/ 5 h 21"/>
                    <a:gd name="T6" fmla="*/ 5 w 16"/>
                    <a:gd name="T7" fmla="*/ 0 h 21"/>
                    <a:gd name="T8" fmla="*/ 2 w 16"/>
                    <a:gd name="T9" fmla="*/ 4 h 21"/>
                    <a:gd name="T10" fmla="*/ 2 w 16"/>
                    <a:gd name="T11" fmla="*/ 5 h 21"/>
                    <a:gd name="T12" fmla="*/ 2 w 16"/>
                    <a:gd name="T13" fmla="*/ 8 h 21"/>
                    <a:gd name="T14" fmla="*/ 2 w 16"/>
                    <a:gd name="T15" fmla="*/ 9 h 21"/>
                    <a:gd name="T16" fmla="*/ 0 w 16"/>
                    <a:gd name="T17" fmla="*/ 17 h 21"/>
                    <a:gd name="T18" fmla="*/ 3 w 16"/>
                    <a:gd name="T19" fmla="*/ 21 h 21"/>
                    <a:gd name="T20" fmla="*/ 4 w 16"/>
                    <a:gd name="T21" fmla="*/ 21 h 21"/>
                    <a:gd name="T22" fmla="*/ 5 w 16"/>
                    <a:gd name="T23" fmla="*/ 21 h 21"/>
                    <a:gd name="T24" fmla="*/ 14 w 16"/>
                    <a:gd name="T25"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1">
                      <a:moveTo>
                        <a:pt x="14" y="17"/>
                      </a:moveTo>
                      <a:cubicBezTo>
                        <a:pt x="14" y="15"/>
                        <a:pt x="16" y="13"/>
                        <a:pt x="16" y="12"/>
                      </a:cubicBezTo>
                      <a:cubicBezTo>
                        <a:pt x="16" y="11"/>
                        <a:pt x="12" y="7"/>
                        <a:pt x="11" y="5"/>
                      </a:cubicBezTo>
                      <a:cubicBezTo>
                        <a:pt x="11" y="3"/>
                        <a:pt x="8" y="0"/>
                        <a:pt x="5" y="0"/>
                      </a:cubicBezTo>
                      <a:cubicBezTo>
                        <a:pt x="4" y="0"/>
                        <a:pt x="3" y="3"/>
                        <a:pt x="2" y="4"/>
                      </a:cubicBezTo>
                      <a:cubicBezTo>
                        <a:pt x="2" y="5"/>
                        <a:pt x="2" y="5"/>
                        <a:pt x="2" y="5"/>
                      </a:cubicBezTo>
                      <a:cubicBezTo>
                        <a:pt x="2" y="8"/>
                        <a:pt x="2" y="8"/>
                        <a:pt x="2" y="8"/>
                      </a:cubicBezTo>
                      <a:cubicBezTo>
                        <a:pt x="2" y="9"/>
                        <a:pt x="2" y="9"/>
                        <a:pt x="2" y="9"/>
                      </a:cubicBezTo>
                      <a:cubicBezTo>
                        <a:pt x="1" y="11"/>
                        <a:pt x="0" y="14"/>
                        <a:pt x="0" y="17"/>
                      </a:cubicBezTo>
                      <a:cubicBezTo>
                        <a:pt x="0" y="19"/>
                        <a:pt x="1" y="20"/>
                        <a:pt x="3" y="21"/>
                      </a:cubicBezTo>
                      <a:cubicBezTo>
                        <a:pt x="4" y="21"/>
                        <a:pt x="4" y="21"/>
                        <a:pt x="4" y="21"/>
                      </a:cubicBezTo>
                      <a:cubicBezTo>
                        <a:pt x="5" y="21"/>
                        <a:pt x="5" y="21"/>
                        <a:pt x="5" y="21"/>
                      </a:cubicBezTo>
                      <a:cubicBezTo>
                        <a:pt x="7" y="21"/>
                        <a:pt x="11" y="17"/>
                        <a:pt x="14" y="17"/>
                      </a:cubicBez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8" name="îṧḻíďe"/>
                <p:cNvSpPr/>
                <p:nvPr/>
              </p:nvSpPr>
              <p:spPr bwMode="auto">
                <a:xfrm>
                  <a:off x="5319713" y="3133725"/>
                  <a:ext cx="222250" cy="500063"/>
                </a:xfrm>
                <a:custGeom>
                  <a:avLst/>
                  <a:gdLst>
                    <a:gd name="T0" fmla="*/ 47 w 67"/>
                    <a:gd name="T1" fmla="*/ 96 h 150"/>
                    <a:gd name="T2" fmla="*/ 51 w 67"/>
                    <a:gd name="T3" fmla="*/ 96 h 150"/>
                    <a:gd name="T4" fmla="*/ 46 w 67"/>
                    <a:gd name="T5" fmla="*/ 114 h 150"/>
                    <a:gd name="T6" fmla="*/ 42 w 67"/>
                    <a:gd name="T7" fmla="*/ 113 h 150"/>
                    <a:gd name="T8" fmla="*/ 39 w 67"/>
                    <a:gd name="T9" fmla="*/ 108 h 150"/>
                    <a:gd name="T10" fmla="*/ 21 w 67"/>
                    <a:gd name="T11" fmla="*/ 78 h 150"/>
                    <a:gd name="T12" fmla="*/ 29 w 67"/>
                    <a:gd name="T13" fmla="*/ 73 h 150"/>
                    <a:gd name="T14" fmla="*/ 32 w 67"/>
                    <a:gd name="T15" fmla="*/ 74 h 150"/>
                    <a:gd name="T16" fmla="*/ 32 w 67"/>
                    <a:gd name="T17" fmla="*/ 77 h 150"/>
                    <a:gd name="T18" fmla="*/ 32 w 67"/>
                    <a:gd name="T19" fmla="*/ 79 h 150"/>
                    <a:gd name="T20" fmla="*/ 21 w 67"/>
                    <a:gd name="T21" fmla="*/ 78 h 150"/>
                    <a:gd name="T22" fmla="*/ 53 w 67"/>
                    <a:gd name="T23" fmla="*/ 118 h 150"/>
                    <a:gd name="T24" fmla="*/ 66 w 67"/>
                    <a:gd name="T25" fmla="*/ 108 h 150"/>
                    <a:gd name="T26" fmla="*/ 60 w 67"/>
                    <a:gd name="T27" fmla="*/ 98 h 150"/>
                    <a:gd name="T28" fmla="*/ 51 w 67"/>
                    <a:gd name="T29" fmla="*/ 82 h 150"/>
                    <a:gd name="T30" fmla="*/ 47 w 67"/>
                    <a:gd name="T31" fmla="*/ 71 h 150"/>
                    <a:gd name="T32" fmla="*/ 60 w 67"/>
                    <a:gd name="T33" fmla="*/ 58 h 150"/>
                    <a:gd name="T34" fmla="*/ 53 w 67"/>
                    <a:gd name="T35" fmla="*/ 52 h 150"/>
                    <a:gd name="T36" fmla="*/ 44 w 67"/>
                    <a:gd name="T37" fmla="*/ 50 h 150"/>
                    <a:gd name="T38" fmla="*/ 48 w 67"/>
                    <a:gd name="T39" fmla="*/ 38 h 150"/>
                    <a:gd name="T40" fmla="*/ 66 w 67"/>
                    <a:gd name="T41" fmla="*/ 17 h 150"/>
                    <a:gd name="T42" fmla="*/ 66 w 67"/>
                    <a:gd name="T43" fmla="*/ 13 h 150"/>
                    <a:gd name="T44" fmla="*/ 56 w 67"/>
                    <a:gd name="T45" fmla="*/ 1 h 150"/>
                    <a:gd name="T46" fmla="*/ 55 w 67"/>
                    <a:gd name="T47" fmla="*/ 7 h 150"/>
                    <a:gd name="T48" fmla="*/ 50 w 67"/>
                    <a:gd name="T49" fmla="*/ 18 h 150"/>
                    <a:gd name="T50" fmla="*/ 42 w 67"/>
                    <a:gd name="T51" fmla="*/ 15 h 150"/>
                    <a:gd name="T52" fmla="*/ 40 w 67"/>
                    <a:gd name="T53" fmla="*/ 15 h 150"/>
                    <a:gd name="T54" fmla="*/ 41 w 67"/>
                    <a:gd name="T55" fmla="*/ 26 h 150"/>
                    <a:gd name="T56" fmla="*/ 41 w 67"/>
                    <a:gd name="T57" fmla="*/ 30 h 150"/>
                    <a:gd name="T58" fmla="*/ 37 w 67"/>
                    <a:gd name="T59" fmla="*/ 33 h 150"/>
                    <a:gd name="T60" fmla="*/ 30 w 67"/>
                    <a:gd name="T61" fmla="*/ 29 h 150"/>
                    <a:gd name="T62" fmla="*/ 9 w 67"/>
                    <a:gd name="T63" fmla="*/ 50 h 150"/>
                    <a:gd name="T64" fmla="*/ 4 w 67"/>
                    <a:gd name="T65" fmla="*/ 59 h 150"/>
                    <a:gd name="T66" fmla="*/ 23 w 67"/>
                    <a:gd name="T67" fmla="*/ 51 h 150"/>
                    <a:gd name="T68" fmla="*/ 30 w 67"/>
                    <a:gd name="T69" fmla="*/ 58 h 150"/>
                    <a:gd name="T70" fmla="*/ 26 w 67"/>
                    <a:gd name="T71" fmla="*/ 65 h 150"/>
                    <a:gd name="T72" fmla="*/ 19 w 67"/>
                    <a:gd name="T73" fmla="*/ 64 h 150"/>
                    <a:gd name="T74" fmla="*/ 16 w 67"/>
                    <a:gd name="T75" fmla="*/ 67 h 150"/>
                    <a:gd name="T76" fmla="*/ 16 w 67"/>
                    <a:gd name="T77" fmla="*/ 72 h 150"/>
                    <a:gd name="T78" fmla="*/ 3 w 67"/>
                    <a:gd name="T79" fmla="*/ 105 h 150"/>
                    <a:gd name="T80" fmla="*/ 6 w 67"/>
                    <a:gd name="T81" fmla="*/ 110 h 150"/>
                    <a:gd name="T82" fmla="*/ 9 w 67"/>
                    <a:gd name="T83" fmla="*/ 111 h 150"/>
                    <a:gd name="T84" fmla="*/ 24 w 67"/>
                    <a:gd name="T85" fmla="*/ 89 h 150"/>
                    <a:gd name="T86" fmla="*/ 32 w 67"/>
                    <a:gd name="T87" fmla="*/ 93 h 150"/>
                    <a:gd name="T88" fmla="*/ 32 w 67"/>
                    <a:gd name="T89" fmla="*/ 96 h 150"/>
                    <a:gd name="T90" fmla="*/ 29 w 67"/>
                    <a:gd name="T91" fmla="*/ 113 h 150"/>
                    <a:gd name="T92" fmla="*/ 29 w 67"/>
                    <a:gd name="T93" fmla="*/ 115 h 150"/>
                    <a:gd name="T94" fmla="*/ 22 w 67"/>
                    <a:gd name="T95" fmla="*/ 122 h 150"/>
                    <a:gd name="T96" fmla="*/ 10 w 67"/>
                    <a:gd name="T97" fmla="*/ 124 h 150"/>
                    <a:gd name="T98" fmla="*/ 15 w 67"/>
                    <a:gd name="T99" fmla="*/ 144 h 150"/>
                    <a:gd name="T100" fmla="*/ 17 w 67"/>
                    <a:gd name="T101" fmla="*/ 150 h 150"/>
                    <a:gd name="T102" fmla="*/ 38 w 67"/>
                    <a:gd name="T103" fmla="*/ 12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 h="150">
                      <a:moveTo>
                        <a:pt x="39" y="107"/>
                      </a:moveTo>
                      <a:cubicBezTo>
                        <a:pt x="39" y="103"/>
                        <a:pt x="44" y="96"/>
                        <a:pt x="47" y="96"/>
                      </a:cubicBezTo>
                      <a:cubicBezTo>
                        <a:pt x="50" y="96"/>
                        <a:pt x="50" y="96"/>
                        <a:pt x="50" y="96"/>
                      </a:cubicBezTo>
                      <a:cubicBezTo>
                        <a:pt x="51" y="96"/>
                        <a:pt x="51" y="96"/>
                        <a:pt x="51" y="96"/>
                      </a:cubicBezTo>
                      <a:cubicBezTo>
                        <a:pt x="53" y="98"/>
                        <a:pt x="55" y="101"/>
                        <a:pt x="55" y="104"/>
                      </a:cubicBezTo>
                      <a:cubicBezTo>
                        <a:pt x="55" y="108"/>
                        <a:pt x="49" y="112"/>
                        <a:pt x="46" y="114"/>
                      </a:cubicBezTo>
                      <a:cubicBezTo>
                        <a:pt x="45" y="114"/>
                        <a:pt x="45" y="113"/>
                        <a:pt x="43" y="113"/>
                      </a:cubicBezTo>
                      <a:cubicBezTo>
                        <a:pt x="42" y="113"/>
                        <a:pt x="42" y="113"/>
                        <a:pt x="42" y="113"/>
                      </a:cubicBezTo>
                      <a:cubicBezTo>
                        <a:pt x="39" y="109"/>
                        <a:pt x="39" y="109"/>
                        <a:pt x="39" y="109"/>
                      </a:cubicBezTo>
                      <a:cubicBezTo>
                        <a:pt x="39" y="108"/>
                        <a:pt x="39" y="108"/>
                        <a:pt x="39" y="108"/>
                      </a:cubicBezTo>
                      <a:cubicBezTo>
                        <a:pt x="39" y="107"/>
                        <a:pt x="39" y="107"/>
                        <a:pt x="39" y="107"/>
                      </a:cubicBezTo>
                      <a:close/>
                      <a:moveTo>
                        <a:pt x="21" y="78"/>
                      </a:moveTo>
                      <a:cubicBezTo>
                        <a:pt x="21" y="77"/>
                        <a:pt x="25" y="73"/>
                        <a:pt x="26" y="73"/>
                      </a:cubicBezTo>
                      <a:cubicBezTo>
                        <a:pt x="27" y="73"/>
                        <a:pt x="27" y="73"/>
                        <a:pt x="29" y="73"/>
                      </a:cubicBezTo>
                      <a:cubicBezTo>
                        <a:pt x="30" y="73"/>
                        <a:pt x="30" y="73"/>
                        <a:pt x="30" y="73"/>
                      </a:cubicBezTo>
                      <a:cubicBezTo>
                        <a:pt x="32" y="74"/>
                        <a:pt x="32" y="74"/>
                        <a:pt x="32" y="74"/>
                      </a:cubicBezTo>
                      <a:cubicBezTo>
                        <a:pt x="32" y="76"/>
                        <a:pt x="32" y="76"/>
                        <a:pt x="32" y="76"/>
                      </a:cubicBezTo>
                      <a:cubicBezTo>
                        <a:pt x="32" y="77"/>
                        <a:pt x="32" y="77"/>
                        <a:pt x="32" y="77"/>
                      </a:cubicBezTo>
                      <a:cubicBezTo>
                        <a:pt x="32" y="78"/>
                        <a:pt x="32" y="78"/>
                        <a:pt x="32" y="78"/>
                      </a:cubicBezTo>
                      <a:cubicBezTo>
                        <a:pt x="32" y="79"/>
                        <a:pt x="32" y="79"/>
                        <a:pt x="32" y="79"/>
                      </a:cubicBezTo>
                      <a:cubicBezTo>
                        <a:pt x="31" y="82"/>
                        <a:pt x="29" y="83"/>
                        <a:pt x="25" y="83"/>
                      </a:cubicBezTo>
                      <a:cubicBezTo>
                        <a:pt x="23" y="83"/>
                        <a:pt x="21" y="81"/>
                        <a:pt x="21" y="78"/>
                      </a:cubicBezTo>
                      <a:close/>
                      <a:moveTo>
                        <a:pt x="38" y="125"/>
                      </a:moveTo>
                      <a:cubicBezTo>
                        <a:pt x="43" y="122"/>
                        <a:pt x="47" y="120"/>
                        <a:pt x="53" y="118"/>
                      </a:cubicBezTo>
                      <a:cubicBezTo>
                        <a:pt x="57" y="116"/>
                        <a:pt x="57" y="116"/>
                        <a:pt x="60" y="114"/>
                      </a:cubicBezTo>
                      <a:cubicBezTo>
                        <a:pt x="64" y="111"/>
                        <a:pt x="63" y="110"/>
                        <a:pt x="66" y="108"/>
                      </a:cubicBezTo>
                      <a:cubicBezTo>
                        <a:pt x="67" y="104"/>
                        <a:pt x="67" y="104"/>
                        <a:pt x="67" y="104"/>
                      </a:cubicBezTo>
                      <a:cubicBezTo>
                        <a:pt x="64" y="100"/>
                        <a:pt x="64" y="101"/>
                        <a:pt x="60" y="98"/>
                      </a:cubicBezTo>
                      <a:cubicBezTo>
                        <a:pt x="58" y="96"/>
                        <a:pt x="55" y="95"/>
                        <a:pt x="54" y="92"/>
                      </a:cubicBezTo>
                      <a:cubicBezTo>
                        <a:pt x="53" y="88"/>
                        <a:pt x="53" y="84"/>
                        <a:pt x="51" y="82"/>
                      </a:cubicBezTo>
                      <a:cubicBezTo>
                        <a:pt x="49" y="79"/>
                        <a:pt x="47" y="77"/>
                        <a:pt x="47" y="73"/>
                      </a:cubicBezTo>
                      <a:cubicBezTo>
                        <a:pt x="47" y="72"/>
                        <a:pt x="47" y="72"/>
                        <a:pt x="47" y="71"/>
                      </a:cubicBezTo>
                      <a:cubicBezTo>
                        <a:pt x="49" y="67"/>
                        <a:pt x="47" y="67"/>
                        <a:pt x="53" y="64"/>
                      </a:cubicBezTo>
                      <a:cubicBezTo>
                        <a:pt x="55" y="64"/>
                        <a:pt x="60" y="60"/>
                        <a:pt x="60" y="58"/>
                      </a:cubicBezTo>
                      <a:cubicBezTo>
                        <a:pt x="60" y="55"/>
                        <a:pt x="60" y="55"/>
                        <a:pt x="60" y="55"/>
                      </a:cubicBezTo>
                      <a:cubicBezTo>
                        <a:pt x="60" y="53"/>
                        <a:pt x="56" y="51"/>
                        <a:pt x="53" y="52"/>
                      </a:cubicBezTo>
                      <a:cubicBezTo>
                        <a:pt x="47" y="52"/>
                        <a:pt x="47" y="52"/>
                        <a:pt x="47" y="52"/>
                      </a:cubicBezTo>
                      <a:cubicBezTo>
                        <a:pt x="46" y="52"/>
                        <a:pt x="45" y="51"/>
                        <a:pt x="44" y="50"/>
                      </a:cubicBezTo>
                      <a:cubicBezTo>
                        <a:pt x="44" y="47"/>
                        <a:pt x="44" y="47"/>
                        <a:pt x="44" y="47"/>
                      </a:cubicBezTo>
                      <a:cubicBezTo>
                        <a:pt x="44" y="44"/>
                        <a:pt x="47" y="41"/>
                        <a:pt x="48" y="38"/>
                      </a:cubicBezTo>
                      <a:cubicBezTo>
                        <a:pt x="49" y="34"/>
                        <a:pt x="50" y="33"/>
                        <a:pt x="53" y="30"/>
                      </a:cubicBezTo>
                      <a:cubicBezTo>
                        <a:pt x="56" y="27"/>
                        <a:pt x="66" y="22"/>
                        <a:pt x="66" y="17"/>
                      </a:cubicBezTo>
                      <a:cubicBezTo>
                        <a:pt x="66" y="14"/>
                        <a:pt x="66" y="14"/>
                        <a:pt x="66" y="14"/>
                      </a:cubicBezTo>
                      <a:cubicBezTo>
                        <a:pt x="66" y="13"/>
                        <a:pt x="66" y="13"/>
                        <a:pt x="66" y="13"/>
                      </a:cubicBezTo>
                      <a:cubicBezTo>
                        <a:pt x="65" y="10"/>
                        <a:pt x="62" y="0"/>
                        <a:pt x="58" y="0"/>
                      </a:cubicBezTo>
                      <a:cubicBezTo>
                        <a:pt x="57" y="0"/>
                        <a:pt x="57" y="0"/>
                        <a:pt x="56" y="1"/>
                      </a:cubicBezTo>
                      <a:cubicBezTo>
                        <a:pt x="56" y="3"/>
                        <a:pt x="55" y="3"/>
                        <a:pt x="55" y="5"/>
                      </a:cubicBezTo>
                      <a:cubicBezTo>
                        <a:pt x="55" y="7"/>
                        <a:pt x="55" y="7"/>
                        <a:pt x="55" y="7"/>
                      </a:cubicBezTo>
                      <a:cubicBezTo>
                        <a:pt x="55" y="11"/>
                        <a:pt x="53" y="15"/>
                        <a:pt x="51" y="18"/>
                      </a:cubicBezTo>
                      <a:cubicBezTo>
                        <a:pt x="50" y="18"/>
                        <a:pt x="50" y="18"/>
                        <a:pt x="50" y="18"/>
                      </a:cubicBezTo>
                      <a:cubicBezTo>
                        <a:pt x="48" y="18"/>
                        <a:pt x="48" y="18"/>
                        <a:pt x="47" y="19"/>
                      </a:cubicBezTo>
                      <a:cubicBezTo>
                        <a:pt x="42" y="15"/>
                        <a:pt x="42" y="15"/>
                        <a:pt x="42" y="15"/>
                      </a:cubicBezTo>
                      <a:cubicBezTo>
                        <a:pt x="41" y="15"/>
                        <a:pt x="41" y="15"/>
                        <a:pt x="41" y="15"/>
                      </a:cubicBezTo>
                      <a:cubicBezTo>
                        <a:pt x="40" y="15"/>
                        <a:pt x="40" y="15"/>
                        <a:pt x="40" y="15"/>
                      </a:cubicBezTo>
                      <a:cubicBezTo>
                        <a:pt x="39" y="15"/>
                        <a:pt x="38" y="16"/>
                        <a:pt x="38" y="17"/>
                      </a:cubicBezTo>
                      <a:cubicBezTo>
                        <a:pt x="38" y="19"/>
                        <a:pt x="41" y="22"/>
                        <a:pt x="41" y="26"/>
                      </a:cubicBezTo>
                      <a:cubicBezTo>
                        <a:pt x="41" y="29"/>
                        <a:pt x="41" y="29"/>
                        <a:pt x="41" y="29"/>
                      </a:cubicBezTo>
                      <a:cubicBezTo>
                        <a:pt x="41" y="30"/>
                        <a:pt x="41" y="30"/>
                        <a:pt x="41" y="30"/>
                      </a:cubicBezTo>
                      <a:cubicBezTo>
                        <a:pt x="38" y="33"/>
                        <a:pt x="38" y="33"/>
                        <a:pt x="38" y="33"/>
                      </a:cubicBezTo>
                      <a:cubicBezTo>
                        <a:pt x="37" y="33"/>
                        <a:pt x="37" y="33"/>
                        <a:pt x="37" y="33"/>
                      </a:cubicBezTo>
                      <a:cubicBezTo>
                        <a:pt x="35" y="33"/>
                        <a:pt x="35" y="34"/>
                        <a:pt x="34" y="34"/>
                      </a:cubicBezTo>
                      <a:cubicBezTo>
                        <a:pt x="32" y="33"/>
                        <a:pt x="31" y="31"/>
                        <a:pt x="30" y="29"/>
                      </a:cubicBezTo>
                      <a:cubicBezTo>
                        <a:pt x="24" y="29"/>
                        <a:pt x="30" y="41"/>
                        <a:pt x="19" y="45"/>
                      </a:cubicBezTo>
                      <a:cubicBezTo>
                        <a:pt x="16" y="46"/>
                        <a:pt x="12" y="48"/>
                        <a:pt x="9" y="50"/>
                      </a:cubicBezTo>
                      <a:cubicBezTo>
                        <a:pt x="6" y="51"/>
                        <a:pt x="1" y="53"/>
                        <a:pt x="0" y="55"/>
                      </a:cubicBezTo>
                      <a:cubicBezTo>
                        <a:pt x="1" y="58"/>
                        <a:pt x="1" y="57"/>
                        <a:pt x="4" y="59"/>
                      </a:cubicBezTo>
                      <a:cubicBezTo>
                        <a:pt x="6" y="59"/>
                        <a:pt x="6" y="59"/>
                        <a:pt x="6" y="59"/>
                      </a:cubicBezTo>
                      <a:cubicBezTo>
                        <a:pt x="10" y="59"/>
                        <a:pt x="20" y="51"/>
                        <a:pt x="23" y="51"/>
                      </a:cubicBezTo>
                      <a:cubicBezTo>
                        <a:pt x="25" y="51"/>
                        <a:pt x="24" y="51"/>
                        <a:pt x="27" y="52"/>
                      </a:cubicBezTo>
                      <a:cubicBezTo>
                        <a:pt x="29" y="54"/>
                        <a:pt x="29" y="55"/>
                        <a:pt x="30" y="58"/>
                      </a:cubicBezTo>
                      <a:cubicBezTo>
                        <a:pt x="30" y="59"/>
                        <a:pt x="30" y="59"/>
                        <a:pt x="30" y="59"/>
                      </a:cubicBezTo>
                      <a:cubicBezTo>
                        <a:pt x="30" y="62"/>
                        <a:pt x="28" y="64"/>
                        <a:pt x="26" y="65"/>
                      </a:cubicBezTo>
                      <a:cubicBezTo>
                        <a:pt x="21" y="64"/>
                        <a:pt x="21" y="64"/>
                        <a:pt x="21" y="64"/>
                      </a:cubicBezTo>
                      <a:cubicBezTo>
                        <a:pt x="20" y="64"/>
                        <a:pt x="20" y="64"/>
                        <a:pt x="19" y="64"/>
                      </a:cubicBezTo>
                      <a:cubicBezTo>
                        <a:pt x="18" y="64"/>
                        <a:pt x="18" y="64"/>
                        <a:pt x="18" y="64"/>
                      </a:cubicBezTo>
                      <a:cubicBezTo>
                        <a:pt x="16" y="67"/>
                        <a:pt x="16" y="67"/>
                        <a:pt x="16" y="67"/>
                      </a:cubicBezTo>
                      <a:cubicBezTo>
                        <a:pt x="16" y="68"/>
                        <a:pt x="16" y="68"/>
                        <a:pt x="16" y="68"/>
                      </a:cubicBezTo>
                      <a:cubicBezTo>
                        <a:pt x="16" y="72"/>
                        <a:pt x="16" y="72"/>
                        <a:pt x="16" y="72"/>
                      </a:cubicBezTo>
                      <a:cubicBezTo>
                        <a:pt x="16" y="78"/>
                        <a:pt x="13" y="85"/>
                        <a:pt x="11" y="90"/>
                      </a:cubicBezTo>
                      <a:cubicBezTo>
                        <a:pt x="9" y="94"/>
                        <a:pt x="3" y="100"/>
                        <a:pt x="3" y="105"/>
                      </a:cubicBezTo>
                      <a:cubicBezTo>
                        <a:pt x="3" y="106"/>
                        <a:pt x="4" y="109"/>
                        <a:pt x="5" y="110"/>
                      </a:cubicBezTo>
                      <a:cubicBezTo>
                        <a:pt x="6" y="110"/>
                        <a:pt x="6" y="110"/>
                        <a:pt x="6" y="110"/>
                      </a:cubicBezTo>
                      <a:cubicBezTo>
                        <a:pt x="7" y="110"/>
                        <a:pt x="7" y="110"/>
                        <a:pt x="7" y="110"/>
                      </a:cubicBezTo>
                      <a:cubicBezTo>
                        <a:pt x="9" y="110"/>
                        <a:pt x="8" y="110"/>
                        <a:pt x="9" y="111"/>
                      </a:cubicBezTo>
                      <a:cubicBezTo>
                        <a:pt x="11" y="109"/>
                        <a:pt x="15" y="101"/>
                        <a:pt x="15" y="98"/>
                      </a:cubicBezTo>
                      <a:cubicBezTo>
                        <a:pt x="17" y="94"/>
                        <a:pt x="20" y="89"/>
                        <a:pt x="24" y="89"/>
                      </a:cubicBezTo>
                      <a:cubicBezTo>
                        <a:pt x="25" y="89"/>
                        <a:pt x="25" y="89"/>
                        <a:pt x="26" y="88"/>
                      </a:cubicBezTo>
                      <a:cubicBezTo>
                        <a:pt x="28" y="90"/>
                        <a:pt x="32" y="90"/>
                        <a:pt x="32" y="93"/>
                      </a:cubicBezTo>
                      <a:cubicBezTo>
                        <a:pt x="32" y="94"/>
                        <a:pt x="32" y="94"/>
                        <a:pt x="32" y="94"/>
                      </a:cubicBezTo>
                      <a:cubicBezTo>
                        <a:pt x="32" y="96"/>
                        <a:pt x="32" y="96"/>
                        <a:pt x="32" y="96"/>
                      </a:cubicBezTo>
                      <a:cubicBezTo>
                        <a:pt x="28" y="102"/>
                        <a:pt x="25" y="101"/>
                        <a:pt x="23" y="104"/>
                      </a:cubicBezTo>
                      <a:cubicBezTo>
                        <a:pt x="26" y="109"/>
                        <a:pt x="27" y="108"/>
                        <a:pt x="29" y="113"/>
                      </a:cubicBezTo>
                      <a:cubicBezTo>
                        <a:pt x="29" y="114"/>
                        <a:pt x="29" y="114"/>
                        <a:pt x="29" y="114"/>
                      </a:cubicBezTo>
                      <a:cubicBezTo>
                        <a:pt x="29" y="115"/>
                        <a:pt x="29" y="115"/>
                        <a:pt x="29" y="115"/>
                      </a:cubicBezTo>
                      <a:cubicBezTo>
                        <a:pt x="29" y="116"/>
                        <a:pt x="29" y="116"/>
                        <a:pt x="29" y="116"/>
                      </a:cubicBezTo>
                      <a:cubicBezTo>
                        <a:pt x="28" y="119"/>
                        <a:pt x="26" y="123"/>
                        <a:pt x="22" y="122"/>
                      </a:cubicBezTo>
                      <a:cubicBezTo>
                        <a:pt x="15" y="122"/>
                        <a:pt x="15" y="122"/>
                        <a:pt x="15" y="122"/>
                      </a:cubicBezTo>
                      <a:cubicBezTo>
                        <a:pt x="14" y="122"/>
                        <a:pt x="11" y="124"/>
                        <a:pt x="10" y="124"/>
                      </a:cubicBezTo>
                      <a:cubicBezTo>
                        <a:pt x="13" y="127"/>
                        <a:pt x="23" y="129"/>
                        <a:pt x="23" y="133"/>
                      </a:cubicBezTo>
                      <a:cubicBezTo>
                        <a:pt x="23" y="137"/>
                        <a:pt x="18" y="142"/>
                        <a:pt x="15" y="144"/>
                      </a:cubicBezTo>
                      <a:cubicBezTo>
                        <a:pt x="15" y="150"/>
                        <a:pt x="15" y="150"/>
                        <a:pt x="15" y="150"/>
                      </a:cubicBezTo>
                      <a:cubicBezTo>
                        <a:pt x="17" y="150"/>
                        <a:pt x="17" y="150"/>
                        <a:pt x="17" y="150"/>
                      </a:cubicBezTo>
                      <a:cubicBezTo>
                        <a:pt x="20" y="150"/>
                        <a:pt x="27" y="141"/>
                        <a:pt x="29" y="139"/>
                      </a:cubicBezTo>
                      <a:cubicBezTo>
                        <a:pt x="33" y="135"/>
                        <a:pt x="34" y="129"/>
                        <a:pt x="38" y="125"/>
                      </a:cubicBez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9" name="íṩḻïḑè"/>
                <p:cNvSpPr/>
                <p:nvPr/>
              </p:nvSpPr>
              <p:spPr bwMode="auto">
                <a:xfrm>
                  <a:off x="4422776" y="3106738"/>
                  <a:ext cx="412750" cy="596900"/>
                </a:xfrm>
                <a:custGeom>
                  <a:avLst/>
                  <a:gdLst>
                    <a:gd name="T0" fmla="*/ 63 w 125"/>
                    <a:gd name="T1" fmla="*/ 83 h 179"/>
                    <a:gd name="T2" fmla="*/ 69 w 125"/>
                    <a:gd name="T3" fmla="*/ 84 h 179"/>
                    <a:gd name="T4" fmla="*/ 71 w 125"/>
                    <a:gd name="T5" fmla="*/ 95 h 179"/>
                    <a:gd name="T6" fmla="*/ 56 w 125"/>
                    <a:gd name="T7" fmla="*/ 91 h 179"/>
                    <a:gd name="T8" fmla="*/ 77 w 125"/>
                    <a:gd name="T9" fmla="*/ 77 h 179"/>
                    <a:gd name="T10" fmla="*/ 90 w 125"/>
                    <a:gd name="T11" fmla="*/ 82 h 179"/>
                    <a:gd name="T12" fmla="*/ 93 w 125"/>
                    <a:gd name="T13" fmla="*/ 96 h 179"/>
                    <a:gd name="T14" fmla="*/ 88 w 125"/>
                    <a:gd name="T15" fmla="*/ 106 h 179"/>
                    <a:gd name="T16" fmla="*/ 75 w 125"/>
                    <a:gd name="T17" fmla="*/ 89 h 179"/>
                    <a:gd name="T18" fmla="*/ 91 w 125"/>
                    <a:gd name="T19" fmla="*/ 29 h 179"/>
                    <a:gd name="T20" fmla="*/ 95 w 125"/>
                    <a:gd name="T21" fmla="*/ 4 h 179"/>
                    <a:gd name="T22" fmla="*/ 92 w 125"/>
                    <a:gd name="T23" fmla="*/ 0 h 179"/>
                    <a:gd name="T24" fmla="*/ 86 w 125"/>
                    <a:gd name="T25" fmla="*/ 0 h 179"/>
                    <a:gd name="T26" fmla="*/ 80 w 125"/>
                    <a:gd name="T27" fmla="*/ 7 h 179"/>
                    <a:gd name="T28" fmla="*/ 83 w 125"/>
                    <a:gd name="T29" fmla="*/ 30 h 179"/>
                    <a:gd name="T30" fmla="*/ 86 w 125"/>
                    <a:gd name="T31" fmla="*/ 50 h 179"/>
                    <a:gd name="T32" fmla="*/ 46 w 125"/>
                    <a:gd name="T33" fmla="*/ 84 h 179"/>
                    <a:gd name="T34" fmla="*/ 0 w 125"/>
                    <a:gd name="T35" fmla="*/ 99 h 179"/>
                    <a:gd name="T36" fmla="*/ 13 w 125"/>
                    <a:gd name="T37" fmla="*/ 108 h 179"/>
                    <a:gd name="T38" fmla="*/ 30 w 125"/>
                    <a:gd name="T39" fmla="*/ 100 h 179"/>
                    <a:gd name="T40" fmla="*/ 47 w 125"/>
                    <a:gd name="T41" fmla="*/ 92 h 179"/>
                    <a:gd name="T42" fmla="*/ 51 w 125"/>
                    <a:gd name="T43" fmla="*/ 109 h 179"/>
                    <a:gd name="T44" fmla="*/ 50 w 125"/>
                    <a:gd name="T45" fmla="*/ 118 h 179"/>
                    <a:gd name="T46" fmla="*/ 54 w 125"/>
                    <a:gd name="T47" fmla="*/ 125 h 179"/>
                    <a:gd name="T48" fmla="*/ 62 w 125"/>
                    <a:gd name="T49" fmla="*/ 119 h 179"/>
                    <a:gd name="T50" fmla="*/ 62 w 125"/>
                    <a:gd name="T51" fmla="*/ 113 h 179"/>
                    <a:gd name="T52" fmla="*/ 78 w 125"/>
                    <a:gd name="T53" fmla="*/ 111 h 179"/>
                    <a:gd name="T54" fmla="*/ 78 w 125"/>
                    <a:gd name="T55" fmla="*/ 113 h 179"/>
                    <a:gd name="T56" fmla="*/ 78 w 125"/>
                    <a:gd name="T57" fmla="*/ 118 h 179"/>
                    <a:gd name="T58" fmla="*/ 46 w 125"/>
                    <a:gd name="T59" fmla="*/ 147 h 179"/>
                    <a:gd name="T60" fmla="*/ 28 w 125"/>
                    <a:gd name="T61" fmla="*/ 158 h 179"/>
                    <a:gd name="T62" fmla="*/ 1 w 125"/>
                    <a:gd name="T63" fmla="*/ 170 h 179"/>
                    <a:gd name="T64" fmla="*/ 14 w 125"/>
                    <a:gd name="T65" fmla="*/ 178 h 179"/>
                    <a:gd name="T66" fmla="*/ 20 w 125"/>
                    <a:gd name="T67" fmla="*/ 179 h 179"/>
                    <a:gd name="T68" fmla="*/ 22 w 125"/>
                    <a:gd name="T69" fmla="*/ 179 h 179"/>
                    <a:gd name="T70" fmla="*/ 38 w 125"/>
                    <a:gd name="T71" fmla="*/ 169 h 179"/>
                    <a:gd name="T72" fmla="*/ 61 w 125"/>
                    <a:gd name="T73" fmla="*/ 150 h 179"/>
                    <a:gd name="T74" fmla="*/ 79 w 125"/>
                    <a:gd name="T75" fmla="*/ 135 h 179"/>
                    <a:gd name="T76" fmla="*/ 96 w 125"/>
                    <a:gd name="T77" fmla="*/ 119 h 179"/>
                    <a:gd name="T78" fmla="*/ 106 w 125"/>
                    <a:gd name="T79" fmla="*/ 149 h 179"/>
                    <a:gd name="T80" fmla="*/ 125 w 125"/>
                    <a:gd name="T81" fmla="*/ 152 h 179"/>
                    <a:gd name="T82" fmla="*/ 116 w 125"/>
                    <a:gd name="T83" fmla="*/ 120 h 179"/>
                    <a:gd name="T84" fmla="*/ 115 w 125"/>
                    <a:gd name="T85" fmla="*/ 125 h 179"/>
                    <a:gd name="T86" fmla="*/ 109 w 125"/>
                    <a:gd name="T87" fmla="*/ 129 h 179"/>
                    <a:gd name="T88" fmla="*/ 97 w 125"/>
                    <a:gd name="T89" fmla="*/ 92 h 179"/>
                    <a:gd name="T90" fmla="*/ 94 w 125"/>
                    <a:gd name="T91" fmla="*/ 76 h 179"/>
                    <a:gd name="T92" fmla="*/ 110 w 125"/>
                    <a:gd name="T93" fmla="*/ 60 h 179"/>
                    <a:gd name="T94" fmla="*/ 105 w 125"/>
                    <a:gd name="T95" fmla="*/ 57 h 179"/>
                    <a:gd name="T96" fmla="*/ 101 w 125"/>
                    <a:gd name="T97" fmla="*/ 59 h 179"/>
                    <a:gd name="T98" fmla="*/ 91 w 125"/>
                    <a:gd name="T99" fmla="*/ 54 h 179"/>
                    <a:gd name="T100" fmla="*/ 91 w 125"/>
                    <a:gd name="T101" fmla="*/ 2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5" h="179">
                      <a:moveTo>
                        <a:pt x="56" y="91"/>
                      </a:moveTo>
                      <a:cubicBezTo>
                        <a:pt x="56" y="87"/>
                        <a:pt x="60" y="85"/>
                        <a:pt x="63" y="83"/>
                      </a:cubicBezTo>
                      <a:cubicBezTo>
                        <a:pt x="64" y="83"/>
                        <a:pt x="64" y="83"/>
                        <a:pt x="64" y="83"/>
                      </a:cubicBezTo>
                      <a:cubicBezTo>
                        <a:pt x="67" y="83"/>
                        <a:pt x="67" y="84"/>
                        <a:pt x="69" y="84"/>
                      </a:cubicBezTo>
                      <a:cubicBezTo>
                        <a:pt x="71" y="94"/>
                        <a:pt x="71" y="94"/>
                        <a:pt x="71" y="94"/>
                      </a:cubicBezTo>
                      <a:cubicBezTo>
                        <a:pt x="71" y="95"/>
                        <a:pt x="71" y="95"/>
                        <a:pt x="71" y="95"/>
                      </a:cubicBezTo>
                      <a:cubicBezTo>
                        <a:pt x="68" y="100"/>
                        <a:pt x="68" y="99"/>
                        <a:pt x="63" y="101"/>
                      </a:cubicBezTo>
                      <a:cubicBezTo>
                        <a:pt x="61" y="99"/>
                        <a:pt x="56" y="95"/>
                        <a:pt x="56" y="91"/>
                      </a:cubicBezTo>
                      <a:close/>
                      <a:moveTo>
                        <a:pt x="72" y="83"/>
                      </a:moveTo>
                      <a:cubicBezTo>
                        <a:pt x="74" y="79"/>
                        <a:pt x="73" y="79"/>
                        <a:pt x="77" y="77"/>
                      </a:cubicBezTo>
                      <a:cubicBezTo>
                        <a:pt x="79" y="75"/>
                        <a:pt x="82" y="75"/>
                        <a:pt x="83" y="73"/>
                      </a:cubicBezTo>
                      <a:cubicBezTo>
                        <a:pt x="88" y="76"/>
                        <a:pt x="89" y="76"/>
                        <a:pt x="90" y="82"/>
                      </a:cubicBezTo>
                      <a:cubicBezTo>
                        <a:pt x="92" y="95"/>
                        <a:pt x="92" y="95"/>
                        <a:pt x="92" y="95"/>
                      </a:cubicBezTo>
                      <a:cubicBezTo>
                        <a:pt x="93" y="96"/>
                        <a:pt x="93" y="96"/>
                        <a:pt x="93" y="96"/>
                      </a:cubicBezTo>
                      <a:cubicBezTo>
                        <a:pt x="94" y="99"/>
                        <a:pt x="94" y="99"/>
                        <a:pt x="94" y="99"/>
                      </a:cubicBezTo>
                      <a:cubicBezTo>
                        <a:pt x="91" y="105"/>
                        <a:pt x="93" y="103"/>
                        <a:pt x="88" y="106"/>
                      </a:cubicBezTo>
                      <a:cubicBezTo>
                        <a:pt x="83" y="101"/>
                        <a:pt x="82" y="101"/>
                        <a:pt x="79" y="95"/>
                      </a:cubicBezTo>
                      <a:cubicBezTo>
                        <a:pt x="77" y="93"/>
                        <a:pt x="77" y="91"/>
                        <a:pt x="75" y="89"/>
                      </a:cubicBezTo>
                      <a:cubicBezTo>
                        <a:pt x="73" y="87"/>
                        <a:pt x="73" y="86"/>
                        <a:pt x="72" y="83"/>
                      </a:cubicBezTo>
                      <a:close/>
                      <a:moveTo>
                        <a:pt x="91" y="29"/>
                      </a:moveTo>
                      <a:cubicBezTo>
                        <a:pt x="91" y="22"/>
                        <a:pt x="95" y="12"/>
                        <a:pt x="95" y="4"/>
                      </a:cubicBezTo>
                      <a:cubicBezTo>
                        <a:pt x="95" y="4"/>
                        <a:pt x="95" y="4"/>
                        <a:pt x="95" y="4"/>
                      </a:cubicBezTo>
                      <a:cubicBezTo>
                        <a:pt x="95" y="3"/>
                        <a:pt x="95" y="3"/>
                        <a:pt x="95" y="3"/>
                      </a:cubicBezTo>
                      <a:cubicBezTo>
                        <a:pt x="93" y="0"/>
                        <a:pt x="95" y="1"/>
                        <a:pt x="92" y="0"/>
                      </a:cubicBezTo>
                      <a:cubicBezTo>
                        <a:pt x="91" y="0"/>
                        <a:pt x="91" y="0"/>
                        <a:pt x="91" y="0"/>
                      </a:cubicBezTo>
                      <a:cubicBezTo>
                        <a:pt x="86" y="0"/>
                        <a:pt x="86" y="0"/>
                        <a:pt x="86" y="0"/>
                      </a:cubicBezTo>
                      <a:cubicBezTo>
                        <a:pt x="85" y="0"/>
                        <a:pt x="85" y="0"/>
                        <a:pt x="85" y="0"/>
                      </a:cubicBezTo>
                      <a:cubicBezTo>
                        <a:pt x="82" y="1"/>
                        <a:pt x="80" y="4"/>
                        <a:pt x="80" y="7"/>
                      </a:cubicBezTo>
                      <a:cubicBezTo>
                        <a:pt x="83" y="30"/>
                        <a:pt x="83" y="30"/>
                        <a:pt x="83" y="30"/>
                      </a:cubicBezTo>
                      <a:cubicBezTo>
                        <a:pt x="83" y="30"/>
                        <a:pt x="83" y="30"/>
                        <a:pt x="83" y="30"/>
                      </a:cubicBezTo>
                      <a:cubicBezTo>
                        <a:pt x="83" y="38"/>
                        <a:pt x="86" y="44"/>
                        <a:pt x="86" y="49"/>
                      </a:cubicBezTo>
                      <a:cubicBezTo>
                        <a:pt x="86" y="50"/>
                        <a:pt x="86" y="50"/>
                        <a:pt x="86" y="50"/>
                      </a:cubicBezTo>
                      <a:cubicBezTo>
                        <a:pt x="87" y="62"/>
                        <a:pt x="87" y="62"/>
                        <a:pt x="87" y="62"/>
                      </a:cubicBezTo>
                      <a:cubicBezTo>
                        <a:pt x="87" y="68"/>
                        <a:pt x="52" y="81"/>
                        <a:pt x="46" y="84"/>
                      </a:cubicBezTo>
                      <a:cubicBezTo>
                        <a:pt x="39" y="87"/>
                        <a:pt x="31" y="89"/>
                        <a:pt x="23" y="92"/>
                      </a:cubicBezTo>
                      <a:cubicBezTo>
                        <a:pt x="20" y="94"/>
                        <a:pt x="0" y="96"/>
                        <a:pt x="0" y="99"/>
                      </a:cubicBezTo>
                      <a:cubicBezTo>
                        <a:pt x="0" y="101"/>
                        <a:pt x="9" y="108"/>
                        <a:pt x="11" y="108"/>
                      </a:cubicBezTo>
                      <a:cubicBezTo>
                        <a:pt x="13" y="108"/>
                        <a:pt x="13" y="108"/>
                        <a:pt x="13" y="108"/>
                      </a:cubicBezTo>
                      <a:cubicBezTo>
                        <a:pt x="14" y="108"/>
                        <a:pt x="14" y="108"/>
                        <a:pt x="14" y="108"/>
                      </a:cubicBezTo>
                      <a:cubicBezTo>
                        <a:pt x="20" y="105"/>
                        <a:pt x="24" y="103"/>
                        <a:pt x="30" y="100"/>
                      </a:cubicBezTo>
                      <a:cubicBezTo>
                        <a:pt x="34" y="98"/>
                        <a:pt x="41" y="93"/>
                        <a:pt x="45" y="93"/>
                      </a:cubicBezTo>
                      <a:cubicBezTo>
                        <a:pt x="46" y="93"/>
                        <a:pt x="46" y="93"/>
                        <a:pt x="47" y="92"/>
                      </a:cubicBezTo>
                      <a:cubicBezTo>
                        <a:pt x="49" y="94"/>
                        <a:pt x="52" y="96"/>
                        <a:pt x="51" y="101"/>
                      </a:cubicBezTo>
                      <a:cubicBezTo>
                        <a:pt x="51" y="109"/>
                        <a:pt x="51" y="109"/>
                        <a:pt x="51" y="109"/>
                      </a:cubicBezTo>
                      <a:cubicBezTo>
                        <a:pt x="51" y="110"/>
                        <a:pt x="51" y="110"/>
                        <a:pt x="51" y="110"/>
                      </a:cubicBezTo>
                      <a:cubicBezTo>
                        <a:pt x="50" y="118"/>
                        <a:pt x="50" y="118"/>
                        <a:pt x="50" y="118"/>
                      </a:cubicBezTo>
                      <a:cubicBezTo>
                        <a:pt x="50" y="119"/>
                        <a:pt x="50" y="119"/>
                        <a:pt x="50" y="120"/>
                      </a:cubicBezTo>
                      <a:cubicBezTo>
                        <a:pt x="51" y="123"/>
                        <a:pt x="51" y="123"/>
                        <a:pt x="54" y="125"/>
                      </a:cubicBezTo>
                      <a:cubicBezTo>
                        <a:pt x="56" y="125"/>
                        <a:pt x="56" y="125"/>
                        <a:pt x="56" y="125"/>
                      </a:cubicBezTo>
                      <a:cubicBezTo>
                        <a:pt x="59" y="125"/>
                        <a:pt x="60" y="121"/>
                        <a:pt x="62" y="119"/>
                      </a:cubicBezTo>
                      <a:cubicBezTo>
                        <a:pt x="62" y="118"/>
                        <a:pt x="62" y="118"/>
                        <a:pt x="62" y="118"/>
                      </a:cubicBezTo>
                      <a:cubicBezTo>
                        <a:pt x="62" y="113"/>
                        <a:pt x="62" y="113"/>
                        <a:pt x="62" y="113"/>
                      </a:cubicBezTo>
                      <a:cubicBezTo>
                        <a:pt x="63" y="110"/>
                        <a:pt x="68" y="106"/>
                        <a:pt x="71" y="106"/>
                      </a:cubicBezTo>
                      <a:cubicBezTo>
                        <a:pt x="75" y="106"/>
                        <a:pt x="77" y="109"/>
                        <a:pt x="78" y="111"/>
                      </a:cubicBezTo>
                      <a:cubicBezTo>
                        <a:pt x="78" y="112"/>
                        <a:pt x="78" y="112"/>
                        <a:pt x="78" y="112"/>
                      </a:cubicBezTo>
                      <a:cubicBezTo>
                        <a:pt x="78" y="113"/>
                        <a:pt x="78" y="113"/>
                        <a:pt x="78" y="113"/>
                      </a:cubicBezTo>
                      <a:cubicBezTo>
                        <a:pt x="78" y="115"/>
                        <a:pt x="78" y="115"/>
                        <a:pt x="79" y="116"/>
                      </a:cubicBezTo>
                      <a:cubicBezTo>
                        <a:pt x="78" y="117"/>
                        <a:pt x="78" y="117"/>
                        <a:pt x="78" y="118"/>
                      </a:cubicBezTo>
                      <a:cubicBezTo>
                        <a:pt x="78" y="119"/>
                        <a:pt x="78" y="119"/>
                        <a:pt x="78" y="119"/>
                      </a:cubicBezTo>
                      <a:cubicBezTo>
                        <a:pt x="72" y="130"/>
                        <a:pt x="57" y="140"/>
                        <a:pt x="46" y="147"/>
                      </a:cubicBezTo>
                      <a:cubicBezTo>
                        <a:pt x="44" y="148"/>
                        <a:pt x="40" y="151"/>
                        <a:pt x="37" y="152"/>
                      </a:cubicBezTo>
                      <a:cubicBezTo>
                        <a:pt x="35" y="153"/>
                        <a:pt x="29" y="157"/>
                        <a:pt x="28" y="158"/>
                      </a:cubicBezTo>
                      <a:cubicBezTo>
                        <a:pt x="25" y="161"/>
                        <a:pt x="12" y="165"/>
                        <a:pt x="6" y="165"/>
                      </a:cubicBezTo>
                      <a:cubicBezTo>
                        <a:pt x="4" y="165"/>
                        <a:pt x="2" y="168"/>
                        <a:pt x="1" y="170"/>
                      </a:cubicBezTo>
                      <a:cubicBezTo>
                        <a:pt x="4" y="171"/>
                        <a:pt x="4" y="173"/>
                        <a:pt x="7" y="175"/>
                      </a:cubicBezTo>
                      <a:cubicBezTo>
                        <a:pt x="10" y="176"/>
                        <a:pt x="12" y="176"/>
                        <a:pt x="14" y="178"/>
                      </a:cubicBezTo>
                      <a:cubicBezTo>
                        <a:pt x="18" y="179"/>
                        <a:pt x="18" y="179"/>
                        <a:pt x="18" y="179"/>
                      </a:cubicBezTo>
                      <a:cubicBezTo>
                        <a:pt x="20" y="179"/>
                        <a:pt x="18" y="179"/>
                        <a:pt x="20" y="179"/>
                      </a:cubicBezTo>
                      <a:cubicBezTo>
                        <a:pt x="21" y="179"/>
                        <a:pt x="21" y="179"/>
                        <a:pt x="21" y="179"/>
                      </a:cubicBezTo>
                      <a:cubicBezTo>
                        <a:pt x="22" y="179"/>
                        <a:pt x="22" y="179"/>
                        <a:pt x="22" y="179"/>
                      </a:cubicBezTo>
                      <a:cubicBezTo>
                        <a:pt x="26" y="177"/>
                        <a:pt x="30" y="175"/>
                        <a:pt x="33" y="173"/>
                      </a:cubicBezTo>
                      <a:cubicBezTo>
                        <a:pt x="35" y="171"/>
                        <a:pt x="36" y="170"/>
                        <a:pt x="38" y="169"/>
                      </a:cubicBezTo>
                      <a:cubicBezTo>
                        <a:pt x="39" y="168"/>
                        <a:pt x="43" y="166"/>
                        <a:pt x="43" y="166"/>
                      </a:cubicBezTo>
                      <a:cubicBezTo>
                        <a:pt x="49" y="160"/>
                        <a:pt x="55" y="156"/>
                        <a:pt x="61" y="150"/>
                      </a:cubicBezTo>
                      <a:cubicBezTo>
                        <a:pt x="64" y="148"/>
                        <a:pt x="67" y="145"/>
                        <a:pt x="70" y="143"/>
                      </a:cubicBezTo>
                      <a:cubicBezTo>
                        <a:pt x="73" y="140"/>
                        <a:pt x="76" y="137"/>
                        <a:pt x="79" y="135"/>
                      </a:cubicBezTo>
                      <a:cubicBezTo>
                        <a:pt x="82" y="132"/>
                        <a:pt x="85" y="130"/>
                        <a:pt x="87" y="127"/>
                      </a:cubicBezTo>
                      <a:cubicBezTo>
                        <a:pt x="90" y="124"/>
                        <a:pt x="91" y="119"/>
                        <a:pt x="96" y="119"/>
                      </a:cubicBezTo>
                      <a:cubicBezTo>
                        <a:pt x="98" y="119"/>
                        <a:pt x="100" y="126"/>
                        <a:pt x="100" y="128"/>
                      </a:cubicBezTo>
                      <a:cubicBezTo>
                        <a:pt x="100" y="132"/>
                        <a:pt x="105" y="145"/>
                        <a:pt x="106" y="149"/>
                      </a:cubicBezTo>
                      <a:cubicBezTo>
                        <a:pt x="108" y="155"/>
                        <a:pt x="111" y="165"/>
                        <a:pt x="118" y="165"/>
                      </a:cubicBezTo>
                      <a:cubicBezTo>
                        <a:pt x="119" y="163"/>
                        <a:pt x="125" y="161"/>
                        <a:pt x="125" y="152"/>
                      </a:cubicBezTo>
                      <a:cubicBezTo>
                        <a:pt x="125" y="143"/>
                        <a:pt x="120" y="120"/>
                        <a:pt x="117" y="116"/>
                      </a:cubicBezTo>
                      <a:cubicBezTo>
                        <a:pt x="117" y="118"/>
                        <a:pt x="116" y="118"/>
                        <a:pt x="116" y="120"/>
                      </a:cubicBezTo>
                      <a:cubicBezTo>
                        <a:pt x="116" y="123"/>
                        <a:pt x="115" y="121"/>
                        <a:pt x="115" y="124"/>
                      </a:cubicBezTo>
                      <a:cubicBezTo>
                        <a:pt x="115" y="125"/>
                        <a:pt x="115" y="125"/>
                        <a:pt x="115" y="125"/>
                      </a:cubicBezTo>
                      <a:cubicBezTo>
                        <a:pt x="115" y="126"/>
                        <a:pt x="114" y="129"/>
                        <a:pt x="112" y="129"/>
                      </a:cubicBezTo>
                      <a:cubicBezTo>
                        <a:pt x="109" y="129"/>
                        <a:pt x="109" y="129"/>
                        <a:pt x="109" y="129"/>
                      </a:cubicBezTo>
                      <a:cubicBezTo>
                        <a:pt x="105" y="129"/>
                        <a:pt x="102" y="110"/>
                        <a:pt x="100" y="105"/>
                      </a:cubicBezTo>
                      <a:cubicBezTo>
                        <a:pt x="98" y="101"/>
                        <a:pt x="98" y="97"/>
                        <a:pt x="97" y="92"/>
                      </a:cubicBezTo>
                      <a:cubicBezTo>
                        <a:pt x="96" y="87"/>
                        <a:pt x="94" y="86"/>
                        <a:pt x="94" y="79"/>
                      </a:cubicBezTo>
                      <a:cubicBezTo>
                        <a:pt x="94" y="76"/>
                        <a:pt x="94" y="76"/>
                        <a:pt x="94" y="76"/>
                      </a:cubicBezTo>
                      <a:cubicBezTo>
                        <a:pt x="94" y="65"/>
                        <a:pt x="110" y="67"/>
                        <a:pt x="110" y="61"/>
                      </a:cubicBezTo>
                      <a:cubicBezTo>
                        <a:pt x="110" y="60"/>
                        <a:pt x="110" y="60"/>
                        <a:pt x="110" y="60"/>
                      </a:cubicBezTo>
                      <a:cubicBezTo>
                        <a:pt x="110" y="58"/>
                        <a:pt x="109" y="57"/>
                        <a:pt x="108" y="57"/>
                      </a:cubicBezTo>
                      <a:cubicBezTo>
                        <a:pt x="105" y="57"/>
                        <a:pt x="105" y="57"/>
                        <a:pt x="105" y="57"/>
                      </a:cubicBezTo>
                      <a:cubicBezTo>
                        <a:pt x="104" y="57"/>
                        <a:pt x="104" y="57"/>
                        <a:pt x="104" y="57"/>
                      </a:cubicBezTo>
                      <a:cubicBezTo>
                        <a:pt x="103" y="58"/>
                        <a:pt x="102" y="59"/>
                        <a:pt x="101" y="59"/>
                      </a:cubicBezTo>
                      <a:cubicBezTo>
                        <a:pt x="99" y="60"/>
                        <a:pt x="99" y="59"/>
                        <a:pt x="97" y="60"/>
                      </a:cubicBezTo>
                      <a:cubicBezTo>
                        <a:pt x="95" y="59"/>
                        <a:pt x="91" y="56"/>
                        <a:pt x="91" y="54"/>
                      </a:cubicBezTo>
                      <a:cubicBezTo>
                        <a:pt x="91" y="41"/>
                        <a:pt x="91" y="41"/>
                        <a:pt x="91" y="41"/>
                      </a:cubicBezTo>
                      <a:lnTo>
                        <a:pt x="91" y="29"/>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40" name="ïṡľîdê"/>
                <p:cNvSpPr/>
                <p:nvPr/>
              </p:nvSpPr>
              <p:spPr bwMode="auto">
                <a:xfrm>
                  <a:off x="5478463" y="3581400"/>
                  <a:ext cx="46038" cy="76200"/>
                </a:xfrm>
                <a:custGeom>
                  <a:avLst/>
                  <a:gdLst>
                    <a:gd name="T0" fmla="*/ 14 w 14"/>
                    <a:gd name="T1" fmla="*/ 15 h 23"/>
                    <a:gd name="T2" fmla="*/ 10 w 14"/>
                    <a:gd name="T3" fmla="*/ 6 h 23"/>
                    <a:gd name="T4" fmla="*/ 3 w 14"/>
                    <a:gd name="T5" fmla="*/ 0 h 23"/>
                    <a:gd name="T6" fmla="*/ 0 w 14"/>
                    <a:gd name="T7" fmla="*/ 3 h 23"/>
                    <a:gd name="T8" fmla="*/ 5 w 14"/>
                    <a:gd name="T9" fmla="*/ 11 h 23"/>
                    <a:gd name="T10" fmla="*/ 5 w 14"/>
                    <a:gd name="T11" fmla="*/ 12 h 23"/>
                    <a:gd name="T12" fmla="*/ 5 w 14"/>
                    <a:gd name="T13" fmla="*/ 14 h 23"/>
                    <a:gd name="T14" fmla="*/ 5 w 14"/>
                    <a:gd name="T15" fmla="*/ 15 h 23"/>
                    <a:gd name="T16" fmla="*/ 2 w 14"/>
                    <a:gd name="T17" fmla="*/ 19 h 23"/>
                    <a:gd name="T18" fmla="*/ 2 w 14"/>
                    <a:gd name="T19" fmla="*/ 22 h 23"/>
                    <a:gd name="T20" fmla="*/ 5 w 14"/>
                    <a:gd name="T21" fmla="*/ 23 h 23"/>
                    <a:gd name="T22" fmla="*/ 6 w 14"/>
                    <a:gd name="T23" fmla="*/ 23 h 23"/>
                    <a:gd name="T24" fmla="*/ 11 w 14"/>
                    <a:gd name="T25" fmla="*/ 20 h 23"/>
                    <a:gd name="T26" fmla="*/ 14 w 14"/>
                    <a:gd name="T27" fmla="*/ 1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23">
                      <a:moveTo>
                        <a:pt x="14" y="15"/>
                      </a:moveTo>
                      <a:cubicBezTo>
                        <a:pt x="14" y="11"/>
                        <a:pt x="12" y="9"/>
                        <a:pt x="10" y="6"/>
                      </a:cubicBezTo>
                      <a:cubicBezTo>
                        <a:pt x="8" y="5"/>
                        <a:pt x="3" y="1"/>
                        <a:pt x="3" y="0"/>
                      </a:cubicBezTo>
                      <a:cubicBezTo>
                        <a:pt x="0" y="3"/>
                        <a:pt x="0" y="3"/>
                        <a:pt x="0" y="3"/>
                      </a:cubicBezTo>
                      <a:cubicBezTo>
                        <a:pt x="5" y="11"/>
                        <a:pt x="5" y="11"/>
                        <a:pt x="5" y="11"/>
                      </a:cubicBezTo>
                      <a:cubicBezTo>
                        <a:pt x="5" y="12"/>
                        <a:pt x="5" y="12"/>
                        <a:pt x="5" y="12"/>
                      </a:cubicBezTo>
                      <a:cubicBezTo>
                        <a:pt x="5" y="14"/>
                        <a:pt x="5" y="14"/>
                        <a:pt x="5" y="14"/>
                      </a:cubicBezTo>
                      <a:cubicBezTo>
                        <a:pt x="5" y="15"/>
                        <a:pt x="5" y="15"/>
                        <a:pt x="5" y="15"/>
                      </a:cubicBezTo>
                      <a:cubicBezTo>
                        <a:pt x="2" y="19"/>
                        <a:pt x="2" y="19"/>
                        <a:pt x="2" y="19"/>
                      </a:cubicBezTo>
                      <a:cubicBezTo>
                        <a:pt x="2" y="22"/>
                        <a:pt x="2" y="22"/>
                        <a:pt x="2" y="22"/>
                      </a:cubicBezTo>
                      <a:cubicBezTo>
                        <a:pt x="5" y="23"/>
                        <a:pt x="5" y="23"/>
                        <a:pt x="5" y="23"/>
                      </a:cubicBezTo>
                      <a:cubicBezTo>
                        <a:pt x="6" y="23"/>
                        <a:pt x="6" y="23"/>
                        <a:pt x="6" y="23"/>
                      </a:cubicBezTo>
                      <a:cubicBezTo>
                        <a:pt x="7" y="23"/>
                        <a:pt x="11" y="21"/>
                        <a:pt x="11" y="20"/>
                      </a:cubicBezTo>
                      <a:cubicBezTo>
                        <a:pt x="13" y="19"/>
                        <a:pt x="13" y="17"/>
                        <a:pt x="14" y="15"/>
                      </a:cubicBez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41" name="iṡ1îďé"/>
                <p:cNvSpPr/>
                <p:nvPr/>
              </p:nvSpPr>
              <p:spPr bwMode="auto">
                <a:xfrm>
                  <a:off x="6310313" y="3136900"/>
                  <a:ext cx="406400" cy="554038"/>
                </a:xfrm>
                <a:custGeom>
                  <a:avLst/>
                  <a:gdLst>
                    <a:gd name="T0" fmla="*/ 101 w 123"/>
                    <a:gd name="T1" fmla="*/ 9 h 166"/>
                    <a:gd name="T2" fmla="*/ 96 w 123"/>
                    <a:gd name="T3" fmla="*/ 0 h 166"/>
                    <a:gd name="T4" fmla="*/ 76 w 123"/>
                    <a:gd name="T5" fmla="*/ 23 h 166"/>
                    <a:gd name="T6" fmla="*/ 66 w 123"/>
                    <a:gd name="T7" fmla="*/ 20 h 166"/>
                    <a:gd name="T8" fmla="*/ 69 w 123"/>
                    <a:gd name="T9" fmla="*/ 29 h 166"/>
                    <a:gd name="T10" fmla="*/ 64 w 123"/>
                    <a:gd name="T11" fmla="*/ 38 h 166"/>
                    <a:gd name="T12" fmla="*/ 71 w 123"/>
                    <a:gd name="T13" fmla="*/ 37 h 166"/>
                    <a:gd name="T14" fmla="*/ 78 w 123"/>
                    <a:gd name="T15" fmla="*/ 38 h 166"/>
                    <a:gd name="T16" fmla="*/ 104 w 123"/>
                    <a:gd name="T17" fmla="*/ 37 h 166"/>
                    <a:gd name="T18" fmla="*/ 97 w 123"/>
                    <a:gd name="T19" fmla="*/ 43 h 166"/>
                    <a:gd name="T20" fmla="*/ 85 w 123"/>
                    <a:gd name="T21" fmla="*/ 56 h 166"/>
                    <a:gd name="T22" fmla="*/ 78 w 123"/>
                    <a:gd name="T23" fmla="*/ 67 h 166"/>
                    <a:gd name="T24" fmla="*/ 72 w 123"/>
                    <a:gd name="T25" fmla="*/ 62 h 166"/>
                    <a:gd name="T26" fmla="*/ 72 w 123"/>
                    <a:gd name="T27" fmla="*/ 48 h 166"/>
                    <a:gd name="T28" fmla="*/ 63 w 123"/>
                    <a:gd name="T29" fmla="*/ 57 h 166"/>
                    <a:gd name="T30" fmla="*/ 56 w 123"/>
                    <a:gd name="T31" fmla="*/ 57 h 166"/>
                    <a:gd name="T32" fmla="*/ 61 w 123"/>
                    <a:gd name="T33" fmla="*/ 66 h 166"/>
                    <a:gd name="T34" fmla="*/ 59 w 123"/>
                    <a:gd name="T35" fmla="*/ 70 h 166"/>
                    <a:gd name="T36" fmla="*/ 68 w 123"/>
                    <a:gd name="T37" fmla="*/ 74 h 166"/>
                    <a:gd name="T38" fmla="*/ 68 w 123"/>
                    <a:gd name="T39" fmla="*/ 78 h 166"/>
                    <a:gd name="T40" fmla="*/ 40 w 123"/>
                    <a:gd name="T41" fmla="*/ 92 h 166"/>
                    <a:gd name="T42" fmla="*/ 24 w 123"/>
                    <a:gd name="T43" fmla="*/ 99 h 166"/>
                    <a:gd name="T44" fmla="*/ 3 w 123"/>
                    <a:gd name="T45" fmla="*/ 105 h 166"/>
                    <a:gd name="T46" fmla="*/ 2 w 123"/>
                    <a:gd name="T47" fmla="*/ 112 h 166"/>
                    <a:gd name="T48" fmla="*/ 14 w 123"/>
                    <a:gd name="T49" fmla="*/ 120 h 166"/>
                    <a:gd name="T50" fmla="*/ 32 w 123"/>
                    <a:gd name="T51" fmla="*/ 108 h 166"/>
                    <a:gd name="T52" fmla="*/ 55 w 123"/>
                    <a:gd name="T53" fmla="*/ 93 h 166"/>
                    <a:gd name="T54" fmla="*/ 63 w 123"/>
                    <a:gd name="T55" fmla="*/ 89 h 166"/>
                    <a:gd name="T56" fmla="*/ 82 w 123"/>
                    <a:gd name="T57" fmla="*/ 83 h 166"/>
                    <a:gd name="T58" fmla="*/ 82 w 123"/>
                    <a:gd name="T59" fmla="*/ 86 h 166"/>
                    <a:gd name="T60" fmla="*/ 74 w 123"/>
                    <a:gd name="T61" fmla="*/ 97 h 166"/>
                    <a:gd name="T62" fmla="*/ 61 w 123"/>
                    <a:gd name="T63" fmla="*/ 107 h 166"/>
                    <a:gd name="T64" fmla="*/ 64 w 123"/>
                    <a:gd name="T65" fmla="*/ 118 h 166"/>
                    <a:gd name="T66" fmla="*/ 55 w 123"/>
                    <a:gd name="T67" fmla="*/ 126 h 166"/>
                    <a:gd name="T68" fmla="*/ 40 w 123"/>
                    <a:gd name="T69" fmla="*/ 129 h 166"/>
                    <a:gd name="T70" fmla="*/ 30 w 123"/>
                    <a:gd name="T71" fmla="*/ 130 h 166"/>
                    <a:gd name="T72" fmla="*/ 35 w 123"/>
                    <a:gd name="T73" fmla="*/ 141 h 166"/>
                    <a:gd name="T74" fmla="*/ 38 w 123"/>
                    <a:gd name="T75" fmla="*/ 141 h 166"/>
                    <a:gd name="T76" fmla="*/ 56 w 123"/>
                    <a:gd name="T77" fmla="*/ 133 h 166"/>
                    <a:gd name="T78" fmla="*/ 63 w 123"/>
                    <a:gd name="T79" fmla="*/ 141 h 166"/>
                    <a:gd name="T80" fmla="*/ 56 w 123"/>
                    <a:gd name="T81" fmla="*/ 154 h 166"/>
                    <a:gd name="T82" fmla="*/ 53 w 123"/>
                    <a:gd name="T83" fmla="*/ 154 h 166"/>
                    <a:gd name="T84" fmla="*/ 49 w 123"/>
                    <a:gd name="T85" fmla="*/ 154 h 166"/>
                    <a:gd name="T86" fmla="*/ 46 w 123"/>
                    <a:gd name="T87" fmla="*/ 156 h 166"/>
                    <a:gd name="T88" fmla="*/ 56 w 123"/>
                    <a:gd name="T89" fmla="*/ 166 h 166"/>
                    <a:gd name="T90" fmla="*/ 71 w 123"/>
                    <a:gd name="T91" fmla="*/ 160 h 166"/>
                    <a:gd name="T92" fmla="*/ 75 w 123"/>
                    <a:gd name="T93" fmla="*/ 146 h 166"/>
                    <a:gd name="T94" fmla="*/ 80 w 123"/>
                    <a:gd name="T95" fmla="*/ 124 h 166"/>
                    <a:gd name="T96" fmla="*/ 94 w 123"/>
                    <a:gd name="T97" fmla="*/ 120 h 166"/>
                    <a:gd name="T98" fmla="*/ 81 w 123"/>
                    <a:gd name="T99" fmla="*/ 117 h 166"/>
                    <a:gd name="T100" fmla="*/ 72 w 123"/>
                    <a:gd name="T101" fmla="*/ 107 h 166"/>
                    <a:gd name="T102" fmla="*/ 78 w 123"/>
                    <a:gd name="T103" fmla="*/ 96 h 166"/>
                    <a:gd name="T104" fmla="*/ 92 w 123"/>
                    <a:gd name="T105" fmla="*/ 89 h 166"/>
                    <a:gd name="T106" fmla="*/ 102 w 123"/>
                    <a:gd name="T107" fmla="*/ 78 h 166"/>
                    <a:gd name="T108" fmla="*/ 95 w 123"/>
                    <a:gd name="T109" fmla="*/ 61 h 166"/>
                    <a:gd name="T110" fmla="*/ 109 w 123"/>
                    <a:gd name="T111" fmla="*/ 48 h 166"/>
                    <a:gd name="T112" fmla="*/ 116 w 123"/>
                    <a:gd name="T113" fmla="*/ 42 h 166"/>
                    <a:gd name="T114" fmla="*/ 121 w 123"/>
                    <a:gd name="T115" fmla="*/ 32 h 166"/>
                    <a:gd name="T116" fmla="*/ 116 w 123"/>
                    <a:gd name="T117" fmla="*/ 17 h 166"/>
                    <a:gd name="T118" fmla="*/ 104 w 123"/>
                    <a:gd name="T119" fmla="*/ 20 h 166"/>
                    <a:gd name="T120" fmla="*/ 93 w 123"/>
                    <a:gd name="T121" fmla="*/ 2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3" h="166">
                      <a:moveTo>
                        <a:pt x="93" y="21"/>
                      </a:moveTo>
                      <a:cubicBezTo>
                        <a:pt x="94" y="14"/>
                        <a:pt x="98" y="14"/>
                        <a:pt x="101" y="9"/>
                      </a:cubicBezTo>
                      <a:cubicBezTo>
                        <a:pt x="101" y="8"/>
                        <a:pt x="101" y="8"/>
                        <a:pt x="101" y="8"/>
                      </a:cubicBezTo>
                      <a:cubicBezTo>
                        <a:pt x="101" y="5"/>
                        <a:pt x="97" y="1"/>
                        <a:pt x="96" y="0"/>
                      </a:cubicBezTo>
                      <a:cubicBezTo>
                        <a:pt x="89" y="3"/>
                        <a:pt x="91" y="6"/>
                        <a:pt x="88" y="13"/>
                      </a:cubicBezTo>
                      <a:cubicBezTo>
                        <a:pt x="85" y="17"/>
                        <a:pt x="82" y="23"/>
                        <a:pt x="76" y="23"/>
                      </a:cubicBezTo>
                      <a:cubicBezTo>
                        <a:pt x="75" y="23"/>
                        <a:pt x="70" y="18"/>
                        <a:pt x="67" y="17"/>
                      </a:cubicBezTo>
                      <a:cubicBezTo>
                        <a:pt x="66" y="20"/>
                        <a:pt x="66" y="20"/>
                        <a:pt x="66" y="20"/>
                      </a:cubicBezTo>
                      <a:cubicBezTo>
                        <a:pt x="67" y="23"/>
                        <a:pt x="69" y="24"/>
                        <a:pt x="69" y="28"/>
                      </a:cubicBezTo>
                      <a:cubicBezTo>
                        <a:pt x="69" y="29"/>
                        <a:pt x="69" y="29"/>
                        <a:pt x="69" y="29"/>
                      </a:cubicBezTo>
                      <a:cubicBezTo>
                        <a:pt x="69" y="29"/>
                        <a:pt x="63" y="36"/>
                        <a:pt x="62" y="37"/>
                      </a:cubicBezTo>
                      <a:cubicBezTo>
                        <a:pt x="63" y="38"/>
                        <a:pt x="61" y="38"/>
                        <a:pt x="64" y="38"/>
                      </a:cubicBezTo>
                      <a:cubicBezTo>
                        <a:pt x="64" y="38"/>
                        <a:pt x="64" y="38"/>
                        <a:pt x="64" y="38"/>
                      </a:cubicBezTo>
                      <a:cubicBezTo>
                        <a:pt x="71" y="37"/>
                        <a:pt x="71" y="37"/>
                        <a:pt x="71" y="37"/>
                      </a:cubicBezTo>
                      <a:cubicBezTo>
                        <a:pt x="74" y="37"/>
                        <a:pt x="74" y="38"/>
                        <a:pt x="78" y="38"/>
                      </a:cubicBezTo>
                      <a:cubicBezTo>
                        <a:pt x="78" y="38"/>
                        <a:pt x="78" y="38"/>
                        <a:pt x="78" y="38"/>
                      </a:cubicBezTo>
                      <a:cubicBezTo>
                        <a:pt x="79" y="38"/>
                        <a:pt x="84" y="33"/>
                        <a:pt x="91" y="32"/>
                      </a:cubicBezTo>
                      <a:cubicBezTo>
                        <a:pt x="96" y="31"/>
                        <a:pt x="104" y="30"/>
                        <a:pt x="104" y="37"/>
                      </a:cubicBezTo>
                      <a:cubicBezTo>
                        <a:pt x="104" y="39"/>
                        <a:pt x="102" y="41"/>
                        <a:pt x="101" y="43"/>
                      </a:cubicBezTo>
                      <a:cubicBezTo>
                        <a:pt x="98" y="43"/>
                        <a:pt x="99" y="43"/>
                        <a:pt x="97" y="43"/>
                      </a:cubicBezTo>
                      <a:cubicBezTo>
                        <a:pt x="96" y="43"/>
                        <a:pt x="93" y="42"/>
                        <a:pt x="92" y="41"/>
                      </a:cubicBezTo>
                      <a:cubicBezTo>
                        <a:pt x="85" y="46"/>
                        <a:pt x="88" y="49"/>
                        <a:pt x="85" y="56"/>
                      </a:cubicBezTo>
                      <a:cubicBezTo>
                        <a:pt x="84" y="57"/>
                        <a:pt x="81" y="64"/>
                        <a:pt x="81" y="64"/>
                      </a:cubicBezTo>
                      <a:cubicBezTo>
                        <a:pt x="80" y="66"/>
                        <a:pt x="80" y="64"/>
                        <a:pt x="78" y="67"/>
                      </a:cubicBezTo>
                      <a:cubicBezTo>
                        <a:pt x="77" y="70"/>
                        <a:pt x="78" y="68"/>
                        <a:pt x="76" y="70"/>
                      </a:cubicBezTo>
                      <a:cubicBezTo>
                        <a:pt x="74" y="67"/>
                        <a:pt x="72" y="66"/>
                        <a:pt x="72" y="62"/>
                      </a:cubicBezTo>
                      <a:cubicBezTo>
                        <a:pt x="72" y="61"/>
                        <a:pt x="75" y="55"/>
                        <a:pt x="76" y="54"/>
                      </a:cubicBezTo>
                      <a:cubicBezTo>
                        <a:pt x="75" y="51"/>
                        <a:pt x="75" y="48"/>
                        <a:pt x="72" y="48"/>
                      </a:cubicBezTo>
                      <a:cubicBezTo>
                        <a:pt x="71" y="48"/>
                        <a:pt x="70" y="49"/>
                        <a:pt x="70" y="49"/>
                      </a:cubicBezTo>
                      <a:cubicBezTo>
                        <a:pt x="70" y="55"/>
                        <a:pt x="67" y="55"/>
                        <a:pt x="63" y="57"/>
                      </a:cubicBezTo>
                      <a:cubicBezTo>
                        <a:pt x="62" y="56"/>
                        <a:pt x="60" y="55"/>
                        <a:pt x="59" y="55"/>
                      </a:cubicBezTo>
                      <a:cubicBezTo>
                        <a:pt x="58" y="55"/>
                        <a:pt x="56" y="57"/>
                        <a:pt x="56" y="57"/>
                      </a:cubicBezTo>
                      <a:cubicBezTo>
                        <a:pt x="58" y="60"/>
                        <a:pt x="59" y="60"/>
                        <a:pt x="61" y="64"/>
                      </a:cubicBezTo>
                      <a:cubicBezTo>
                        <a:pt x="61" y="66"/>
                        <a:pt x="61" y="66"/>
                        <a:pt x="61" y="66"/>
                      </a:cubicBezTo>
                      <a:cubicBezTo>
                        <a:pt x="61" y="67"/>
                        <a:pt x="61" y="67"/>
                        <a:pt x="61" y="67"/>
                      </a:cubicBezTo>
                      <a:cubicBezTo>
                        <a:pt x="59" y="70"/>
                        <a:pt x="59" y="70"/>
                        <a:pt x="59" y="70"/>
                      </a:cubicBezTo>
                      <a:cubicBezTo>
                        <a:pt x="60" y="71"/>
                        <a:pt x="58" y="71"/>
                        <a:pt x="61" y="71"/>
                      </a:cubicBezTo>
                      <a:cubicBezTo>
                        <a:pt x="64" y="71"/>
                        <a:pt x="66" y="72"/>
                        <a:pt x="68" y="74"/>
                      </a:cubicBezTo>
                      <a:cubicBezTo>
                        <a:pt x="68" y="75"/>
                        <a:pt x="68" y="75"/>
                        <a:pt x="68" y="75"/>
                      </a:cubicBezTo>
                      <a:cubicBezTo>
                        <a:pt x="68" y="78"/>
                        <a:pt x="68" y="78"/>
                        <a:pt x="68" y="78"/>
                      </a:cubicBezTo>
                      <a:cubicBezTo>
                        <a:pt x="68" y="82"/>
                        <a:pt x="58" y="85"/>
                        <a:pt x="55" y="86"/>
                      </a:cubicBezTo>
                      <a:cubicBezTo>
                        <a:pt x="50" y="88"/>
                        <a:pt x="44" y="91"/>
                        <a:pt x="40" y="92"/>
                      </a:cubicBezTo>
                      <a:cubicBezTo>
                        <a:pt x="36" y="94"/>
                        <a:pt x="35" y="94"/>
                        <a:pt x="32" y="96"/>
                      </a:cubicBezTo>
                      <a:cubicBezTo>
                        <a:pt x="29" y="97"/>
                        <a:pt x="27" y="97"/>
                        <a:pt x="24" y="99"/>
                      </a:cubicBezTo>
                      <a:cubicBezTo>
                        <a:pt x="20" y="101"/>
                        <a:pt x="13" y="104"/>
                        <a:pt x="9" y="104"/>
                      </a:cubicBezTo>
                      <a:cubicBezTo>
                        <a:pt x="3" y="105"/>
                        <a:pt x="3" y="105"/>
                        <a:pt x="3" y="105"/>
                      </a:cubicBezTo>
                      <a:cubicBezTo>
                        <a:pt x="1" y="105"/>
                        <a:pt x="1" y="106"/>
                        <a:pt x="0" y="107"/>
                      </a:cubicBezTo>
                      <a:cubicBezTo>
                        <a:pt x="0" y="108"/>
                        <a:pt x="0" y="111"/>
                        <a:pt x="2" y="112"/>
                      </a:cubicBezTo>
                      <a:cubicBezTo>
                        <a:pt x="4" y="114"/>
                        <a:pt x="3" y="114"/>
                        <a:pt x="5" y="115"/>
                      </a:cubicBezTo>
                      <a:cubicBezTo>
                        <a:pt x="6" y="116"/>
                        <a:pt x="12" y="119"/>
                        <a:pt x="14" y="120"/>
                      </a:cubicBezTo>
                      <a:cubicBezTo>
                        <a:pt x="15" y="119"/>
                        <a:pt x="15" y="119"/>
                        <a:pt x="17" y="119"/>
                      </a:cubicBezTo>
                      <a:cubicBezTo>
                        <a:pt x="20" y="119"/>
                        <a:pt x="30" y="110"/>
                        <a:pt x="32" y="108"/>
                      </a:cubicBezTo>
                      <a:cubicBezTo>
                        <a:pt x="36" y="104"/>
                        <a:pt x="42" y="101"/>
                        <a:pt x="47" y="98"/>
                      </a:cubicBezTo>
                      <a:cubicBezTo>
                        <a:pt x="50" y="96"/>
                        <a:pt x="52" y="95"/>
                        <a:pt x="55" y="93"/>
                      </a:cubicBezTo>
                      <a:cubicBezTo>
                        <a:pt x="57" y="92"/>
                        <a:pt x="58" y="92"/>
                        <a:pt x="59" y="91"/>
                      </a:cubicBezTo>
                      <a:cubicBezTo>
                        <a:pt x="61" y="90"/>
                        <a:pt x="61" y="90"/>
                        <a:pt x="63" y="89"/>
                      </a:cubicBezTo>
                      <a:cubicBezTo>
                        <a:pt x="68" y="87"/>
                        <a:pt x="74" y="80"/>
                        <a:pt x="79" y="80"/>
                      </a:cubicBezTo>
                      <a:cubicBezTo>
                        <a:pt x="81" y="80"/>
                        <a:pt x="82" y="82"/>
                        <a:pt x="82" y="83"/>
                      </a:cubicBezTo>
                      <a:cubicBezTo>
                        <a:pt x="82" y="85"/>
                        <a:pt x="82" y="85"/>
                        <a:pt x="82" y="85"/>
                      </a:cubicBezTo>
                      <a:cubicBezTo>
                        <a:pt x="82" y="86"/>
                        <a:pt x="82" y="86"/>
                        <a:pt x="82" y="86"/>
                      </a:cubicBezTo>
                      <a:cubicBezTo>
                        <a:pt x="80" y="90"/>
                        <a:pt x="79" y="89"/>
                        <a:pt x="78" y="93"/>
                      </a:cubicBezTo>
                      <a:cubicBezTo>
                        <a:pt x="75" y="94"/>
                        <a:pt x="75" y="94"/>
                        <a:pt x="74" y="97"/>
                      </a:cubicBezTo>
                      <a:cubicBezTo>
                        <a:pt x="69" y="98"/>
                        <a:pt x="71" y="99"/>
                        <a:pt x="67" y="101"/>
                      </a:cubicBezTo>
                      <a:cubicBezTo>
                        <a:pt x="63" y="103"/>
                        <a:pt x="63" y="103"/>
                        <a:pt x="61" y="107"/>
                      </a:cubicBezTo>
                      <a:cubicBezTo>
                        <a:pt x="61" y="110"/>
                        <a:pt x="64" y="114"/>
                        <a:pt x="64" y="117"/>
                      </a:cubicBezTo>
                      <a:cubicBezTo>
                        <a:pt x="64" y="118"/>
                        <a:pt x="64" y="118"/>
                        <a:pt x="64" y="118"/>
                      </a:cubicBezTo>
                      <a:cubicBezTo>
                        <a:pt x="64" y="119"/>
                        <a:pt x="64" y="119"/>
                        <a:pt x="64" y="119"/>
                      </a:cubicBezTo>
                      <a:cubicBezTo>
                        <a:pt x="61" y="123"/>
                        <a:pt x="60" y="125"/>
                        <a:pt x="55" y="126"/>
                      </a:cubicBezTo>
                      <a:cubicBezTo>
                        <a:pt x="51" y="127"/>
                        <a:pt x="43" y="129"/>
                        <a:pt x="41" y="129"/>
                      </a:cubicBezTo>
                      <a:cubicBezTo>
                        <a:pt x="40" y="129"/>
                        <a:pt x="40" y="129"/>
                        <a:pt x="40" y="129"/>
                      </a:cubicBezTo>
                      <a:cubicBezTo>
                        <a:pt x="32" y="130"/>
                        <a:pt x="32" y="130"/>
                        <a:pt x="32" y="130"/>
                      </a:cubicBezTo>
                      <a:cubicBezTo>
                        <a:pt x="30" y="130"/>
                        <a:pt x="30" y="130"/>
                        <a:pt x="30" y="130"/>
                      </a:cubicBezTo>
                      <a:cubicBezTo>
                        <a:pt x="27" y="132"/>
                        <a:pt x="27" y="132"/>
                        <a:pt x="27" y="132"/>
                      </a:cubicBezTo>
                      <a:cubicBezTo>
                        <a:pt x="30" y="136"/>
                        <a:pt x="30" y="138"/>
                        <a:pt x="35" y="141"/>
                      </a:cubicBezTo>
                      <a:cubicBezTo>
                        <a:pt x="36" y="141"/>
                        <a:pt x="36" y="141"/>
                        <a:pt x="36" y="141"/>
                      </a:cubicBezTo>
                      <a:cubicBezTo>
                        <a:pt x="38" y="141"/>
                        <a:pt x="38" y="141"/>
                        <a:pt x="38" y="141"/>
                      </a:cubicBezTo>
                      <a:cubicBezTo>
                        <a:pt x="39" y="141"/>
                        <a:pt x="39" y="141"/>
                        <a:pt x="39" y="141"/>
                      </a:cubicBezTo>
                      <a:cubicBezTo>
                        <a:pt x="43" y="138"/>
                        <a:pt x="51" y="133"/>
                        <a:pt x="56" y="133"/>
                      </a:cubicBezTo>
                      <a:cubicBezTo>
                        <a:pt x="58" y="133"/>
                        <a:pt x="58" y="133"/>
                        <a:pt x="58" y="133"/>
                      </a:cubicBezTo>
                      <a:cubicBezTo>
                        <a:pt x="62" y="133"/>
                        <a:pt x="63" y="137"/>
                        <a:pt x="63" y="141"/>
                      </a:cubicBezTo>
                      <a:cubicBezTo>
                        <a:pt x="63" y="143"/>
                        <a:pt x="63" y="143"/>
                        <a:pt x="63" y="143"/>
                      </a:cubicBezTo>
                      <a:cubicBezTo>
                        <a:pt x="63" y="150"/>
                        <a:pt x="60" y="152"/>
                        <a:pt x="56" y="154"/>
                      </a:cubicBezTo>
                      <a:cubicBezTo>
                        <a:pt x="55" y="154"/>
                        <a:pt x="55" y="154"/>
                        <a:pt x="55" y="154"/>
                      </a:cubicBezTo>
                      <a:cubicBezTo>
                        <a:pt x="53" y="154"/>
                        <a:pt x="53" y="154"/>
                        <a:pt x="53" y="154"/>
                      </a:cubicBezTo>
                      <a:cubicBezTo>
                        <a:pt x="52" y="154"/>
                        <a:pt x="52" y="154"/>
                        <a:pt x="51" y="153"/>
                      </a:cubicBezTo>
                      <a:cubicBezTo>
                        <a:pt x="50" y="154"/>
                        <a:pt x="50" y="154"/>
                        <a:pt x="49" y="154"/>
                      </a:cubicBezTo>
                      <a:cubicBezTo>
                        <a:pt x="47" y="154"/>
                        <a:pt x="47" y="154"/>
                        <a:pt x="47" y="154"/>
                      </a:cubicBezTo>
                      <a:cubicBezTo>
                        <a:pt x="47" y="155"/>
                        <a:pt x="46" y="155"/>
                        <a:pt x="46" y="156"/>
                      </a:cubicBezTo>
                      <a:cubicBezTo>
                        <a:pt x="46" y="158"/>
                        <a:pt x="53" y="165"/>
                        <a:pt x="55" y="166"/>
                      </a:cubicBezTo>
                      <a:cubicBezTo>
                        <a:pt x="56" y="166"/>
                        <a:pt x="56" y="166"/>
                        <a:pt x="56" y="166"/>
                      </a:cubicBezTo>
                      <a:cubicBezTo>
                        <a:pt x="61" y="166"/>
                        <a:pt x="61" y="166"/>
                        <a:pt x="61" y="166"/>
                      </a:cubicBezTo>
                      <a:cubicBezTo>
                        <a:pt x="66" y="166"/>
                        <a:pt x="69" y="163"/>
                        <a:pt x="71" y="160"/>
                      </a:cubicBezTo>
                      <a:cubicBezTo>
                        <a:pt x="74" y="155"/>
                        <a:pt x="74" y="151"/>
                        <a:pt x="76" y="148"/>
                      </a:cubicBezTo>
                      <a:cubicBezTo>
                        <a:pt x="75" y="146"/>
                        <a:pt x="75" y="148"/>
                        <a:pt x="75" y="146"/>
                      </a:cubicBezTo>
                      <a:cubicBezTo>
                        <a:pt x="75" y="138"/>
                        <a:pt x="75" y="138"/>
                        <a:pt x="75" y="138"/>
                      </a:cubicBezTo>
                      <a:cubicBezTo>
                        <a:pt x="75" y="130"/>
                        <a:pt x="74" y="128"/>
                        <a:pt x="80" y="124"/>
                      </a:cubicBezTo>
                      <a:cubicBezTo>
                        <a:pt x="81" y="124"/>
                        <a:pt x="81" y="124"/>
                        <a:pt x="81" y="124"/>
                      </a:cubicBezTo>
                      <a:cubicBezTo>
                        <a:pt x="90" y="124"/>
                        <a:pt x="90" y="127"/>
                        <a:pt x="94" y="120"/>
                      </a:cubicBezTo>
                      <a:cubicBezTo>
                        <a:pt x="92" y="117"/>
                        <a:pt x="91" y="116"/>
                        <a:pt x="88" y="115"/>
                      </a:cubicBezTo>
                      <a:cubicBezTo>
                        <a:pt x="86" y="116"/>
                        <a:pt x="84" y="117"/>
                        <a:pt x="81" y="117"/>
                      </a:cubicBezTo>
                      <a:cubicBezTo>
                        <a:pt x="79" y="117"/>
                        <a:pt x="79" y="117"/>
                        <a:pt x="79" y="117"/>
                      </a:cubicBezTo>
                      <a:cubicBezTo>
                        <a:pt x="77" y="116"/>
                        <a:pt x="72" y="109"/>
                        <a:pt x="72" y="107"/>
                      </a:cubicBezTo>
                      <a:cubicBezTo>
                        <a:pt x="72" y="105"/>
                        <a:pt x="72" y="105"/>
                        <a:pt x="72" y="105"/>
                      </a:cubicBezTo>
                      <a:cubicBezTo>
                        <a:pt x="72" y="99"/>
                        <a:pt x="75" y="100"/>
                        <a:pt x="78" y="96"/>
                      </a:cubicBezTo>
                      <a:cubicBezTo>
                        <a:pt x="80" y="96"/>
                        <a:pt x="80" y="96"/>
                        <a:pt x="80" y="96"/>
                      </a:cubicBezTo>
                      <a:cubicBezTo>
                        <a:pt x="82" y="93"/>
                        <a:pt x="89" y="90"/>
                        <a:pt x="92" y="89"/>
                      </a:cubicBezTo>
                      <a:cubicBezTo>
                        <a:pt x="95" y="87"/>
                        <a:pt x="101" y="83"/>
                        <a:pt x="101" y="80"/>
                      </a:cubicBezTo>
                      <a:cubicBezTo>
                        <a:pt x="101" y="77"/>
                        <a:pt x="101" y="79"/>
                        <a:pt x="102" y="78"/>
                      </a:cubicBezTo>
                      <a:cubicBezTo>
                        <a:pt x="101" y="77"/>
                        <a:pt x="101" y="79"/>
                        <a:pt x="101" y="77"/>
                      </a:cubicBezTo>
                      <a:cubicBezTo>
                        <a:pt x="101" y="73"/>
                        <a:pt x="96" y="64"/>
                        <a:pt x="95" y="61"/>
                      </a:cubicBezTo>
                      <a:cubicBezTo>
                        <a:pt x="95" y="61"/>
                        <a:pt x="101" y="55"/>
                        <a:pt x="102" y="55"/>
                      </a:cubicBezTo>
                      <a:cubicBezTo>
                        <a:pt x="104" y="52"/>
                        <a:pt x="106" y="51"/>
                        <a:pt x="109" y="48"/>
                      </a:cubicBezTo>
                      <a:cubicBezTo>
                        <a:pt x="110" y="47"/>
                        <a:pt x="112" y="46"/>
                        <a:pt x="113" y="45"/>
                      </a:cubicBezTo>
                      <a:cubicBezTo>
                        <a:pt x="114" y="44"/>
                        <a:pt x="115" y="43"/>
                        <a:pt x="116" y="42"/>
                      </a:cubicBezTo>
                      <a:cubicBezTo>
                        <a:pt x="118" y="39"/>
                        <a:pt x="118" y="35"/>
                        <a:pt x="121" y="34"/>
                      </a:cubicBezTo>
                      <a:cubicBezTo>
                        <a:pt x="121" y="32"/>
                        <a:pt x="121" y="32"/>
                        <a:pt x="121" y="32"/>
                      </a:cubicBezTo>
                      <a:cubicBezTo>
                        <a:pt x="121" y="27"/>
                        <a:pt x="123" y="30"/>
                        <a:pt x="120" y="24"/>
                      </a:cubicBezTo>
                      <a:cubicBezTo>
                        <a:pt x="118" y="20"/>
                        <a:pt x="118" y="20"/>
                        <a:pt x="116" y="17"/>
                      </a:cubicBezTo>
                      <a:cubicBezTo>
                        <a:pt x="113" y="17"/>
                        <a:pt x="113" y="17"/>
                        <a:pt x="113" y="17"/>
                      </a:cubicBezTo>
                      <a:cubicBezTo>
                        <a:pt x="111" y="17"/>
                        <a:pt x="105" y="19"/>
                        <a:pt x="104" y="20"/>
                      </a:cubicBezTo>
                      <a:cubicBezTo>
                        <a:pt x="101" y="23"/>
                        <a:pt x="102" y="23"/>
                        <a:pt x="96" y="24"/>
                      </a:cubicBezTo>
                      <a:lnTo>
                        <a:pt x="93" y="21"/>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42" name="ïSľíďè"/>
                <p:cNvSpPr/>
                <p:nvPr/>
              </p:nvSpPr>
              <p:spPr bwMode="auto">
                <a:xfrm>
                  <a:off x="5159376" y="3357563"/>
                  <a:ext cx="117475" cy="366713"/>
                </a:xfrm>
                <a:custGeom>
                  <a:avLst/>
                  <a:gdLst>
                    <a:gd name="T0" fmla="*/ 23 w 36"/>
                    <a:gd name="T1" fmla="*/ 14 h 110"/>
                    <a:gd name="T2" fmla="*/ 23 w 36"/>
                    <a:gd name="T3" fmla="*/ 12 h 110"/>
                    <a:gd name="T4" fmla="*/ 18 w 36"/>
                    <a:gd name="T5" fmla="*/ 6 h 110"/>
                    <a:gd name="T6" fmla="*/ 13 w 36"/>
                    <a:gd name="T7" fmla="*/ 0 h 110"/>
                    <a:gd name="T8" fmla="*/ 11 w 36"/>
                    <a:gd name="T9" fmla="*/ 4 h 110"/>
                    <a:gd name="T10" fmla="*/ 13 w 36"/>
                    <a:gd name="T11" fmla="*/ 16 h 110"/>
                    <a:gd name="T12" fmla="*/ 12 w 36"/>
                    <a:gd name="T13" fmla="*/ 34 h 110"/>
                    <a:gd name="T14" fmla="*/ 7 w 36"/>
                    <a:gd name="T15" fmla="*/ 65 h 110"/>
                    <a:gd name="T16" fmla="*/ 3 w 36"/>
                    <a:gd name="T17" fmla="*/ 80 h 110"/>
                    <a:gd name="T18" fmla="*/ 0 w 36"/>
                    <a:gd name="T19" fmla="*/ 95 h 110"/>
                    <a:gd name="T20" fmla="*/ 0 w 36"/>
                    <a:gd name="T21" fmla="*/ 98 h 110"/>
                    <a:gd name="T22" fmla="*/ 0 w 36"/>
                    <a:gd name="T23" fmla="*/ 100 h 110"/>
                    <a:gd name="T24" fmla="*/ 4 w 36"/>
                    <a:gd name="T25" fmla="*/ 105 h 110"/>
                    <a:gd name="T26" fmla="*/ 9 w 36"/>
                    <a:gd name="T27" fmla="*/ 110 h 110"/>
                    <a:gd name="T28" fmla="*/ 15 w 36"/>
                    <a:gd name="T29" fmla="*/ 104 h 110"/>
                    <a:gd name="T30" fmla="*/ 18 w 36"/>
                    <a:gd name="T31" fmla="*/ 96 h 110"/>
                    <a:gd name="T32" fmla="*/ 18 w 36"/>
                    <a:gd name="T33" fmla="*/ 90 h 110"/>
                    <a:gd name="T34" fmla="*/ 21 w 36"/>
                    <a:gd name="T35" fmla="*/ 71 h 110"/>
                    <a:gd name="T36" fmla="*/ 25 w 36"/>
                    <a:gd name="T37" fmla="*/ 53 h 110"/>
                    <a:gd name="T38" fmla="*/ 30 w 36"/>
                    <a:gd name="T39" fmla="*/ 36 h 110"/>
                    <a:gd name="T40" fmla="*/ 35 w 36"/>
                    <a:gd name="T41" fmla="*/ 20 h 110"/>
                    <a:gd name="T42" fmla="*/ 33 w 36"/>
                    <a:gd name="T43" fmla="*/ 20 h 110"/>
                    <a:gd name="T44" fmla="*/ 30 w 36"/>
                    <a:gd name="T45" fmla="*/ 22 h 110"/>
                    <a:gd name="T46" fmla="*/ 23 w 36"/>
                    <a:gd name="T47" fmla="*/ 17 h 110"/>
                    <a:gd name="T48" fmla="*/ 23 w 36"/>
                    <a:gd name="T49" fmla="*/ 15 h 110"/>
                    <a:gd name="T50" fmla="*/ 23 w 36"/>
                    <a:gd name="T51"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110">
                      <a:moveTo>
                        <a:pt x="23" y="14"/>
                      </a:moveTo>
                      <a:cubicBezTo>
                        <a:pt x="23" y="12"/>
                        <a:pt x="23" y="12"/>
                        <a:pt x="23" y="12"/>
                      </a:cubicBezTo>
                      <a:cubicBezTo>
                        <a:pt x="21" y="8"/>
                        <a:pt x="22" y="9"/>
                        <a:pt x="18" y="6"/>
                      </a:cubicBezTo>
                      <a:cubicBezTo>
                        <a:pt x="17" y="4"/>
                        <a:pt x="15" y="2"/>
                        <a:pt x="13" y="0"/>
                      </a:cubicBezTo>
                      <a:cubicBezTo>
                        <a:pt x="12" y="1"/>
                        <a:pt x="11" y="3"/>
                        <a:pt x="11" y="4"/>
                      </a:cubicBezTo>
                      <a:cubicBezTo>
                        <a:pt x="11" y="7"/>
                        <a:pt x="13" y="12"/>
                        <a:pt x="13" y="16"/>
                      </a:cubicBezTo>
                      <a:cubicBezTo>
                        <a:pt x="12" y="34"/>
                        <a:pt x="12" y="34"/>
                        <a:pt x="12" y="34"/>
                      </a:cubicBezTo>
                      <a:cubicBezTo>
                        <a:pt x="12" y="43"/>
                        <a:pt x="9" y="56"/>
                        <a:pt x="7" y="65"/>
                      </a:cubicBezTo>
                      <a:cubicBezTo>
                        <a:pt x="6" y="72"/>
                        <a:pt x="4" y="75"/>
                        <a:pt x="3" y="80"/>
                      </a:cubicBezTo>
                      <a:cubicBezTo>
                        <a:pt x="2" y="85"/>
                        <a:pt x="0" y="91"/>
                        <a:pt x="0" y="95"/>
                      </a:cubicBezTo>
                      <a:cubicBezTo>
                        <a:pt x="0" y="98"/>
                        <a:pt x="0" y="98"/>
                        <a:pt x="0" y="98"/>
                      </a:cubicBezTo>
                      <a:cubicBezTo>
                        <a:pt x="0" y="100"/>
                        <a:pt x="0" y="100"/>
                        <a:pt x="0" y="100"/>
                      </a:cubicBezTo>
                      <a:cubicBezTo>
                        <a:pt x="2" y="102"/>
                        <a:pt x="2" y="103"/>
                        <a:pt x="4" y="105"/>
                      </a:cubicBezTo>
                      <a:cubicBezTo>
                        <a:pt x="6" y="108"/>
                        <a:pt x="7" y="108"/>
                        <a:pt x="9" y="110"/>
                      </a:cubicBezTo>
                      <a:cubicBezTo>
                        <a:pt x="12" y="108"/>
                        <a:pt x="13" y="108"/>
                        <a:pt x="15" y="104"/>
                      </a:cubicBezTo>
                      <a:cubicBezTo>
                        <a:pt x="16" y="102"/>
                        <a:pt x="18" y="99"/>
                        <a:pt x="18" y="96"/>
                      </a:cubicBezTo>
                      <a:cubicBezTo>
                        <a:pt x="18" y="90"/>
                        <a:pt x="18" y="90"/>
                        <a:pt x="18" y="90"/>
                      </a:cubicBezTo>
                      <a:cubicBezTo>
                        <a:pt x="18" y="83"/>
                        <a:pt x="20" y="77"/>
                        <a:pt x="21" y="71"/>
                      </a:cubicBezTo>
                      <a:cubicBezTo>
                        <a:pt x="23" y="65"/>
                        <a:pt x="23" y="59"/>
                        <a:pt x="25" y="53"/>
                      </a:cubicBezTo>
                      <a:cubicBezTo>
                        <a:pt x="26" y="47"/>
                        <a:pt x="29" y="42"/>
                        <a:pt x="30" y="36"/>
                      </a:cubicBezTo>
                      <a:cubicBezTo>
                        <a:pt x="31" y="28"/>
                        <a:pt x="34" y="27"/>
                        <a:pt x="35" y="20"/>
                      </a:cubicBezTo>
                      <a:cubicBezTo>
                        <a:pt x="34" y="19"/>
                        <a:pt x="36" y="20"/>
                        <a:pt x="33" y="20"/>
                      </a:cubicBezTo>
                      <a:cubicBezTo>
                        <a:pt x="33" y="20"/>
                        <a:pt x="30" y="22"/>
                        <a:pt x="30" y="22"/>
                      </a:cubicBezTo>
                      <a:cubicBezTo>
                        <a:pt x="25" y="21"/>
                        <a:pt x="25" y="21"/>
                        <a:pt x="23" y="17"/>
                      </a:cubicBezTo>
                      <a:cubicBezTo>
                        <a:pt x="23" y="15"/>
                        <a:pt x="23" y="15"/>
                        <a:pt x="23" y="15"/>
                      </a:cubicBezTo>
                      <a:lnTo>
                        <a:pt x="23" y="14"/>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grpSp>
          <p:grpSp>
            <p:nvGrpSpPr>
              <p:cNvPr id="16" name="ïṥliḓe"/>
              <p:cNvGrpSpPr/>
              <p:nvPr/>
            </p:nvGrpSpPr>
            <p:grpSpPr>
              <a:xfrm>
                <a:off x="4412452" y="3781425"/>
                <a:ext cx="2312689" cy="166461"/>
                <a:chOff x="6986588" y="3521075"/>
                <a:chExt cx="1654176" cy="119063"/>
              </a:xfrm>
            </p:grpSpPr>
            <p:sp>
              <p:nvSpPr>
                <p:cNvPr id="17" name="ïśļïdê"/>
                <p:cNvSpPr/>
                <p:nvPr/>
              </p:nvSpPr>
              <p:spPr bwMode="auto">
                <a:xfrm>
                  <a:off x="6986588" y="3521075"/>
                  <a:ext cx="155575" cy="119063"/>
                </a:xfrm>
                <a:custGeom>
                  <a:avLst/>
                  <a:gdLst>
                    <a:gd name="T0" fmla="*/ 84 w 98"/>
                    <a:gd name="T1" fmla="*/ 0 h 75"/>
                    <a:gd name="T2" fmla="*/ 59 w 98"/>
                    <a:gd name="T3" fmla="*/ 52 h 75"/>
                    <a:gd name="T4" fmla="*/ 57 w 98"/>
                    <a:gd name="T5" fmla="*/ 0 h 75"/>
                    <a:gd name="T6" fmla="*/ 40 w 98"/>
                    <a:gd name="T7" fmla="*/ 0 h 75"/>
                    <a:gd name="T8" fmla="*/ 15 w 98"/>
                    <a:gd name="T9" fmla="*/ 52 h 75"/>
                    <a:gd name="T10" fmla="*/ 15 w 98"/>
                    <a:gd name="T11" fmla="*/ 0 h 75"/>
                    <a:gd name="T12" fmla="*/ 0 w 98"/>
                    <a:gd name="T13" fmla="*/ 0 h 75"/>
                    <a:gd name="T14" fmla="*/ 2 w 98"/>
                    <a:gd name="T15" fmla="*/ 75 h 75"/>
                    <a:gd name="T16" fmla="*/ 19 w 98"/>
                    <a:gd name="T17" fmla="*/ 75 h 75"/>
                    <a:gd name="T18" fmla="*/ 44 w 98"/>
                    <a:gd name="T19" fmla="*/ 21 h 75"/>
                    <a:gd name="T20" fmla="*/ 46 w 98"/>
                    <a:gd name="T21" fmla="*/ 75 h 75"/>
                    <a:gd name="T22" fmla="*/ 63 w 98"/>
                    <a:gd name="T23" fmla="*/ 75 h 75"/>
                    <a:gd name="T24" fmla="*/ 98 w 98"/>
                    <a:gd name="T25" fmla="*/ 0 h 75"/>
                    <a:gd name="T26" fmla="*/ 84 w 98"/>
                    <a:gd name="T2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75">
                      <a:moveTo>
                        <a:pt x="84" y="0"/>
                      </a:moveTo>
                      <a:lnTo>
                        <a:pt x="59" y="52"/>
                      </a:lnTo>
                      <a:lnTo>
                        <a:pt x="57" y="0"/>
                      </a:lnTo>
                      <a:lnTo>
                        <a:pt x="40" y="0"/>
                      </a:lnTo>
                      <a:lnTo>
                        <a:pt x="15" y="52"/>
                      </a:lnTo>
                      <a:lnTo>
                        <a:pt x="15" y="0"/>
                      </a:lnTo>
                      <a:lnTo>
                        <a:pt x="0" y="0"/>
                      </a:lnTo>
                      <a:lnTo>
                        <a:pt x="2" y="75"/>
                      </a:lnTo>
                      <a:lnTo>
                        <a:pt x="19" y="75"/>
                      </a:lnTo>
                      <a:lnTo>
                        <a:pt x="44" y="21"/>
                      </a:lnTo>
                      <a:lnTo>
                        <a:pt x="46" y="75"/>
                      </a:lnTo>
                      <a:lnTo>
                        <a:pt x="63" y="75"/>
                      </a:lnTo>
                      <a:lnTo>
                        <a:pt x="98" y="0"/>
                      </a:lnTo>
                      <a:lnTo>
                        <a:pt x="84"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18" name="îṥľïḍè"/>
                <p:cNvSpPr/>
                <p:nvPr/>
              </p:nvSpPr>
              <p:spPr bwMode="auto">
                <a:xfrm>
                  <a:off x="7135813" y="3521075"/>
                  <a:ext cx="112713" cy="119063"/>
                </a:xfrm>
                <a:custGeom>
                  <a:avLst/>
                  <a:gdLst>
                    <a:gd name="T0" fmla="*/ 22 w 34"/>
                    <a:gd name="T1" fmla="*/ 20 h 36"/>
                    <a:gd name="T2" fmla="*/ 20 w 34"/>
                    <a:gd name="T3" fmla="*/ 26 h 36"/>
                    <a:gd name="T4" fmla="*/ 18 w 34"/>
                    <a:gd name="T5" fmla="*/ 29 h 36"/>
                    <a:gd name="T6" fmla="*/ 13 w 34"/>
                    <a:gd name="T7" fmla="*/ 30 h 36"/>
                    <a:gd name="T8" fmla="*/ 9 w 34"/>
                    <a:gd name="T9" fmla="*/ 29 h 36"/>
                    <a:gd name="T10" fmla="*/ 7 w 34"/>
                    <a:gd name="T11" fmla="*/ 25 h 36"/>
                    <a:gd name="T12" fmla="*/ 7 w 34"/>
                    <a:gd name="T13" fmla="*/ 24 h 36"/>
                    <a:gd name="T14" fmla="*/ 8 w 34"/>
                    <a:gd name="T15" fmla="*/ 19 h 36"/>
                    <a:gd name="T16" fmla="*/ 12 w 34"/>
                    <a:gd name="T17" fmla="*/ 0 h 36"/>
                    <a:gd name="T18" fmla="*/ 5 w 34"/>
                    <a:gd name="T19" fmla="*/ 0 h 36"/>
                    <a:gd name="T20" fmla="*/ 1 w 34"/>
                    <a:gd name="T21" fmla="*/ 19 h 36"/>
                    <a:gd name="T22" fmla="*/ 0 w 34"/>
                    <a:gd name="T23" fmla="*/ 23 h 36"/>
                    <a:gd name="T24" fmla="*/ 0 w 34"/>
                    <a:gd name="T25" fmla="*/ 25 h 36"/>
                    <a:gd name="T26" fmla="*/ 3 w 34"/>
                    <a:gd name="T27" fmla="*/ 33 h 36"/>
                    <a:gd name="T28" fmla="*/ 13 w 34"/>
                    <a:gd name="T29" fmla="*/ 36 h 36"/>
                    <a:gd name="T30" fmla="*/ 22 w 34"/>
                    <a:gd name="T31" fmla="*/ 34 h 36"/>
                    <a:gd name="T32" fmla="*/ 27 w 34"/>
                    <a:gd name="T33" fmla="*/ 29 h 36"/>
                    <a:gd name="T34" fmla="*/ 30 w 34"/>
                    <a:gd name="T35" fmla="*/ 20 h 36"/>
                    <a:gd name="T36" fmla="*/ 34 w 34"/>
                    <a:gd name="T37" fmla="*/ 0 h 36"/>
                    <a:gd name="T38" fmla="*/ 26 w 34"/>
                    <a:gd name="T39" fmla="*/ 0 h 36"/>
                    <a:gd name="T40" fmla="*/ 22 w 34"/>
                    <a:gd name="T41"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36">
                      <a:moveTo>
                        <a:pt x="22" y="20"/>
                      </a:moveTo>
                      <a:cubicBezTo>
                        <a:pt x="22" y="23"/>
                        <a:pt x="21" y="25"/>
                        <a:pt x="20" y="26"/>
                      </a:cubicBezTo>
                      <a:cubicBezTo>
                        <a:pt x="20" y="28"/>
                        <a:pt x="19" y="29"/>
                        <a:pt x="18" y="29"/>
                      </a:cubicBezTo>
                      <a:cubicBezTo>
                        <a:pt x="17" y="30"/>
                        <a:pt x="15" y="30"/>
                        <a:pt x="13" y="30"/>
                      </a:cubicBezTo>
                      <a:cubicBezTo>
                        <a:pt x="11" y="30"/>
                        <a:pt x="10" y="30"/>
                        <a:pt x="9" y="29"/>
                      </a:cubicBezTo>
                      <a:cubicBezTo>
                        <a:pt x="8" y="28"/>
                        <a:pt x="7" y="27"/>
                        <a:pt x="7" y="25"/>
                      </a:cubicBezTo>
                      <a:cubicBezTo>
                        <a:pt x="7" y="25"/>
                        <a:pt x="7" y="25"/>
                        <a:pt x="7" y="24"/>
                      </a:cubicBezTo>
                      <a:cubicBezTo>
                        <a:pt x="8" y="19"/>
                        <a:pt x="8" y="19"/>
                        <a:pt x="8" y="19"/>
                      </a:cubicBezTo>
                      <a:cubicBezTo>
                        <a:pt x="12" y="0"/>
                        <a:pt x="12" y="0"/>
                        <a:pt x="12" y="0"/>
                      </a:cubicBezTo>
                      <a:cubicBezTo>
                        <a:pt x="5" y="0"/>
                        <a:pt x="5" y="0"/>
                        <a:pt x="5" y="0"/>
                      </a:cubicBezTo>
                      <a:cubicBezTo>
                        <a:pt x="1" y="19"/>
                        <a:pt x="1" y="19"/>
                        <a:pt x="1" y="19"/>
                      </a:cubicBezTo>
                      <a:cubicBezTo>
                        <a:pt x="1" y="21"/>
                        <a:pt x="0" y="23"/>
                        <a:pt x="0" y="23"/>
                      </a:cubicBezTo>
                      <a:cubicBezTo>
                        <a:pt x="0" y="24"/>
                        <a:pt x="0" y="25"/>
                        <a:pt x="0" y="25"/>
                      </a:cubicBezTo>
                      <a:cubicBezTo>
                        <a:pt x="0" y="29"/>
                        <a:pt x="1" y="31"/>
                        <a:pt x="3" y="33"/>
                      </a:cubicBezTo>
                      <a:cubicBezTo>
                        <a:pt x="6" y="35"/>
                        <a:pt x="9" y="36"/>
                        <a:pt x="13" y="36"/>
                      </a:cubicBezTo>
                      <a:cubicBezTo>
                        <a:pt x="16" y="36"/>
                        <a:pt x="19" y="36"/>
                        <a:pt x="22" y="34"/>
                      </a:cubicBezTo>
                      <a:cubicBezTo>
                        <a:pt x="24" y="33"/>
                        <a:pt x="25" y="31"/>
                        <a:pt x="27" y="29"/>
                      </a:cubicBezTo>
                      <a:cubicBezTo>
                        <a:pt x="28" y="27"/>
                        <a:pt x="29" y="24"/>
                        <a:pt x="30" y="20"/>
                      </a:cubicBezTo>
                      <a:cubicBezTo>
                        <a:pt x="34" y="0"/>
                        <a:pt x="34" y="0"/>
                        <a:pt x="34" y="0"/>
                      </a:cubicBezTo>
                      <a:cubicBezTo>
                        <a:pt x="26" y="0"/>
                        <a:pt x="26" y="0"/>
                        <a:pt x="26" y="0"/>
                      </a:cubicBezTo>
                      <a:lnTo>
                        <a:pt x="22" y="2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19" name="iṡḷíḍé"/>
                <p:cNvSpPr/>
                <p:nvPr/>
              </p:nvSpPr>
              <p:spPr bwMode="auto">
                <a:xfrm>
                  <a:off x="7248526" y="3521075"/>
                  <a:ext cx="114300" cy="119063"/>
                </a:xfrm>
                <a:custGeom>
                  <a:avLst/>
                  <a:gdLst>
                    <a:gd name="T0" fmla="*/ 58 w 72"/>
                    <a:gd name="T1" fmla="*/ 0 h 75"/>
                    <a:gd name="T2" fmla="*/ 52 w 72"/>
                    <a:gd name="T3" fmla="*/ 29 h 75"/>
                    <a:gd name="T4" fmla="*/ 22 w 72"/>
                    <a:gd name="T5" fmla="*/ 29 h 75"/>
                    <a:gd name="T6" fmla="*/ 29 w 72"/>
                    <a:gd name="T7" fmla="*/ 0 h 75"/>
                    <a:gd name="T8" fmla="*/ 14 w 72"/>
                    <a:gd name="T9" fmla="*/ 0 h 75"/>
                    <a:gd name="T10" fmla="*/ 0 w 72"/>
                    <a:gd name="T11" fmla="*/ 75 h 75"/>
                    <a:gd name="T12" fmla="*/ 14 w 72"/>
                    <a:gd name="T13" fmla="*/ 75 h 75"/>
                    <a:gd name="T14" fmla="*/ 20 w 72"/>
                    <a:gd name="T15" fmla="*/ 42 h 75"/>
                    <a:gd name="T16" fmla="*/ 50 w 72"/>
                    <a:gd name="T17" fmla="*/ 42 h 75"/>
                    <a:gd name="T18" fmla="*/ 43 w 72"/>
                    <a:gd name="T19" fmla="*/ 75 h 75"/>
                    <a:gd name="T20" fmla="*/ 58 w 72"/>
                    <a:gd name="T21" fmla="*/ 75 h 75"/>
                    <a:gd name="T22" fmla="*/ 72 w 72"/>
                    <a:gd name="T23" fmla="*/ 0 h 75"/>
                    <a:gd name="T24" fmla="*/ 58 w 72"/>
                    <a:gd name="T2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75">
                      <a:moveTo>
                        <a:pt x="58" y="0"/>
                      </a:moveTo>
                      <a:lnTo>
                        <a:pt x="52" y="29"/>
                      </a:lnTo>
                      <a:lnTo>
                        <a:pt x="22" y="29"/>
                      </a:lnTo>
                      <a:lnTo>
                        <a:pt x="29" y="0"/>
                      </a:lnTo>
                      <a:lnTo>
                        <a:pt x="14" y="0"/>
                      </a:lnTo>
                      <a:lnTo>
                        <a:pt x="0" y="75"/>
                      </a:lnTo>
                      <a:lnTo>
                        <a:pt x="14" y="75"/>
                      </a:lnTo>
                      <a:lnTo>
                        <a:pt x="20" y="42"/>
                      </a:lnTo>
                      <a:lnTo>
                        <a:pt x="50" y="42"/>
                      </a:lnTo>
                      <a:lnTo>
                        <a:pt x="43" y="75"/>
                      </a:lnTo>
                      <a:lnTo>
                        <a:pt x="58" y="75"/>
                      </a:lnTo>
                      <a:lnTo>
                        <a:pt x="72" y="0"/>
                      </a:lnTo>
                      <a:lnTo>
                        <a:pt x="58"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20" name="išḻíḑè"/>
                <p:cNvSpPr/>
                <p:nvPr/>
              </p:nvSpPr>
              <p:spPr bwMode="auto">
                <a:xfrm>
                  <a:off x="7356476" y="3521075"/>
                  <a:ext cx="112713" cy="119063"/>
                </a:xfrm>
                <a:custGeom>
                  <a:avLst/>
                  <a:gdLst>
                    <a:gd name="T0" fmla="*/ 42 w 71"/>
                    <a:gd name="T1" fmla="*/ 0 h 75"/>
                    <a:gd name="T2" fmla="*/ 0 w 71"/>
                    <a:gd name="T3" fmla="*/ 75 h 75"/>
                    <a:gd name="T4" fmla="*/ 15 w 71"/>
                    <a:gd name="T5" fmla="*/ 75 h 75"/>
                    <a:gd name="T6" fmla="*/ 23 w 71"/>
                    <a:gd name="T7" fmla="*/ 59 h 75"/>
                    <a:gd name="T8" fmla="*/ 54 w 71"/>
                    <a:gd name="T9" fmla="*/ 59 h 75"/>
                    <a:gd name="T10" fmla="*/ 56 w 71"/>
                    <a:gd name="T11" fmla="*/ 75 h 75"/>
                    <a:gd name="T12" fmla="*/ 71 w 71"/>
                    <a:gd name="T13" fmla="*/ 75 h 75"/>
                    <a:gd name="T14" fmla="*/ 58 w 71"/>
                    <a:gd name="T15" fmla="*/ 0 h 75"/>
                    <a:gd name="T16" fmla="*/ 42 w 71"/>
                    <a:gd name="T17" fmla="*/ 0 h 75"/>
                    <a:gd name="T18" fmla="*/ 29 w 71"/>
                    <a:gd name="T19" fmla="*/ 46 h 75"/>
                    <a:gd name="T20" fmla="*/ 48 w 71"/>
                    <a:gd name="T21" fmla="*/ 17 h 75"/>
                    <a:gd name="T22" fmla="*/ 52 w 71"/>
                    <a:gd name="T23" fmla="*/ 46 h 75"/>
                    <a:gd name="T24" fmla="*/ 29 w 71"/>
                    <a:gd name="T25" fmla="*/ 4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5">
                      <a:moveTo>
                        <a:pt x="42" y="0"/>
                      </a:moveTo>
                      <a:lnTo>
                        <a:pt x="0" y="75"/>
                      </a:lnTo>
                      <a:lnTo>
                        <a:pt x="15" y="75"/>
                      </a:lnTo>
                      <a:lnTo>
                        <a:pt x="23" y="59"/>
                      </a:lnTo>
                      <a:lnTo>
                        <a:pt x="54" y="59"/>
                      </a:lnTo>
                      <a:lnTo>
                        <a:pt x="56" y="75"/>
                      </a:lnTo>
                      <a:lnTo>
                        <a:pt x="71" y="75"/>
                      </a:lnTo>
                      <a:lnTo>
                        <a:pt x="58" y="0"/>
                      </a:lnTo>
                      <a:lnTo>
                        <a:pt x="42" y="0"/>
                      </a:lnTo>
                      <a:close/>
                      <a:moveTo>
                        <a:pt x="29" y="46"/>
                      </a:moveTo>
                      <a:lnTo>
                        <a:pt x="48" y="17"/>
                      </a:lnTo>
                      <a:lnTo>
                        <a:pt x="52" y="46"/>
                      </a:lnTo>
                      <a:lnTo>
                        <a:pt x="29" y="46"/>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21" name="işḷíḋê"/>
                <p:cNvSpPr/>
                <p:nvPr/>
              </p:nvSpPr>
              <p:spPr bwMode="auto">
                <a:xfrm>
                  <a:off x="7481888" y="3521075"/>
                  <a:ext cx="119063" cy="119063"/>
                </a:xfrm>
                <a:custGeom>
                  <a:avLst/>
                  <a:gdLst>
                    <a:gd name="T0" fmla="*/ 50 w 75"/>
                    <a:gd name="T1" fmla="*/ 50 h 75"/>
                    <a:gd name="T2" fmla="*/ 31 w 75"/>
                    <a:gd name="T3" fmla="*/ 0 h 75"/>
                    <a:gd name="T4" fmla="*/ 17 w 75"/>
                    <a:gd name="T5" fmla="*/ 0 h 75"/>
                    <a:gd name="T6" fmla="*/ 0 w 75"/>
                    <a:gd name="T7" fmla="*/ 75 h 75"/>
                    <a:gd name="T8" fmla="*/ 15 w 75"/>
                    <a:gd name="T9" fmla="*/ 75 h 75"/>
                    <a:gd name="T10" fmla="*/ 25 w 75"/>
                    <a:gd name="T11" fmla="*/ 25 h 75"/>
                    <a:gd name="T12" fmla="*/ 46 w 75"/>
                    <a:gd name="T13" fmla="*/ 75 h 75"/>
                    <a:gd name="T14" fmla="*/ 58 w 75"/>
                    <a:gd name="T15" fmla="*/ 75 h 75"/>
                    <a:gd name="T16" fmla="*/ 75 w 75"/>
                    <a:gd name="T17" fmla="*/ 0 h 75"/>
                    <a:gd name="T18" fmla="*/ 61 w 75"/>
                    <a:gd name="T19" fmla="*/ 0 h 75"/>
                    <a:gd name="T20" fmla="*/ 50 w 75"/>
                    <a:gd name="T21" fmla="*/ 5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75">
                      <a:moveTo>
                        <a:pt x="50" y="50"/>
                      </a:moveTo>
                      <a:lnTo>
                        <a:pt x="31" y="0"/>
                      </a:lnTo>
                      <a:lnTo>
                        <a:pt x="17" y="0"/>
                      </a:lnTo>
                      <a:lnTo>
                        <a:pt x="0" y="75"/>
                      </a:lnTo>
                      <a:lnTo>
                        <a:pt x="15" y="75"/>
                      </a:lnTo>
                      <a:lnTo>
                        <a:pt x="25" y="25"/>
                      </a:lnTo>
                      <a:lnTo>
                        <a:pt x="46" y="75"/>
                      </a:lnTo>
                      <a:lnTo>
                        <a:pt x="58" y="75"/>
                      </a:lnTo>
                      <a:lnTo>
                        <a:pt x="75" y="0"/>
                      </a:lnTo>
                      <a:lnTo>
                        <a:pt x="61" y="0"/>
                      </a:lnTo>
                      <a:lnTo>
                        <a:pt x="50" y="5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22" name="ïsļîďè"/>
                <p:cNvSpPr/>
                <p:nvPr/>
              </p:nvSpPr>
              <p:spPr bwMode="auto">
                <a:xfrm>
                  <a:off x="7653338" y="3521075"/>
                  <a:ext cx="112713" cy="119063"/>
                </a:xfrm>
                <a:custGeom>
                  <a:avLst/>
                  <a:gdLst>
                    <a:gd name="T0" fmla="*/ 22 w 34"/>
                    <a:gd name="T1" fmla="*/ 20 h 36"/>
                    <a:gd name="T2" fmla="*/ 20 w 34"/>
                    <a:gd name="T3" fmla="*/ 26 h 36"/>
                    <a:gd name="T4" fmla="*/ 18 w 34"/>
                    <a:gd name="T5" fmla="*/ 29 h 36"/>
                    <a:gd name="T6" fmla="*/ 13 w 34"/>
                    <a:gd name="T7" fmla="*/ 30 h 36"/>
                    <a:gd name="T8" fmla="*/ 9 w 34"/>
                    <a:gd name="T9" fmla="*/ 29 h 36"/>
                    <a:gd name="T10" fmla="*/ 7 w 34"/>
                    <a:gd name="T11" fmla="*/ 25 h 36"/>
                    <a:gd name="T12" fmla="*/ 7 w 34"/>
                    <a:gd name="T13" fmla="*/ 24 h 36"/>
                    <a:gd name="T14" fmla="*/ 8 w 34"/>
                    <a:gd name="T15" fmla="*/ 19 h 36"/>
                    <a:gd name="T16" fmla="*/ 12 w 34"/>
                    <a:gd name="T17" fmla="*/ 0 h 36"/>
                    <a:gd name="T18" fmla="*/ 5 w 34"/>
                    <a:gd name="T19" fmla="*/ 0 h 36"/>
                    <a:gd name="T20" fmla="*/ 1 w 34"/>
                    <a:gd name="T21" fmla="*/ 19 h 36"/>
                    <a:gd name="T22" fmla="*/ 0 w 34"/>
                    <a:gd name="T23" fmla="*/ 23 h 36"/>
                    <a:gd name="T24" fmla="*/ 0 w 34"/>
                    <a:gd name="T25" fmla="*/ 25 h 36"/>
                    <a:gd name="T26" fmla="*/ 3 w 34"/>
                    <a:gd name="T27" fmla="*/ 33 h 36"/>
                    <a:gd name="T28" fmla="*/ 13 w 34"/>
                    <a:gd name="T29" fmla="*/ 36 h 36"/>
                    <a:gd name="T30" fmla="*/ 22 w 34"/>
                    <a:gd name="T31" fmla="*/ 34 h 36"/>
                    <a:gd name="T32" fmla="*/ 27 w 34"/>
                    <a:gd name="T33" fmla="*/ 29 h 36"/>
                    <a:gd name="T34" fmla="*/ 30 w 34"/>
                    <a:gd name="T35" fmla="*/ 20 h 36"/>
                    <a:gd name="T36" fmla="*/ 34 w 34"/>
                    <a:gd name="T37" fmla="*/ 0 h 36"/>
                    <a:gd name="T38" fmla="*/ 26 w 34"/>
                    <a:gd name="T39" fmla="*/ 0 h 36"/>
                    <a:gd name="T40" fmla="*/ 22 w 34"/>
                    <a:gd name="T41"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36">
                      <a:moveTo>
                        <a:pt x="22" y="20"/>
                      </a:moveTo>
                      <a:cubicBezTo>
                        <a:pt x="22" y="23"/>
                        <a:pt x="21" y="25"/>
                        <a:pt x="20" y="26"/>
                      </a:cubicBezTo>
                      <a:cubicBezTo>
                        <a:pt x="20" y="28"/>
                        <a:pt x="19" y="29"/>
                        <a:pt x="18" y="29"/>
                      </a:cubicBezTo>
                      <a:cubicBezTo>
                        <a:pt x="17" y="30"/>
                        <a:pt x="15" y="30"/>
                        <a:pt x="13" y="30"/>
                      </a:cubicBezTo>
                      <a:cubicBezTo>
                        <a:pt x="11" y="30"/>
                        <a:pt x="10" y="30"/>
                        <a:pt x="9" y="29"/>
                      </a:cubicBezTo>
                      <a:cubicBezTo>
                        <a:pt x="8" y="28"/>
                        <a:pt x="7" y="27"/>
                        <a:pt x="7" y="25"/>
                      </a:cubicBezTo>
                      <a:cubicBezTo>
                        <a:pt x="7" y="25"/>
                        <a:pt x="7" y="25"/>
                        <a:pt x="7" y="24"/>
                      </a:cubicBezTo>
                      <a:cubicBezTo>
                        <a:pt x="8" y="19"/>
                        <a:pt x="8" y="19"/>
                        <a:pt x="8" y="19"/>
                      </a:cubicBezTo>
                      <a:cubicBezTo>
                        <a:pt x="12" y="0"/>
                        <a:pt x="12" y="0"/>
                        <a:pt x="12" y="0"/>
                      </a:cubicBezTo>
                      <a:cubicBezTo>
                        <a:pt x="5" y="0"/>
                        <a:pt x="5" y="0"/>
                        <a:pt x="5" y="0"/>
                      </a:cubicBezTo>
                      <a:cubicBezTo>
                        <a:pt x="1" y="19"/>
                        <a:pt x="1" y="19"/>
                        <a:pt x="1" y="19"/>
                      </a:cubicBezTo>
                      <a:cubicBezTo>
                        <a:pt x="1" y="21"/>
                        <a:pt x="0" y="23"/>
                        <a:pt x="0" y="23"/>
                      </a:cubicBezTo>
                      <a:cubicBezTo>
                        <a:pt x="0" y="24"/>
                        <a:pt x="0" y="25"/>
                        <a:pt x="0" y="25"/>
                      </a:cubicBezTo>
                      <a:cubicBezTo>
                        <a:pt x="0" y="29"/>
                        <a:pt x="1" y="31"/>
                        <a:pt x="3" y="33"/>
                      </a:cubicBezTo>
                      <a:cubicBezTo>
                        <a:pt x="6" y="35"/>
                        <a:pt x="9" y="36"/>
                        <a:pt x="13" y="36"/>
                      </a:cubicBezTo>
                      <a:cubicBezTo>
                        <a:pt x="16" y="36"/>
                        <a:pt x="19" y="36"/>
                        <a:pt x="22" y="34"/>
                      </a:cubicBezTo>
                      <a:cubicBezTo>
                        <a:pt x="24" y="33"/>
                        <a:pt x="25" y="31"/>
                        <a:pt x="27" y="29"/>
                      </a:cubicBezTo>
                      <a:cubicBezTo>
                        <a:pt x="28" y="27"/>
                        <a:pt x="29" y="24"/>
                        <a:pt x="30" y="20"/>
                      </a:cubicBezTo>
                      <a:cubicBezTo>
                        <a:pt x="34" y="0"/>
                        <a:pt x="34" y="0"/>
                        <a:pt x="34" y="0"/>
                      </a:cubicBezTo>
                      <a:cubicBezTo>
                        <a:pt x="26" y="0"/>
                        <a:pt x="26" y="0"/>
                        <a:pt x="26" y="0"/>
                      </a:cubicBezTo>
                      <a:lnTo>
                        <a:pt x="22" y="2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23" name="ïšlídè"/>
                <p:cNvSpPr/>
                <p:nvPr/>
              </p:nvSpPr>
              <p:spPr bwMode="auto">
                <a:xfrm>
                  <a:off x="7766051" y="3521075"/>
                  <a:ext cx="115888" cy="119063"/>
                </a:xfrm>
                <a:custGeom>
                  <a:avLst/>
                  <a:gdLst>
                    <a:gd name="T0" fmla="*/ 58 w 73"/>
                    <a:gd name="T1" fmla="*/ 0 h 75"/>
                    <a:gd name="T2" fmla="*/ 50 w 73"/>
                    <a:gd name="T3" fmla="*/ 50 h 75"/>
                    <a:gd name="T4" fmla="*/ 29 w 73"/>
                    <a:gd name="T5" fmla="*/ 0 h 75"/>
                    <a:gd name="T6" fmla="*/ 15 w 73"/>
                    <a:gd name="T7" fmla="*/ 0 h 75"/>
                    <a:gd name="T8" fmla="*/ 0 w 73"/>
                    <a:gd name="T9" fmla="*/ 75 h 75"/>
                    <a:gd name="T10" fmla="*/ 13 w 73"/>
                    <a:gd name="T11" fmla="*/ 75 h 75"/>
                    <a:gd name="T12" fmla="*/ 23 w 73"/>
                    <a:gd name="T13" fmla="*/ 25 h 75"/>
                    <a:gd name="T14" fmla="*/ 44 w 73"/>
                    <a:gd name="T15" fmla="*/ 75 h 75"/>
                    <a:gd name="T16" fmla="*/ 58 w 73"/>
                    <a:gd name="T17" fmla="*/ 75 h 75"/>
                    <a:gd name="T18" fmla="*/ 73 w 73"/>
                    <a:gd name="T19" fmla="*/ 0 h 75"/>
                    <a:gd name="T20" fmla="*/ 58 w 73"/>
                    <a:gd name="T2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75">
                      <a:moveTo>
                        <a:pt x="58" y="0"/>
                      </a:moveTo>
                      <a:lnTo>
                        <a:pt x="50" y="50"/>
                      </a:lnTo>
                      <a:lnTo>
                        <a:pt x="29" y="0"/>
                      </a:lnTo>
                      <a:lnTo>
                        <a:pt x="15" y="0"/>
                      </a:lnTo>
                      <a:lnTo>
                        <a:pt x="0" y="75"/>
                      </a:lnTo>
                      <a:lnTo>
                        <a:pt x="13" y="75"/>
                      </a:lnTo>
                      <a:lnTo>
                        <a:pt x="23" y="25"/>
                      </a:lnTo>
                      <a:lnTo>
                        <a:pt x="44" y="75"/>
                      </a:lnTo>
                      <a:lnTo>
                        <a:pt x="58" y="75"/>
                      </a:lnTo>
                      <a:lnTo>
                        <a:pt x="73" y="0"/>
                      </a:lnTo>
                      <a:lnTo>
                        <a:pt x="58"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24" name="ísḻïḍé"/>
                <p:cNvSpPr/>
                <p:nvPr/>
              </p:nvSpPr>
              <p:spPr bwMode="auto">
                <a:xfrm>
                  <a:off x="7881938" y="3521075"/>
                  <a:ext cx="49213" cy="119063"/>
                </a:xfrm>
                <a:custGeom>
                  <a:avLst/>
                  <a:gdLst>
                    <a:gd name="T0" fmla="*/ 0 w 31"/>
                    <a:gd name="T1" fmla="*/ 75 h 75"/>
                    <a:gd name="T2" fmla="*/ 14 w 31"/>
                    <a:gd name="T3" fmla="*/ 75 h 75"/>
                    <a:gd name="T4" fmla="*/ 31 w 31"/>
                    <a:gd name="T5" fmla="*/ 0 h 75"/>
                    <a:gd name="T6" fmla="*/ 14 w 31"/>
                    <a:gd name="T7" fmla="*/ 0 h 75"/>
                    <a:gd name="T8" fmla="*/ 0 w 31"/>
                    <a:gd name="T9" fmla="*/ 75 h 75"/>
                  </a:gdLst>
                  <a:ahLst/>
                  <a:cxnLst>
                    <a:cxn ang="0">
                      <a:pos x="T0" y="T1"/>
                    </a:cxn>
                    <a:cxn ang="0">
                      <a:pos x="T2" y="T3"/>
                    </a:cxn>
                    <a:cxn ang="0">
                      <a:pos x="T4" y="T5"/>
                    </a:cxn>
                    <a:cxn ang="0">
                      <a:pos x="T6" y="T7"/>
                    </a:cxn>
                    <a:cxn ang="0">
                      <a:pos x="T8" y="T9"/>
                    </a:cxn>
                  </a:cxnLst>
                  <a:rect l="0" t="0" r="r" b="b"/>
                  <a:pathLst>
                    <a:path w="31" h="75">
                      <a:moveTo>
                        <a:pt x="0" y="75"/>
                      </a:moveTo>
                      <a:lnTo>
                        <a:pt x="14" y="75"/>
                      </a:lnTo>
                      <a:lnTo>
                        <a:pt x="31" y="0"/>
                      </a:lnTo>
                      <a:lnTo>
                        <a:pt x="14" y="0"/>
                      </a:lnTo>
                      <a:lnTo>
                        <a:pt x="0" y="75"/>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25" name="îṣļïḋe"/>
                <p:cNvSpPr/>
                <p:nvPr/>
              </p:nvSpPr>
              <p:spPr bwMode="auto">
                <a:xfrm>
                  <a:off x="7940676" y="3521075"/>
                  <a:ext cx="109538" cy="119063"/>
                </a:xfrm>
                <a:custGeom>
                  <a:avLst/>
                  <a:gdLst>
                    <a:gd name="T0" fmla="*/ 54 w 69"/>
                    <a:gd name="T1" fmla="*/ 0 h 75"/>
                    <a:gd name="T2" fmla="*/ 23 w 69"/>
                    <a:gd name="T3" fmla="*/ 57 h 75"/>
                    <a:gd name="T4" fmla="*/ 15 w 69"/>
                    <a:gd name="T5" fmla="*/ 0 h 75"/>
                    <a:gd name="T6" fmla="*/ 0 w 69"/>
                    <a:gd name="T7" fmla="*/ 0 h 75"/>
                    <a:gd name="T8" fmla="*/ 13 w 69"/>
                    <a:gd name="T9" fmla="*/ 75 h 75"/>
                    <a:gd name="T10" fmla="*/ 29 w 69"/>
                    <a:gd name="T11" fmla="*/ 75 h 75"/>
                    <a:gd name="T12" fmla="*/ 69 w 69"/>
                    <a:gd name="T13" fmla="*/ 0 h 75"/>
                    <a:gd name="T14" fmla="*/ 54 w 69"/>
                    <a:gd name="T15" fmla="*/ 0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75">
                      <a:moveTo>
                        <a:pt x="54" y="0"/>
                      </a:moveTo>
                      <a:lnTo>
                        <a:pt x="23" y="57"/>
                      </a:lnTo>
                      <a:lnTo>
                        <a:pt x="15" y="0"/>
                      </a:lnTo>
                      <a:lnTo>
                        <a:pt x="0" y="0"/>
                      </a:lnTo>
                      <a:lnTo>
                        <a:pt x="13" y="75"/>
                      </a:lnTo>
                      <a:lnTo>
                        <a:pt x="29" y="75"/>
                      </a:lnTo>
                      <a:lnTo>
                        <a:pt x="69" y="0"/>
                      </a:lnTo>
                      <a:lnTo>
                        <a:pt x="54"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26" name="íṥļiḓe"/>
                <p:cNvSpPr/>
                <p:nvPr/>
              </p:nvSpPr>
              <p:spPr bwMode="auto">
                <a:xfrm>
                  <a:off x="8037513" y="3521075"/>
                  <a:ext cx="111125" cy="119063"/>
                </a:xfrm>
                <a:custGeom>
                  <a:avLst/>
                  <a:gdLst>
                    <a:gd name="T0" fmla="*/ 68 w 70"/>
                    <a:gd name="T1" fmla="*/ 12 h 75"/>
                    <a:gd name="T2" fmla="*/ 70 w 70"/>
                    <a:gd name="T3" fmla="*/ 0 h 75"/>
                    <a:gd name="T4" fmla="*/ 16 w 70"/>
                    <a:gd name="T5" fmla="*/ 0 h 75"/>
                    <a:gd name="T6" fmla="*/ 0 w 70"/>
                    <a:gd name="T7" fmla="*/ 75 h 75"/>
                    <a:gd name="T8" fmla="*/ 58 w 70"/>
                    <a:gd name="T9" fmla="*/ 75 h 75"/>
                    <a:gd name="T10" fmla="*/ 60 w 70"/>
                    <a:gd name="T11" fmla="*/ 63 h 75"/>
                    <a:gd name="T12" fmla="*/ 16 w 70"/>
                    <a:gd name="T13" fmla="*/ 63 h 75"/>
                    <a:gd name="T14" fmla="*/ 22 w 70"/>
                    <a:gd name="T15" fmla="*/ 42 h 75"/>
                    <a:gd name="T16" fmla="*/ 60 w 70"/>
                    <a:gd name="T17" fmla="*/ 42 h 75"/>
                    <a:gd name="T18" fmla="*/ 62 w 70"/>
                    <a:gd name="T19" fmla="*/ 29 h 75"/>
                    <a:gd name="T20" fmla="*/ 24 w 70"/>
                    <a:gd name="T21" fmla="*/ 29 h 75"/>
                    <a:gd name="T22" fmla="*/ 29 w 70"/>
                    <a:gd name="T23" fmla="*/ 12 h 75"/>
                    <a:gd name="T24" fmla="*/ 68 w 70"/>
                    <a:gd name="T25"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5">
                      <a:moveTo>
                        <a:pt x="68" y="12"/>
                      </a:moveTo>
                      <a:lnTo>
                        <a:pt x="70" y="0"/>
                      </a:lnTo>
                      <a:lnTo>
                        <a:pt x="16" y="0"/>
                      </a:lnTo>
                      <a:lnTo>
                        <a:pt x="0" y="75"/>
                      </a:lnTo>
                      <a:lnTo>
                        <a:pt x="58" y="75"/>
                      </a:lnTo>
                      <a:lnTo>
                        <a:pt x="60" y="63"/>
                      </a:lnTo>
                      <a:lnTo>
                        <a:pt x="16" y="63"/>
                      </a:lnTo>
                      <a:lnTo>
                        <a:pt x="22" y="42"/>
                      </a:lnTo>
                      <a:lnTo>
                        <a:pt x="60" y="42"/>
                      </a:lnTo>
                      <a:lnTo>
                        <a:pt x="62" y="29"/>
                      </a:lnTo>
                      <a:lnTo>
                        <a:pt x="24" y="29"/>
                      </a:lnTo>
                      <a:lnTo>
                        <a:pt x="29" y="12"/>
                      </a:lnTo>
                      <a:lnTo>
                        <a:pt x="68" y="12"/>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27" name="i$lîḋè"/>
                <p:cNvSpPr/>
                <p:nvPr/>
              </p:nvSpPr>
              <p:spPr bwMode="auto">
                <a:xfrm>
                  <a:off x="8145463" y="3521075"/>
                  <a:ext cx="115888" cy="119063"/>
                </a:xfrm>
                <a:custGeom>
                  <a:avLst/>
                  <a:gdLst>
                    <a:gd name="T0" fmla="*/ 30 w 35"/>
                    <a:gd name="T1" fmla="*/ 1 h 36"/>
                    <a:gd name="T2" fmla="*/ 24 w 35"/>
                    <a:gd name="T3" fmla="*/ 0 h 36"/>
                    <a:gd name="T4" fmla="*/ 8 w 35"/>
                    <a:gd name="T5" fmla="*/ 0 h 36"/>
                    <a:gd name="T6" fmla="*/ 0 w 35"/>
                    <a:gd name="T7" fmla="*/ 36 h 36"/>
                    <a:gd name="T8" fmla="*/ 8 w 35"/>
                    <a:gd name="T9" fmla="*/ 36 h 36"/>
                    <a:gd name="T10" fmla="*/ 11 w 35"/>
                    <a:gd name="T11" fmla="*/ 21 h 36"/>
                    <a:gd name="T12" fmla="*/ 14 w 35"/>
                    <a:gd name="T13" fmla="*/ 21 h 36"/>
                    <a:gd name="T14" fmla="*/ 17 w 35"/>
                    <a:gd name="T15" fmla="*/ 22 h 36"/>
                    <a:gd name="T16" fmla="*/ 21 w 35"/>
                    <a:gd name="T17" fmla="*/ 26 h 36"/>
                    <a:gd name="T18" fmla="*/ 24 w 35"/>
                    <a:gd name="T19" fmla="*/ 36 h 36"/>
                    <a:gd name="T20" fmla="*/ 32 w 35"/>
                    <a:gd name="T21" fmla="*/ 36 h 36"/>
                    <a:gd name="T22" fmla="*/ 27 w 35"/>
                    <a:gd name="T23" fmla="*/ 24 h 36"/>
                    <a:gd name="T24" fmla="*/ 24 w 35"/>
                    <a:gd name="T25" fmla="*/ 21 h 36"/>
                    <a:gd name="T26" fmla="*/ 32 w 35"/>
                    <a:gd name="T27" fmla="*/ 17 h 36"/>
                    <a:gd name="T28" fmla="*/ 35 w 35"/>
                    <a:gd name="T29" fmla="*/ 9 h 36"/>
                    <a:gd name="T30" fmla="*/ 34 w 35"/>
                    <a:gd name="T31" fmla="*/ 4 h 36"/>
                    <a:gd name="T32" fmla="*/ 30 w 35"/>
                    <a:gd name="T33" fmla="*/ 1 h 36"/>
                    <a:gd name="T34" fmla="*/ 27 w 35"/>
                    <a:gd name="T35" fmla="*/ 13 h 36"/>
                    <a:gd name="T36" fmla="*/ 24 w 35"/>
                    <a:gd name="T37" fmla="*/ 15 h 36"/>
                    <a:gd name="T38" fmla="*/ 16 w 35"/>
                    <a:gd name="T39" fmla="*/ 16 h 36"/>
                    <a:gd name="T40" fmla="*/ 12 w 35"/>
                    <a:gd name="T41" fmla="*/ 16 h 36"/>
                    <a:gd name="T42" fmla="*/ 14 w 35"/>
                    <a:gd name="T43" fmla="*/ 6 h 36"/>
                    <a:gd name="T44" fmla="*/ 22 w 35"/>
                    <a:gd name="T45" fmla="*/ 6 h 36"/>
                    <a:gd name="T46" fmla="*/ 26 w 35"/>
                    <a:gd name="T47" fmla="*/ 7 h 36"/>
                    <a:gd name="T48" fmla="*/ 28 w 35"/>
                    <a:gd name="T49" fmla="*/ 10 h 36"/>
                    <a:gd name="T50" fmla="*/ 27 w 35"/>
                    <a:gd name="T51" fmla="*/ 1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 h="36">
                      <a:moveTo>
                        <a:pt x="30" y="1"/>
                      </a:moveTo>
                      <a:cubicBezTo>
                        <a:pt x="28" y="0"/>
                        <a:pt x="26" y="0"/>
                        <a:pt x="24" y="0"/>
                      </a:cubicBezTo>
                      <a:cubicBezTo>
                        <a:pt x="8" y="0"/>
                        <a:pt x="8" y="0"/>
                        <a:pt x="8" y="0"/>
                      </a:cubicBezTo>
                      <a:cubicBezTo>
                        <a:pt x="0" y="36"/>
                        <a:pt x="0" y="36"/>
                        <a:pt x="0" y="36"/>
                      </a:cubicBezTo>
                      <a:cubicBezTo>
                        <a:pt x="8" y="36"/>
                        <a:pt x="8" y="36"/>
                        <a:pt x="8" y="36"/>
                      </a:cubicBezTo>
                      <a:cubicBezTo>
                        <a:pt x="11" y="21"/>
                        <a:pt x="11" y="21"/>
                        <a:pt x="11" y="21"/>
                      </a:cubicBezTo>
                      <a:cubicBezTo>
                        <a:pt x="14" y="21"/>
                        <a:pt x="14" y="21"/>
                        <a:pt x="14" y="21"/>
                      </a:cubicBezTo>
                      <a:cubicBezTo>
                        <a:pt x="15" y="21"/>
                        <a:pt x="17" y="21"/>
                        <a:pt x="17" y="22"/>
                      </a:cubicBezTo>
                      <a:cubicBezTo>
                        <a:pt x="18" y="22"/>
                        <a:pt x="20" y="24"/>
                        <a:pt x="21" y="26"/>
                      </a:cubicBezTo>
                      <a:cubicBezTo>
                        <a:pt x="22" y="31"/>
                        <a:pt x="24" y="34"/>
                        <a:pt x="24" y="36"/>
                      </a:cubicBezTo>
                      <a:cubicBezTo>
                        <a:pt x="32" y="36"/>
                        <a:pt x="32" y="36"/>
                        <a:pt x="32" y="36"/>
                      </a:cubicBezTo>
                      <a:cubicBezTo>
                        <a:pt x="30" y="31"/>
                        <a:pt x="28" y="27"/>
                        <a:pt x="27" y="24"/>
                      </a:cubicBezTo>
                      <a:cubicBezTo>
                        <a:pt x="26" y="23"/>
                        <a:pt x="25" y="21"/>
                        <a:pt x="24" y="21"/>
                      </a:cubicBezTo>
                      <a:cubicBezTo>
                        <a:pt x="28" y="20"/>
                        <a:pt x="30" y="19"/>
                        <a:pt x="32" y="17"/>
                      </a:cubicBezTo>
                      <a:cubicBezTo>
                        <a:pt x="34" y="15"/>
                        <a:pt x="35" y="13"/>
                        <a:pt x="35" y="9"/>
                      </a:cubicBezTo>
                      <a:cubicBezTo>
                        <a:pt x="35" y="7"/>
                        <a:pt x="34" y="6"/>
                        <a:pt x="34" y="4"/>
                      </a:cubicBezTo>
                      <a:cubicBezTo>
                        <a:pt x="33" y="3"/>
                        <a:pt x="31" y="2"/>
                        <a:pt x="30" y="1"/>
                      </a:cubicBezTo>
                      <a:close/>
                      <a:moveTo>
                        <a:pt x="27" y="13"/>
                      </a:moveTo>
                      <a:cubicBezTo>
                        <a:pt x="26" y="14"/>
                        <a:pt x="25" y="14"/>
                        <a:pt x="24" y="15"/>
                      </a:cubicBezTo>
                      <a:cubicBezTo>
                        <a:pt x="22" y="15"/>
                        <a:pt x="20" y="16"/>
                        <a:pt x="16" y="16"/>
                      </a:cubicBezTo>
                      <a:cubicBezTo>
                        <a:pt x="12" y="16"/>
                        <a:pt x="12" y="16"/>
                        <a:pt x="12" y="16"/>
                      </a:cubicBezTo>
                      <a:cubicBezTo>
                        <a:pt x="14" y="6"/>
                        <a:pt x="14" y="6"/>
                        <a:pt x="14" y="6"/>
                      </a:cubicBezTo>
                      <a:cubicBezTo>
                        <a:pt x="22" y="6"/>
                        <a:pt x="22" y="6"/>
                        <a:pt x="22" y="6"/>
                      </a:cubicBezTo>
                      <a:cubicBezTo>
                        <a:pt x="24" y="6"/>
                        <a:pt x="25" y="6"/>
                        <a:pt x="26" y="7"/>
                      </a:cubicBezTo>
                      <a:cubicBezTo>
                        <a:pt x="27" y="7"/>
                        <a:pt x="28" y="8"/>
                        <a:pt x="28" y="10"/>
                      </a:cubicBezTo>
                      <a:cubicBezTo>
                        <a:pt x="28" y="11"/>
                        <a:pt x="27" y="12"/>
                        <a:pt x="27" y="13"/>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28" name="îṥľíḍè"/>
                <p:cNvSpPr/>
                <p:nvPr/>
              </p:nvSpPr>
              <p:spPr bwMode="auto">
                <a:xfrm>
                  <a:off x="8267701" y="3521075"/>
                  <a:ext cx="98425" cy="119063"/>
                </a:xfrm>
                <a:custGeom>
                  <a:avLst/>
                  <a:gdLst>
                    <a:gd name="T0" fmla="*/ 17 w 30"/>
                    <a:gd name="T1" fmla="*/ 5 h 36"/>
                    <a:gd name="T2" fmla="*/ 22 w 30"/>
                    <a:gd name="T3" fmla="*/ 7 h 36"/>
                    <a:gd name="T4" fmla="*/ 23 w 30"/>
                    <a:gd name="T5" fmla="*/ 11 h 36"/>
                    <a:gd name="T6" fmla="*/ 30 w 30"/>
                    <a:gd name="T7" fmla="*/ 10 h 36"/>
                    <a:gd name="T8" fmla="*/ 27 w 30"/>
                    <a:gd name="T9" fmla="*/ 3 h 36"/>
                    <a:gd name="T10" fmla="*/ 17 w 30"/>
                    <a:gd name="T11" fmla="*/ 0 h 36"/>
                    <a:gd name="T12" fmla="*/ 8 w 30"/>
                    <a:gd name="T13" fmla="*/ 3 h 36"/>
                    <a:gd name="T14" fmla="*/ 4 w 30"/>
                    <a:gd name="T15" fmla="*/ 10 h 36"/>
                    <a:gd name="T16" fmla="*/ 6 w 30"/>
                    <a:gd name="T17" fmla="*/ 14 h 36"/>
                    <a:gd name="T18" fmla="*/ 8 w 30"/>
                    <a:gd name="T19" fmla="*/ 18 h 36"/>
                    <a:gd name="T20" fmla="*/ 15 w 30"/>
                    <a:gd name="T21" fmla="*/ 21 h 36"/>
                    <a:gd name="T22" fmla="*/ 20 w 30"/>
                    <a:gd name="T23" fmla="*/ 23 h 36"/>
                    <a:gd name="T24" fmla="*/ 21 w 30"/>
                    <a:gd name="T25" fmla="*/ 26 h 36"/>
                    <a:gd name="T26" fmla="*/ 19 w 30"/>
                    <a:gd name="T27" fmla="*/ 29 h 36"/>
                    <a:gd name="T28" fmla="*/ 14 w 30"/>
                    <a:gd name="T29" fmla="*/ 30 h 36"/>
                    <a:gd name="T30" fmla="*/ 8 w 30"/>
                    <a:gd name="T31" fmla="*/ 28 h 36"/>
                    <a:gd name="T32" fmla="*/ 7 w 30"/>
                    <a:gd name="T33" fmla="*/ 24 h 36"/>
                    <a:gd name="T34" fmla="*/ 0 w 30"/>
                    <a:gd name="T35" fmla="*/ 24 h 36"/>
                    <a:gd name="T36" fmla="*/ 1 w 30"/>
                    <a:gd name="T37" fmla="*/ 30 h 36"/>
                    <a:gd name="T38" fmla="*/ 6 w 30"/>
                    <a:gd name="T39" fmla="*/ 35 h 36"/>
                    <a:gd name="T40" fmla="*/ 14 w 30"/>
                    <a:gd name="T41" fmla="*/ 36 h 36"/>
                    <a:gd name="T42" fmla="*/ 24 w 30"/>
                    <a:gd name="T43" fmla="*/ 33 h 36"/>
                    <a:gd name="T44" fmla="*/ 28 w 30"/>
                    <a:gd name="T45" fmla="*/ 25 h 36"/>
                    <a:gd name="T46" fmla="*/ 26 w 30"/>
                    <a:gd name="T47" fmla="*/ 19 h 36"/>
                    <a:gd name="T48" fmla="*/ 18 w 30"/>
                    <a:gd name="T49" fmla="*/ 14 h 36"/>
                    <a:gd name="T50" fmla="*/ 13 w 30"/>
                    <a:gd name="T51" fmla="*/ 12 h 36"/>
                    <a:gd name="T52" fmla="*/ 11 w 30"/>
                    <a:gd name="T53" fmla="*/ 9 h 36"/>
                    <a:gd name="T54" fmla="*/ 13 w 30"/>
                    <a:gd name="T55" fmla="*/ 6 h 36"/>
                    <a:gd name="T56" fmla="*/ 17 w 30"/>
                    <a:gd name="T57"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36">
                      <a:moveTo>
                        <a:pt x="17" y="5"/>
                      </a:moveTo>
                      <a:cubicBezTo>
                        <a:pt x="19" y="5"/>
                        <a:pt x="21" y="6"/>
                        <a:pt x="22" y="7"/>
                      </a:cubicBezTo>
                      <a:cubicBezTo>
                        <a:pt x="23" y="8"/>
                        <a:pt x="23" y="9"/>
                        <a:pt x="23" y="11"/>
                      </a:cubicBezTo>
                      <a:cubicBezTo>
                        <a:pt x="30" y="10"/>
                        <a:pt x="30" y="10"/>
                        <a:pt x="30" y="10"/>
                      </a:cubicBezTo>
                      <a:cubicBezTo>
                        <a:pt x="30" y="7"/>
                        <a:pt x="29" y="4"/>
                        <a:pt x="27" y="3"/>
                      </a:cubicBezTo>
                      <a:cubicBezTo>
                        <a:pt x="24" y="1"/>
                        <a:pt x="21" y="0"/>
                        <a:pt x="17" y="0"/>
                      </a:cubicBezTo>
                      <a:cubicBezTo>
                        <a:pt x="13" y="0"/>
                        <a:pt x="10" y="1"/>
                        <a:pt x="8" y="3"/>
                      </a:cubicBezTo>
                      <a:cubicBezTo>
                        <a:pt x="5" y="5"/>
                        <a:pt x="4" y="7"/>
                        <a:pt x="4" y="10"/>
                      </a:cubicBezTo>
                      <a:cubicBezTo>
                        <a:pt x="4" y="12"/>
                        <a:pt x="5" y="13"/>
                        <a:pt x="6" y="14"/>
                      </a:cubicBezTo>
                      <a:cubicBezTo>
                        <a:pt x="6" y="16"/>
                        <a:pt x="7" y="17"/>
                        <a:pt x="8" y="18"/>
                      </a:cubicBezTo>
                      <a:cubicBezTo>
                        <a:pt x="10" y="18"/>
                        <a:pt x="12" y="19"/>
                        <a:pt x="15" y="21"/>
                      </a:cubicBezTo>
                      <a:cubicBezTo>
                        <a:pt x="17" y="22"/>
                        <a:pt x="19" y="23"/>
                        <a:pt x="20" y="23"/>
                      </a:cubicBezTo>
                      <a:cubicBezTo>
                        <a:pt x="20" y="24"/>
                        <a:pt x="21" y="25"/>
                        <a:pt x="21" y="26"/>
                      </a:cubicBezTo>
                      <a:cubicBezTo>
                        <a:pt x="21" y="27"/>
                        <a:pt x="20" y="28"/>
                        <a:pt x="19" y="29"/>
                      </a:cubicBezTo>
                      <a:cubicBezTo>
                        <a:pt x="18" y="30"/>
                        <a:pt x="16" y="30"/>
                        <a:pt x="14" y="30"/>
                      </a:cubicBezTo>
                      <a:cubicBezTo>
                        <a:pt x="11" y="30"/>
                        <a:pt x="9" y="30"/>
                        <a:pt x="8" y="28"/>
                      </a:cubicBezTo>
                      <a:cubicBezTo>
                        <a:pt x="8" y="28"/>
                        <a:pt x="7" y="26"/>
                        <a:pt x="7" y="24"/>
                      </a:cubicBezTo>
                      <a:cubicBezTo>
                        <a:pt x="0" y="24"/>
                        <a:pt x="0" y="24"/>
                        <a:pt x="0" y="24"/>
                      </a:cubicBezTo>
                      <a:cubicBezTo>
                        <a:pt x="0" y="27"/>
                        <a:pt x="0" y="29"/>
                        <a:pt x="1" y="30"/>
                      </a:cubicBezTo>
                      <a:cubicBezTo>
                        <a:pt x="2" y="32"/>
                        <a:pt x="4" y="34"/>
                        <a:pt x="6" y="35"/>
                      </a:cubicBezTo>
                      <a:cubicBezTo>
                        <a:pt x="8" y="36"/>
                        <a:pt x="11" y="36"/>
                        <a:pt x="14" y="36"/>
                      </a:cubicBezTo>
                      <a:cubicBezTo>
                        <a:pt x="18" y="36"/>
                        <a:pt x="22" y="35"/>
                        <a:pt x="24" y="33"/>
                      </a:cubicBezTo>
                      <a:cubicBezTo>
                        <a:pt x="27" y="31"/>
                        <a:pt x="28" y="28"/>
                        <a:pt x="28" y="25"/>
                      </a:cubicBezTo>
                      <a:cubicBezTo>
                        <a:pt x="28" y="22"/>
                        <a:pt x="27" y="20"/>
                        <a:pt x="26" y="19"/>
                      </a:cubicBezTo>
                      <a:cubicBezTo>
                        <a:pt x="25" y="18"/>
                        <a:pt x="22" y="16"/>
                        <a:pt x="18" y="14"/>
                      </a:cubicBezTo>
                      <a:cubicBezTo>
                        <a:pt x="15" y="13"/>
                        <a:pt x="13" y="12"/>
                        <a:pt x="13" y="12"/>
                      </a:cubicBezTo>
                      <a:cubicBezTo>
                        <a:pt x="12" y="11"/>
                        <a:pt x="11" y="10"/>
                        <a:pt x="11" y="9"/>
                      </a:cubicBezTo>
                      <a:cubicBezTo>
                        <a:pt x="11" y="8"/>
                        <a:pt x="12" y="7"/>
                        <a:pt x="13" y="6"/>
                      </a:cubicBezTo>
                      <a:cubicBezTo>
                        <a:pt x="14" y="6"/>
                        <a:pt x="15" y="5"/>
                        <a:pt x="17" y="5"/>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29" name="íṣḷídé"/>
                <p:cNvSpPr/>
                <p:nvPr/>
              </p:nvSpPr>
              <p:spPr bwMode="auto">
                <a:xfrm>
                  <a:off x="8374063" y="3521075"/>
                  <a:ext cx="46038" cy="119063"/>
                </a:xfrm>
                <a:custGeom>
                  <a:avLst/>
                  <a:gdLst>
                    <a:gd name="T0" fmla="*/ 0 w 29"/>
                    <a:gd name="T1" fmla="*/ 75 h 75"/>
                    <a:gd name="T2" fmla="*/ 14 w 29"/>
                    <a:gd name="T3" fmla="*/ 75 h 75"/>
                    <a:gd name="T4" fmla="*/ 29 w 29"/>
                    <a:gd name="T5" fmla="*/ 0 h 75"/>
                    <a:gd name="T6" fmla="*/ 14 w 29"/>
                    <a:gd name="T7" fmla="*/ 0 h 75"/>
                    <a:gd name="T8" fmla="*/ 0 w 29"/>
                    <a:gd name="T9" fmla="*/ 75 h 75"/>
                  </a:gdLst>
                  <a:ahLst/>
                  <a:cxnLst>
                    <a:cxn ang="0">
                      <a:pos x="T0" y="T1"/>
                    </a:cxn>
                    <a:cxn ang="0">
                      <a:pos x="T2" y="T3"/>
                    </a:cxn>
                    <a:cxn ang="0">
                      <a:pos x="T4" y="T5"/>
                    </a:cxn>
                    <a:cxn ang="0">
                      <a:pos x="T6" y="T7"/>
                    </a:cxn>
                    <a:cxn ang="0">
                      <a:pos x="T8" y="T9"/>
                    </a:cxn>
                  </a:cxnLst>
                  <a:rect l="0" t="0" r="r" b="b"/>
                  <a:pathLst>
                    <a:path w="29" h="75">
                      <a:moveTo>
                        <a:pt x="0" y="75"/>
                      </a:moveTo>
                      <a:lnTo>
                        <a:pt x="14" y="75"/>
                      </a:lnTo>
                      <a:lnTo>
                        <a:pt x="29" y="0"/>
                      </a:lnTo>
                      <a:lnTo>
                        <a:pt x="14" y="0"/>
                      </a:lnTo>
                      <a:lnTo>
                        <a:pt x="0" y="75"/>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0" name="íśļiḑé"/>
                <p:cNvSpPr/>
                <p:nvPr/>
              </p:nvSpPr>
              <p:spPr bwMode="auto">
                <a:xfrm>
                  <a:off x="8432801" y="3521075"/>
                  <a:ext cx="95250" cy="119063"/>
                </a:xfrm>
                <a:custGeom>
                  <a:avLst/>
                  <a:gdLst>
                    <a:gd name="T0" fmla="*/ 0 w 60"/>
                    <a:gd name="T1" fmla="*/ 12 h 75"/>
                    <a:gd name="T2" fmla="*/ 21 w 60"/>
                    <a:gd name="T3" fmla="*/ 12 h 75"/>
                    <a:gd name="T4" fmla="*/ 8 w 60"/>
                    <a:gd name="T5" fmla="*/ 75 h 75"/>
                    <a:gd name="T6" fmla="*/ 23 w 60"/>
                    <a:gd name="T7" fmla="*/ 75 h 75"/>
                    <a:gd name="T8" fmla="*/ 35 w 60"/>
                    <a:gd name="T9" fmla="*/ 12 h 75"/>
                    <a:gd name="T10" fmla="*/ 58 w 60"/>
                    <a:gd name="T11" fmla="*/ 12 h 75"/>
                    <a:gd name="T12" fmla="*/ 60 w 60"/>
                    <a:gd name="T13" fmla="*/ 0 h 75"/>
                    <a:gd name="T14" fmla="*/ 2 w 60"/>
                    <a:gd name="T15" fmla="*/ 0 h 75"/>
                    <a:gd name="T16" fmla="*/ 0 w 60"/>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75">
                      <a:moveTo>
                        <a:pt x="0" y="12"/>
                      </a:moveTo>
                      <a:lnTo>
                        <a:pt x="21" y="12"/>
                      </a:lnTo>
                      <a:lnTo>
                        <a:pt x="8" y="75"/>
                      </a:lnTo>
                      <a:lnTo>
                        <a:pt x="23" y="75"/>
                      </a:lnTo>
                      <a:lnTo>
                        <a:pt x="35" y="12"/>
                      </a:lnTo>
                      <a:lnTo>
                        <a:pt x="58" y="12"/>
                      </a:lnTo>
                      <a:lnTo>
                        <a:pt x="60" y="0"/>
                      </a:lnTo>
                      <a:lnTo>
                        <a:pt x="2" y="0"/>
                      </a:lnTo>
                      <a:lnTo>
                        <a:pt x="0" y="12"/>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31" name="işḻîdè"/>
                <p:cNvSpPr/>
                <p:nvPr/>
              </p:nvSpPr>
              <p:spPr bwMode="auto">
                <a:xfrm>
                  <a:off x="8531226" y="3521075"/>
                  <a:ext cx="109538" cy="119063"/>
                </a:xfrm>
                <a:custGeom>
                  <a:avLst/>
                  <a:gdLst>
                    <a:gd name="T0" fmla="*/ 25 w 33"/>
                    <a:gd name="T1" fmla="*/ 0 h 36"/>
                    <a:gd name="T2" fmla="*/ 19 w 33"/>
                    <a:gd name="T3" fmla="*/ 7 h 36"/>
                    <a:gd name="T4" fmla="*/ 16 w 33"/>
                    <a:gd name="T5" fmla="*/ 12 h 36"/>
                    <a:gd name="T6" fmla="*/ 14 w 33"/>
                    <a:gd name="T7" fmla="*/ 15 h 36"/>
                    <a:gd name="T8" fmla="*/ 12 w 33"/>
                    <a:gd name="T9" fmla="*/ 10 h 36"/>
                    <a:gd name="T10" fmla="*/ 8 w 33"/>
                    <a:gd name="T11" fmla="*/ 0 h 36"/>
                    <a:gd name="T12" fmla="*/ 0 w 33"/>
                    <a:gd name="T13" fmla="*/ 0 h 36"/>
                    <a:gd name="T14" fmla="*/ 10 w 33"/>
                    <a:gd name="T15" fmla="*/ 22 h 36"/>
                    <a:gd name="T16" fmla="*/ 7 w 33"/>
                    <a:gd name="T17" fmla="*/ 36 h 36"/>
                    <a:gd name="T18" fmla="*/ 14 w 33"/>
                    <a:gd name="T19" fmla="*/ 36 h 36"/>
                    <a:gd name="T20" fmla="*/ 17 w 33"/>
                    <a:gd name="T21" fmla="*/ 23 h 36"/>
                    <a:gd name="T22" fmla="*/ 33 w 33"/>
                    <a:gd name="T23" fmla="*/ 0 h 36"/>
                    <a:gd name="T24" fmla="*/ 25 w 33"/>
                    <a:gd name="T2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36">
                      <a:moveTo>
                        <a:pt x="25" y="0"/>
                      </a:moveTo>
                      <a:cubicBezTo>
                        <a:pt x="19" y="7"/>
                        <a:pt x="19" y="7"/>
                        <a:pt x="19" y="7"/>
                      </a:cubicBezTo>
                      <a:cubicBezTo>
                        <a:pt x="16" y="12"/>
                        <a:pt x="16" y="12"/>
                        <a:pt x="16" y="12"/>
                      </a:cubicBezTo>
                      <a:cubicBezTo>
                        <a:pt x="15" y="13"/>
                        <a:pt x="15" y="14"/>
                        <a:pt x="14" y="15"/>
                      </a:cubicBezTo>
                      <a:cubicBezTo>
                        <a:pt x="14" y="14"/>
                        <a:pt x="13" y="13"/>
                        <a:pt x="12" y="10"/>
                      </a:cubicBezTo>
                      <a:cubicBezTo>
                        <a:pt x="8" y="0"/>
                        <a:pt x="8" y="0"/>
                        <a:pt x="8" y="0"/>
                      </a:cubicBezTo>
                      <a:cubicBezTo>
                        <a:pt x="0" y="0"/>
                        <a:pt x="0" y="0"/>
                        <a:pt x="0" y="0"/>
                      </a:cubicBezTo>
                      <a:cubicBezTo>
                        <a:pt x="10" y="22"/>
                        <a:pt x="10" y="22"/>
                        <a:pt x="10" y="22"/>
                      </a:cubicBezTo>
                      <a:cubicBezTo>
                        <a:pt x="7" y="36"/>
                        <a:pt x="7" y="36"/>
                        <a:pt x="7" y="36"/>
                      </a:cubicBezTo>
                      <a:cubicBezTo>
                        <a:pt x="14" y="36"/>
                        <a:pt x="14" y="36"/>
                        <a:pt x="14" y="36"/>
                      </a:cubicBezTo>
                      <a:cubicBezTo>
                        <a:pt x="17" y="23"/>
                        <a:pt x="17" y="23"/>
                        <a:pt x="17" y="23"/>
                      </a:cubicBezTo>
                      <a:cubicBezTo>
                        <a:pt x="33" y="0"/>
                        <a:pt x="33" y="0"/>
                        <a:pt x="33" y="0"/>
                      </a:cubicBezTo>
                      <a:lnTo>
                        <a:pt x="25"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grpSp>
        </p:grpSp>
      </p:grpSp>
      <p:pic>
        <p:nvPicPr>
          <p:cNvPr id="113" name="图片 112" descr="徽标&#10;&#10;描述已自动生成"/>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30569" y="6032865"/>
            <a:ext cx="704610" cy="701792"/>
          </a:xfrm>
          <a:prstGeom prst="rect">
            <a:avLst/>
          </a:prstGeom>
        </p:spPr>
      </p:pic>
      <p:pic>
        <p:nvPicPr>
          <p:cNvPr id="114" name="图片 1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747609" y="6080409"/>
            <a:ext cx="476327" cy="644954"/>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9" Type="http://schemas.openxmlformats.org/officeDocument/2006/relationships/theme" Target="../theme/theme1.xml"/><Relationship Id="rId8" Type="http://schemas.openxmlformats.org/officeDocument/2006/relationships/image" Target="../media/image3.jpeg"/><Relationship Id="rId7" Type="http://schemas.openxmlformats.org/officeDocument/2006/relationships/image" Target="../media/image2.png"/><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dirty="0"/>
              <a:t>—</a:t>
            </a:r>
            <a:r>
              <a:rPr lang="zh-CN" altLang="en-US"/>
              <a:t>页眉和页脚中修改此文本</a:t>
            </a:r>
            <a:endParaRPr lang="zh-CN" altLang="en-US" dirty="0"/>
          </a:p>
        </p:txBody>
      </p:sp>
      <p:sp>
        <p:nvSpPr>
          <p:cNvPr id="10" name="灯片编号占位符 9"/>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fld>
            <a:endParaRPr lang="zh-CN" altLang="en-US"/>
          </a:p>
        </p:txBody>
      </p:sp>
      <p:pic>
        <p:nvPicPr>
          <p:cNvPr id="112" name="图片 111" descr="徽标&#10;&#10;描述已自动生成"/>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443698" y="499201"/>
            <a:ext cx="475431" cy="473530"/>
          </a:xfrm>
          <a:prstGeom prst="rect">
            <a:avLst/>
          </a:prstGeom>
        </p:spPr>
      </p:pic>
      <p:pic>
        <p:nvPicPr>
          <p:cNvPr id="113" name="图片 11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013967" y="499201"/>
            <a:ext cx="349723" cy="47353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vmlDrawing" Target="../drawings/vmlDrawing1.vml"/><Relationship Id="rId7" Type="http://schemas.openxmlformats.org/officeDocument/2006/relationships/slideLayout" Target="../slideLayouts/slideLayout1.xml"/><Relationship Id="rId6" Type="http://schemas.openxmlformats.org/officeDocument/2006/relationships/themeOverride" Target="../theme/themeOverride1.xml"/><Relationship Id="rId5" Type="http://schemas.openxmlformats.org/officeDocument/2006/relationships/tags" Target="../tags/tag3.xml"/><Relationship Id="rId4" Type="http://schemas.openxmlformats.org/officeDocument/2006/relationships/tags" Target="../tags/tag2.xml"/><Relationship Id="rId3" Type="http://schemas.openxmlformats.org/officeDocument/2006/relationships/image" Target="../media/image4.emf"/><Relationship Id="rId2" Type="http://schemas.openxmlformats.org/officeDocument/2006/relationships/oleObject" Target="../embeddings/oleObject1.bin"/><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xml"/><Relationship Id="rId1"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xml"/><Relationship Id="rId1" Type="http://schemas.openxmlformats.org/officeDocument/2006/relationships/image" Target="../media/image11.png"/></Relationships>
</file>

<file path=ppt/slides/_rels/slide12.xml.rels><?xml version="1.0" encoding="UTF-8" standalone="yes"?>
<Relationships xmlns="http://schemas.openxmlformats.org/package/2006/relationships"><Relationship Id="rId4" Type="http://schemas.openxmlformats.org/officeDocument/2006/relationships/slideLayout" Target="../slideLayouts/slideLayout4.xml"/><Relationship Id="rId3" Type="http://schemas.openxmlformats.org/officeDocument/2006/relationships/tags" Target="../tags/tag14.xml"/><Relationship Id="rId2" Type="http://schemas.openxmlformats.org/officeDocument/2006/relationships/image" Target="../media/image13.png"/><Relationship Id="rId1"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xml"/><Relationship Id="rId1" Type="http://schemas.openxmlformats.org/officeDocument/2006/relationships/image" Target="../media/image14.png"/></Relationships>
</file>

<file path=ppt/slides/_rels/slide14.xml.rels><?xml version="1.0" encoding="UTF-8" standalone="yes"?>
<Relationships xmlns="http://schemas.openxmlformats.org/package/2006/relationships"><Relationship Id="rId4" Type="http://schemas.openxmlformats.org/officeDocument/2006/relationships/slideLayout" Target="../slideLayouts/slideLayout4.xml"/><Relationship Id="rId3" Type="http://schemas.openxmlformats.org/officeDocument/2006/relationships/tags" Target="../tags/tag16.xml"/><Relationship Id="rId2" Type="http://schemas.openxmlformats.org/officeDocument/2006/relationships/image" Target="../media/image16.png"/><Relationship Id="rId1" Type="http://schemas.openxmlformats.org/officeDocument/2006/relationships/image" Target="../media/image15.png"/></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7.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8.xml"/></Relationships>
</file>

<file path=ppt/slides/_rels/slide17.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slideLayout" Target="../slideLayouts/slideLayout6.xml"/><Relationship Id="rId6" Type="http://schemas.openxmlformats.org/officeDocument/2006/relationships/themeOverride" Target="../theme/themeOverride2.xml"/><Relationship Id="rId5" Type="http://schemas.openxmlformats.org/officeDocument/2006/relationships/tags" Target="../tags/tag21.xml"/><Relationship Id="rId4" Type="http://schemas.openxmlformats.org/officeDocument/2006/relationships/tags" Target="../tags/tag20.xml"/><Relationship Id="rId3" Type="http://schemas.openxmlformats.org/officeDocument/2006/relationships/image" Target="../media/image4.emf"/><Relationship Id="rId2" Type="http://schemas.openxmlformats.org/officeDocument/2006/relationships/oleObject" Target="../embeddings/oleObject2.bin"/><Relationship Id="rId1" Type="http://schemas.openxmlformats.org/officeDocument/2006/relationships/tags" Target="../tags/tag19.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image" Target="../media/image5.png"/></Relationships>
</file>

<file path=ppt/slides/_rels/slide6.xml.rels><?xml version="1.0" encoding="UTF-8" standalone="yes"?>
<Relationships xmlns="http://schemas.openxmlformats.org/package/2006/relationships"><Relationship Id="rId4" Type="http://schemas.openxmlformats.org/officeDocument/2006/relationships/slideLayout" Target="../slideLayouts/slideLayout4.xml"/><Relationship Id="rId3" Type="http://schemas.openxmlformats.org/officeDocument/2006/relationships/tags" Target="../tags/tag8.xml"/><Relationship Id="rId2" Type="http://schemas.openxmlformats.org/officeDocument/2006/relationships/image" Target="../media/image7.jpeg"/><Relationship Id="rId1" Type="http://schemas.openxmlformats.org/officeDocument/2006/relationships/image" Target="../media/image6.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9.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xml"/><Relationship Id="rId1"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xml"/><Relationship Id="rId1"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śľïḍé"/>
        <p:cNvGrpSpPr/>
        <p:nvPr/>
      </p:nvGrpSpPr>
      <p:grpSpPr>
        <a:xfrm>
          <a:off x="0" y="0"/>
          <a:ext cx="0" cy="0"/>
          <a:chOff x="0" y="0"/>
          <a:chExt cx="0" cy="0"/>
        </a:xfrm>
      </p:grpSpPr>
      <p:graphicFrame>
        <p:nvGraphicFramePr>
          <p:cNvPr id="3" name="îšļîď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2" imgW="9525" imgH="9525" progId="TCLayout.ActiveDocument.1">
                  <p:embed/>
                </p:oleObj>
              </mc:Choice>
              <mc:Fallback>
                <p:oleObj name="think-cell Slide" r:id="rId2" imgW="9525" imgH="9525" progId="TCLayout.ActiveDocument.1">
                  <p:embed/>
                  <p:pic>
                    <p:nvPicPr>
                      <p:cNvPr id="0" name="îšļîď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iṩḷïḍê"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22" name="isḷïḋe"/>
          <p:cNvSpPr>
            <a:spLocks noGrp="1"/>
          </p:cNvSpPr>
          <p:nvPr>
            <p:ph type="subTitle" idx="1"/>
          </p:nvPr>
        </p:nvSpPr>
        <p:spPr>
          <a:xfrm>
            <a:off x="671511" y="3304088"/>
            <a:ext cx="10466659" cy="1679159"/>
          </a:xfrm>
        </p:spPr>
        <p:txBody>
          <a:bodyPr/>
          <a:lstStyle/>
          <a:p>
            <a:pPr marL="0" indent="0">
              <a:buNone/>
            </a:pPr>
            <a:r>
              <a:rPr lang="en-US" altLang="zh-CN" sz="2000" dirty="0" err="1">
                <a:latin typeface="Times New Roman" panose="02020603050405020304" pitchFamily="18" charset="0"/>
                <a:cs typeface="Times New Roman" panose="02020603050405020304" pitchFamily="18" charset="0"/>
              </a:rPr>
              <a:t>Zhentao</a:t>
            </a:r>
            <a:r>
              <a:rPr lang="en-US" altLang="zh-CN" sz="2000" dirty="0">
                <a:latin typeface="Times New Roman" panose="02020603050405020304" pitchFamily="18" charset="0"/>
                <a:cs typeface="Times New Roman" panose="02020603050405020304" pitchFamily="18" charset="0"/>
              </a:rPr>
              <a:t> Liang, </a:t>
            </a:r>
            <a:r>
              <a:rPr lang="en-US" altLang="zh-CN" sz="2000" dirty="0" err="1">
                <a:latin typeface="Times New Roman" panose="02020603050405020304" pitchFamily="18" charset="0"/>
                <a:cs typeface="Times New Roman" panose="02020603050405020304" pitchFamily="18" charset="0"/>
              </a:rPr>
              <a:t>Jin</a:t>
            </a:r>
            <a:r>
              <a:rPr lang="en-US" altLang="zh-CN" sz="2000" dirty="0">
                <a:latin typeface="Times New Roman" panose="02020603050405020304" pitchFamily="18" charset="0"/>
                <a:cs typeface="Times New Roman" panose="02020603050405020304" pitchFamily="18" charset="0"/>
              </a:rPr>
              <a:t> Mao*, Gang Li*</a:t>
            </a:r>
            <a:endParaRPr lang="en-US" altLang="zh-CN" sz="2000" dirty="0">
              <a:latin typeface="Times New Roman" panose="02020603050405020304" pitchFamily="18" charset="0"/>
              <a:cs typeface="Times New Roman" panose="02020603050405020304" pitchFamily="18" charset="0"/>
            </a:endParaRPr>
          </a:p>
          <a:p>
            <a:pPr marL="0" indent="0">
              <a:buNone/>
            </a:pPr>
            <a:r>
              <a:rPr lang="en-US" altLang="zh-CN" sz="1600" dirty="0">
                <a:solidFill>
                  <a:schemeClr val="bg1">
                    <a:lumMod val="50000"/>
                  </a:schemeClr>
                </a:solidFill>
                <a:latin typeface="Times New Roman" panose="02020603050405020304" pitchFamily="18" charset="0"/>
                <a:cs typeface="Times New Roman" panose="02020603050405020304" pitchFamily="18" charset="0"/>
              </a:rPr>
              <a:t>School of Information Management, Wuhan University, Wuhan, China</a:t>
            </a:r>
            <a:endParaRPr lang="en-US" altLang="zh-CN" sz="1600" dirty="0">
              <a:solidFill>
                <a:schemeClr val="bg1">
                  <a:lumMod val="50000"/>
                </a:schemeClr>
              </a:solidFill>
              <a:latin typeface="Times New Roman" panose="02020603050405020304" pitchFamily="18" charset="0"/>
              <a:cs typeface="Times New Roman" panose="02020603050405020304" pitchFamily="18" charset="0"/>
            </a:endParaRPr>
          </a:p>
          <a:p>
            <a:pPr marL="0" indent="0">
              <a:buNone/>
            </a:pPr>
            <a:r>
              <a:rPr lang="en-US" altLang="zh-CN" sz="1600" dirty="0">
                <a:solidFill>
                  <a:schemeClr val="bg1">
                    <a:lumMod val="50000"/>
                  </a:schemeClr>
                </a:solidFill>
                <a:latin typeface="Times New Roman" panose="02020603050405020304" pitchFamily="18" charset="0"/>
                <a:cs typeface="Times New Roman" panose="02020603050405020304" pitchFamily="18" charset="0"/>
              </a:rPr>
              <a:t>Center for Studies of Information Resources, Wuhan University, Wuhan, China</a:t>
            </a:r>
            <a:endParaRPr lang="en-US" altLang="zh-CN" sz="1600" dirty="0">
              <a:solidFill>
                <a:schemeClr val="bg1">
                  <a:lumMod val="50000"/>
                </a:schemeClr>
              </a:solidFill>
              <a:latin typeface="Times New Roman" panose="02020603050405020304" pitchFamily="18" charset="0"/>
              <a:cs typeface="Times New Roman" panose="02020603050405020304" pitchFamily="18" charset="0"/>
            </a:endParaRPr>
          </a:p>
        </p:txBody>
      </p:sp>
      <p:sp>
        <p:nvSpPr>
          <p:cNvPr id="24" name="í$ḻîḍê"/>
          <p:cNvSpPr>
            <a:spLocks noGrp="1"/>
          </p:cNvSpPr>
          <p:nvPr>
            <p:ph type="ctrTitle"/>
          </p:nvPr>
        </p:nvSpPr>
        <p:spPr>
          <a:xfrm>
            <a:off x="671511" y="1764218"/>
            <a:ext cx="11105685" cy="950115"/>
          </a:xfrm>
        </p:spPr>
        <p:txBody>
          <a:bodyPr>
            <a:normAutofit fontScale="90000"/>
          </a:bodyPr>
          <a:lstStyle/>
          <a:p>
            <a:br>
              <a:rPr lang="en-US" altLang="zh-CN" sz="3200" dirty="0">
                <a:latin typeface="Times New Roman" panose="02020603050405020304" pitchFamily="18" charset="0"/>
                <a:cs typeface="Times New Roman" panose="02020603050405020304" pitchFamily="18" charset="0"/>
              </a:rPr>
            </a:br>
            <a:r>
              <a:rPr lang="en-US" altLang="zh-CN" sz="3200" dirty="0">
                <a:latin typeface="Times New Roman" panose="02020603050405020304" pitchFamily="18" charset="0"/>
                <a:cs typeface="Times New Roman" panose="02020603050405020304" pitchFamily="18" charset="0"/>
              </a:rPr>
              <a:t>Bias against scientific novelty: A prepublication perspective</a:t>
            </a:r>
            <a:endParaRPr lang="zh-CN" altLang="en-US" sz="3200" dirty="0">
              <a:latin typeface="Times New Roman" panose="02020603050405020304" pitchFamily="18" charset="0"/>
              <a:cs typeface="Times New Roman" panose="02020603050405020304" pitchFamily="18" charset="0"/>
            </a:endParaRPr>
          </a:p>
        </p:txBody>
      </p:sp>
    </p:spTree>
    <p:custDataLst>
      <p:tags r:id="rId5"/>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iṣlide"/>
        <p:cNvGrpSpPr/>
        <p:nvPr/>
      </p:nvGrpSpPr>
      <p:grpSpPr>
        <a:xfrm>
          <a:off x="0" y="0"/>
          <a:ext cx="0" cy="0"/>
          <a:chOff x="0" y="0"/>
          <a:chExt cx="0" cy="0"/>
        </a:xfrm>
      </p:grpSpPr>
      <p:sp>
        <p:nvSpPr>
          <p:cNvPr id="2" name="íšľîḓê"/>
          <p:cNvSpPr>
            <a:spLocks noGrp="1"/>
          </p:cNvSpPr>
          <p:nvPr>
            <p:ph type="title"/>
          </p:nvPr>
        </p:nvSpPr>
        <p:spPr/>
        <p:txBody>
          <a:bodyPr/>
          <a:lstStyle/>
          <a:p>
            <a:r>
              <a:rPr lang="en-US" altLang="zh-CN" dirty="0"/>
              <a:t>3. </a:t>
            </a:r>
            <a:r>
              <a:rPr lang="zh-CN" altLang="en-US" dirty="0"/>
              <a:t>研究结果 </a:t>
            </a:r>
            <a:r>
              <a:rPr lang="en-US" altLang="zh-CN" dirty="0"/>
              <a:t>– </a:t>
            </a:r>
            <a:r>
              <a:rPr lang="zh-CN" altLang="en-US" dirty="0"/>
              <a:t>描述性分析</a:t>
            </a:r>
            <a:endParaRPr lang="zh-CN" altLang="en-US" dirty="0"/>
          </a:p>
        </p:txBody>
      </p:sp>
      <p:sp>
        <p:nvSpPr>
          <p:cNvPr id="4" name="ïṣḷide"/>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110" name="íṥļîďè"/>
          <p:cNvSpPr/>
          <p:nvPr/>
        </p:nvSpPr>
        <p:spPr>
          <a:xfrm rot="10800000">
            <a:off x="4396104" y="0"/>
            <a:ext cx="7846076" cy="6857999"/>
          </a:xfrm>
          <a:custGeom>
            <a:avLst/>
            <a:gdLst>
              <a:gd name="connsiteX0" fmla="*/ 168369 w 9517086"/>
              <a:gd name="connsiteY0" fmla="*/ 4779933 h 7291226"/>
              <a:gd name="connsiteX1" fmla="*/ 0 w 9517086"/>
              <a:gd name="connsiteY1" fmla="*/ 4409146 h 7291226"/>
              <a:gd name="connsiteX2" fmla="*/ 3332806 w 9517086"/>
              <a:gd name="connsiteY2" fmla="*/ 0 h 7291226"/>
              <a:gd name="connsiteX3" fmla="*/ 3794560 w 9517086"/>
              <a:gd name="connsiteY3" fmla="*/ 32861 h 7291226"/>
              <a:gd name="connsiteX4" fmla="*/ 488220 w 9517086"/>
              <a:gd name="connsiteY4" fmla="*/ 5484315 h 7291226"/>
              <a:gd name="connsiteX5" fmla="*/ 299082 w 9517086"/>
              <a:gd name="connsiteY5" fmla="*/ 5067791 h 7291226"/>
              <a:gd name="connsiteX6" fmla="*/ 4106456 w 9517086"/>
              <a:gd name="connsiteY6" fmla="*/ 55057 h 7291226"/>
              <a:gd name="connsiteX7" fmla="*/ 4585079 w 9517086"/>
              <a:gd name="connsiteY7" fmla="*/ 89119 h 7291226"/>
              <a:gd name="connsiteX8" fmla="*/ 779421 w 9517086"/>
              <a:gd name="connsiteY8" fmla="*/ 6125606 h 7291226"/>
              <a:gd name="connsiteX9" fmla="*/ 618065 w 9517086"/>
              <a:gd name="connsiteY9" fmla="*/ 5770263 h 7291226"/>
              <a:gd name="connsiteX10" fmla="*/ 4897528 w 9517086"/>
              <a:gd name="connsiteY10" fmla="*/ 111354 h 7291226"/>
              <a:gd name="connsiteX11" fmla="*/ 5324893 w 9517086"/>
              <a:gd name="connsiteY11" fmla="*/ 141768 h 7291226"/>
              <a:gd name="connsiteX12" fmla="*/ 1099910 w 9517086"/>
              <a:gd name="connsiteY12" fmla="*/ 6831395 h 7291226"/>
              <a:gd name="connsiteX13" fmla="*/ 919656 w 9517086"/>
              <a:gd name="connsiteY13" fmla="*/ 6434435 h 7291226"/>
              <a:gd name="connsiteX14" fmla="*/ 5668965 w 9517086"/>
              <a:gd name="connsiteY14" fmla="*/ 166254 h 7291226"/>
              <a:gd name="connsiteX15" fmla="*/ 6114044 w 9517086"/>
              <a:gd name="connsiteY15" fmla="*/ 197929 h 7291226"/>
              <a:gd name="connsiteX16" fmla="*/ 7106560 w 9517086"/>
              <a:gd name="connsiteY16" fmla="*/ 7291226 h 7291226"/>
              <a:gd name="connsiteX17" fmla="*/ 6670875 w 9517086"/>
              <a:gd name="connsiteY17" fmla="*/ 7291226 h 7291226"/>
              <a:gd name="connsiteX18" fmla="*/ 3849932 w 9517086"/>
              <a:gd name="connsiteY18" fmla="*/ 3596670 h 7291226"/>
              <a:gd name="connsiteX19" fmla="*/ 4086202 w 9517086"/>
              <a:gd name="connsiteY19" fmla="*/ 3287229 h 7291226"/>
              <a:gd name="connsiteX20" fmla="*/ 7934229 w 9517086"/>
              <a:gd name="connsiteY20" fmla="*/ 7291226 h 7291226"/>
              <a:gd name="connsiteX21" fmla="*/ 7444802 w 9517086"/>
              <a:gd name="connsiteY21" fmla="*/ 7291226 h 7291226"/>
              <a:gd name="connsiteX22" fmla="*/ 4245793 w 9517086"/>
              <a:gd name="connsiteY22" fmla="*/ 3078214 h 7291226"/>
              <a:gd name="connsiteX23" fmla="*/ 4490696 w 9517086"/>
              <a:gd name="connsiteY23" fmla="*/ 2757469 h 7291226"/>
              <a:gd name="connsiteX24" fmla="*/ 8687764 w 9517086"/>
              <a:gd name="connsiteY24" fmla="*/ 7291226 h 7291226"/>
              <a:gd name="connsiteX25" fmla="*/ 8270226 w 9517086"/>
              <a:gd name="connsiteY25" fmla="*/ 7291226 h 7291226"/>
              <a:gd name="connsiteX26" fmla="*/ 4650570 w 9517086"/>
              <a:gd name="connsiteY26" fmla="*/ 2548084 h 7291226"/>
              <a:gd name="connsiteX27" fmla="*/ 4869244 w 9517086"/>
              <a:gd name="connsiteY27" fmla="*/ 2261689 h 7291226"/>
              <a:gd name="connsiteX28" fmla="*/ 9517086 w 9517086"/>
              <a:gd name="connsiteY28" fmla="*/ 7291226 h 7291226"/>
              <a:gd name="connsiteX29" fmla="*/ 9050647 w 9517086"/>
              <a:gd name="connsiteY29" fmla="*/ 7291226 h 7291226"/>
              <a:gd name="connsiteX30" fmla="*/ 5045299 w 9517086"/>
              <a:gd name="connsiteY30" fmla="*/ 2031113 h 7291226"/>
              <a:gd name="connsiteX31" fmla="*/ 5273037 w 9517086"/>
              <a:gd name="connsiteY31" fmla="*/ 1732846 h 7291226"/>
              <a:gd name="connsiteX0-1" fmla="*/ 168369 w 9378540"/>
              <a:gd name="connsiteY0-2" fmla="*/ 4779933 h 7291226"/>
              <a:gd name="connsiteX1-3" fmla="*/ 0 w 9378540"/>
              <a:gd name="connsiteY1-4" fmla="*/ 4409146 h 7291226"/>
              <a:gd name="connsiteX2-5" fmla="*/ 3332806 w 9378540"/>
              <a:gd name="connsiteY2-6" fmla="*/ 0 h 7291226"/>
              <a:gd name="connsiteX3-7" fmla="*/ 3794560 w 9378540"/>
              <a:gd name="connsiteY3-8" fmla="*/ 32861 h 7291226"/>
              <a:gd name="connsiteX4-9" fmla="*/ 168369 w 9378540"/>
              <a:gd name="connsiteY4-10" fmla="*/ 4779933 h 7291226"/>
              <a:gd name="connsiteX5-11" fmla="*/ 488220 w 9378540"/>
              <a:gd name="connsiteY5-12" fmla="*/ 5484315 h 7291226"/>
              <a:gd name="connsiteX6-13" fmla="*/ 299082 w 9378540"/>
              <a:gd name="connsiteY6-14" fmla="*/ 5067791 h 7291226"/>
              <a:gd name="connsiteX7-15" fmla="*/ 4106456 w 9378540"/>
              <a:gd name="connsiteY7-16" fmla="*/ 55057 h 7291226"/>
              <a:gd name="connsiteX8-17" fmla="*/ 4585079 w 9378540"/>
              <a:gd name="connsiteY8-18" fmla="*/ 89119 h 7291226"/>
              <a:gd name="connsiteX9-19" fmla="*/ 488220 w 9378540"/>
              <a:gd name="connsiteY9-20" fmla="*/ 5484315 h 7291226"/>
              <a:gd name="connsiteX10-21" fmla="*/ 779421 w 9378540"/>
              <a:gd name="connsiteY10-22" fmla="*/ 6125606 h 7291226"/>
              <a:gd name="connsiteX11-23" fmla="*/ 618065 w 9378540"/>
              <a:gd name="connsiteY11-24" fmla="*/ 5770263 h 7291226"/>
              <a:gd name="connsiteX12-25" fmla="*/ 4897528 w 9378540"/>
              <a:gd name="connsiteY12-26" fmla="*/ 111354 h 7291226"/>
              <a:gd name="connsiteX13-27" fmla="*/ 5324893 w 9378540"/>
              <a:gd name="connsiteY13-28" fmla="*/ 141768 h 7291226"/>
              <a:gd name="connsiteX14-29" fmla="*/ 779421 w 9378540"/>
              <a:gd name="connsiteY14-30" fmla="*/ 6125606 h 7291226"/>
              <a:gd name="connsiteX15-31" fmla="*/ 1099910 w 9378540"/>
              <a:gd name="connsiteY15-32" fmla="*/ 6831395 h 7291226"/>
              <a:gd name="connsiteX16-33" fmla="*/ 919656 w 9378540"/>
              <a:gd name="connsiteY16-34" fmla="*/ 6434435 h 7291226"/>
              <a:gd name="connsiteX17-35" fmla="*/ 5668965 w 9378540"/>
              <a:gd name="connsiteY17-36" fmla="*/ 166254 h 7291226"/>
              <a:gd name="connsiteX18-37" fmla="*/ 6114044 w 9378540"/>
              <a:gd name="connsiteY18-38" fmla="*/ 197929 h 7291226"/>
              <a:gd name="connsiteX19-39" fmla="*/ 1099910 w 9378540"/>
              <a:gd name="connsiteY19-40" fmla="*/ 6831395 h 7291226"/>
              <a:gd name="connsiteX20-41" fmla="*/ 7106560 w 9378540"/>
              <a:gd name="connsiteY20-42" fmla="*/ 7291226 h 7291226"/>
              <a:gd name="connsiteX21-43" fmla="*/ 6670875 w 9378540"/>
              <a:gd name="connsiteY21-44" fmla="*/ 7291226 h 7291226"/>
              <a:gd name="connsiteX22-45" fmla="*/ 3849932 w 9378540"/>
              <a:gd name="connsiteY22-46" fmla="*/ 3596670 h 7291226"/>
              <a:gd name="connsiteX23-47" fmla="*/ 4086202 w 9378540"/>
              <a:gd name="connsiteY23-48" fmla="*/ 3287229 h 7291226"/>
              <a:gd name="connsiteX24-49" fmla="*/ 7106560 w 9378540"/>
              <a:gd name="connsiteY24-50" fmla="*/ 7291226 h 7291226"/>
              <a:gd name="connsiteX25-51" fmla="*/ 7934229 w 9378540"/>
              <a:gd name="connsiteY25-52" fmla="*/ 7291226 h 7291226"/>
              <a:gd name="connsiteX26-53" fmla="*/ 7444802 w 9378540"/>
              <a:gd name="connsiteY26-54" fmla="*/ 7291226 h 7291226"/>
              <a:gd name="connsiteX27-55" fmla="*/ 4245793 w 9378540"/>
              <a:gd name="connsiteY27-56" fmla="*/ 3078214 h 7291226"/>
              <a:gd name="connsiteX28-57" fmla="*/ 4490696 w 9378540"/>
              <a:gd name="connsiteY28-58" fmla="*/ 2757469 h 7291226"/>
              <a:gd name="connsiteX29-59" fmla="*/ 7934229 w 9378540"/>
              <a:gd name="connsiteY29-60" fmla="*/ 7291226 h 7291226"/>
              <a:gd name="connsiteX30-61" fmla="*/ 8687764 w 9378540"/>
              <a:gd name="connsiteY30-62" fmla="*/ 7291226 h 7291226"/>
              <a:gd name="connsiteX31-63" fmla="*/ 8270226 w 9378540"/>
              <a:gd name="connsiteY31-64" fmla="*/ 7291226 h 7291226"/>
              <a:gd name="connsiteX32" fmla="*/ 4650570 w 9378540"/>
              <a:gd name="connsiteY32" fmla="*/ 2548084 h 7291226"/>
              <a:gd name="connsiteX33" fmla="*/ 4869244 w 9378540"/>
              <a:gd name="connsiteY33" fmla="*/ 2261689 h 7291226"/>
              <a:gd name="connsiteX34" fmla="*/ 8687764 w 9378540"/>
              <a:gd name="connsiteY34" fmla="*/ 7291226 h 7291226"/>
              <a:gd name="connsiteX35" fmla="*/ 9378540 w 9378540"/>
              <a:gd name="connsiteY35" fmla="*/ 7097262 h 7291226"/>
              <a:gd name="connsiteX36" fmla="*/ 9050647 w 9378540"/>
              <a:gd name="connsiteY36" fmla="*/ 7291226 h 7291226"/>
              <a:gd name="connsiteX37" fmla="*/ 5045299 w 9378540"/>
              <a:gd name="connsiteY37" fmla="*/ 2031113 h 7291226"/>
              <a:gd name="connsiteX38" fmla="*/ 5273037 w 9378540"/>
              <a:gd name="connsiteY38" fmla="*/ 1732846 h 7291226"/>
              <a:gd name="connsiteX39" fmla="*/ 9378540 w 9378540"/>
              <a:gd name="connsiteY39" fmla="*/ 7097262 h 7291226"/>
              <a:gd name="connsiteX0-65" fmla="*/ 168369 w 9378540"/>
              <a:gd name="connsiteY0-66" fmla="*/ 4779933 h 7291226"/>
              <a:gd name="connsiteX1-67" fmla="*/ 0 w 9378540"/>
              <a:gd name="connsiteY1-68" fmla="*/ 4409146 h 7291226"/>
              <a:gd name="connsiteX2-69" fmla="*/ 3332806 w 9378540"/>
              <a:gd name="connsiteY2-70" fmla="*/ 0 h 7291226"/>
              <a:gd name="connsiteX3-71" fmla="*/ 3794560 w 9378540"/>
              <a:gd name="connsiteY3-72" fmla="*/ 32861 h 7291226"/>
              <a:gd name="connsiteX4-73" fmla="*/ 168369 w 9378540"/>
              <a:gd name="connsiteY4-74" fmla="*/ 4779933 h 7291226"/>
              <a:gd name="connsiteX5-75" fmla="*/ 488220 w 9378540"/>
              <a:gd name="connsiteY5-76" fmla="*/ 5484315 h 7291226"/>
              <a:gd name="connsiteX6-77" fmla="*/ 299082 w 9378540"/>
              <a:gd name="connsiteY6-78" fmla="*/ 5067791 h 7291226"/>
              <a:gd name="connsiteX7-79" fmla="*/ 4106456 w 9378540"/>
              <a:gd name="connsiteY7-80" fmla="*/ 55057 h 7291226"/>
              <a:gd name="connsiteX8-81" fmla="*/ 4585079 w 9378540"/>
              <a:gd name="connsiteY8-82" fmla="*/ 89119 h 7291226"/>
              <a:gd name="connsiteX9-83" fmla="*/ 488220 w 9378540"/>
              <a:gd name="connsiteY9-84" fmla="*/ 5484315 h 7291226"/>
              <a:gd name="connsiteX10-85" fmla="*/ 779421 w 9378540"/>
              <a:gd name="connsiteY10-86" fmla="*/ 6125606 h 7291226"/>
              <a:gd name="connsiteX11-87" fmla="*/ 618065 w 9378540"/>
              <a:gd name="connsiteY11-88" fmla="*/ 5770263 h 7291226"/>
              <a:gd name="connsiteX12-89" fmla="*/ 4897528 w 9378540"/>
              <a:gd name="connsiteY12-90" fmla="*/ 111354 h 7291226"/>
              <a:gd name="connsiteX13-91" fmla="*/ 5324893 w 9378540"/>
              <a:gd name="connsiteY13-92" fmla="*/ 141768 h 7291226"/>
              <a:gd name="connsiteX14-93" fmla="*/ 779421 w 9378540"/>
              <a:gd name="connsiteY14-94" fmla="*/ 6125606 h 7291226"/>
              <a:gd name="connsiteX15-95" fmla="*/ 1099910 w 9378540"/>
              <a:gd name="connsiteY15-96" fmla="*/ 6831395 h 7291226"/>
              <a:gd name="connsiteX16-97" fmla="*/ 919656 w 9378540"/>
              <a:gd name="connsiteY16-98" fmla="*/ 6434435 h 7291226"/>
              <a:gd name="connsiteX17-99" fmla="*/ 5668965 w 9378540"/>
              <a:gd name="connsiteY17-100" fmla="*/ 166254 h 7291226"/>
              <a:gd name="connsiteX18-101" fmla="*/ 6114044 w 9378540"/>
              <a:gd name="connsiteY18-102" fmla="*/ 197929 h 7291226"/>
              <a:gd name="connsiteX19-103" fmla="*/ 1099910 w 9378540"/>
              <a:gd name="connsiteY19-104" fmla="*/ 6831395 h 7291226"/>
              <a:gd name="connsiteX20-105" fmla="*/ 7106560 w 9378540"/>
              <a:gd name="connsiteY20-106" fmla="*/ 7291226 h 7291226"/>
              <a:gd name="connsiteX21-107" fmla="*/ 6670875 w 9378540"/>
              <a:gd name="connsiteY21-108" fmla="*/ 7291226 h 7291226"/>
              <a:gd name="connsiteX22-109" fmla="*/ 3849932 w 9378540"/>
              <a:gd name="connsiteY22-110" fmla="*/ 3596670 h 7291226"/>
              <a:gd name="connsiteX23-111" fmla="*/ 4086202 w 9378540"/>
              <a:gd name="connsiteY23-112" fmla="*/ 3287229 h 7291226"/>
              <a:gd name="connsiteX24-113" fmla="*/ 7106560 w 9378540"/>
              <a:gd name="connsiteY24-114" fmla="*/ 7291226 h 7291226"/>
              <a:gd name="connsiteX25-115" fmla="*/ 7934229 w 9378540"/>
              <a:gd name="connsiteY25-116" fmla="*/ 7291226 h 7291226"/>
              <a:gd name="connsiteX26-117" fmla="*/ 7444802 w 9378540"/>
              <a:gd name="connsiteY26-118" fmla="*/ 7291226 h 7291226"/>
              <a:gd name="connsiteX27-119" fmla="*/ 4245793 w 9378540"/>
              <a:gd name="connsiteY27-120" fmla="*/ 3078214 h 7291226"/>
              <a:gd name="connsiteX28-121" fmla="*/ 4490696 w 9378540"/>
              <a:gd name="connsiteY28-122" fmla="*/ 2757469 h 7291226"/>
              <a:gd name="connsiteX29-123" fmla="*/ 7934229 w 9378540"/>
              <a:gd name="connsiteY29-124" fmla="*/ 7291226 h 7291226"/>
              <a:gd name="connsiteX30-125" fmla="*/ 8687764 w 9378540"/>
              <a:gd name="connsiteY30-126" fmla="*/ 7291226 h 7291226"/>
              <a:gd name="connsiteX31-127" fmla="*/ 8270226 w 9378540"/>
              <a:gd name="connsiteY31-128" fmla="*/ 7291226 h 7291226"/>
              <a:gd name="connsiteX32-129" fmla="*/ 4650570 w 9378540"/>
              <a:gd name="connsiteY32-130" fmla="*/ 2548084 h 7291226"/>
              <a:gd name="connsiteX33-131" fmla="*/ 4869244 w 9378540"/>
              <a:gd name="connsiteY33-132" fmla="*/ 2261689 h 7291226"/>
              <a:gd name="connsiteX34-133" fmla="*/ 8687764 w 9378540"/>
              <a:gd name="connsiteY34-134" fmla="*/ 7291226 h 7291226"/>
              <a:gd name="connsiteX35-135" fmla="*/ 9378540 w 9378540"/>
              <a:gd name="connsiteY35-136" fmla="*/ 7097262 h 7291226"/>
              <a:gd name="connsiteX36-137" fmla="*/ 8921338 w 9378540"/>
              <a:gd name="connsiteY36-138" fmla="*/ 7115735 h 7291226"/>
              <a:gd name="connsiteX37-139" fmla="*/ 5045299 w 9378540"/>
              <a:gd name="connsiteY37-140" fmla="*/ 2031113 h 7291226"/>
              <a:gd name="connsiteX38-141" fmla="*/ 5273037 w 9378540"/>
              <a:gd name="connsiteY38-142" fmla="*/ 1732846 h 7291226"/>
              <a:gd name="connsiteX39-143" fmla="*/ 9378540 w 9378540"/>
              <a:gd name="connsiteY39-144" fmla="*/ 7097262 h 7291226"/>
              <a:gd name="connsiteX0-145" fmla="*/ 168369 w 9397013"/>
              <a:gd name="connsiteY0-146" fmla="*/ 4779933 h 7291226"/>
              <a:gd name="connsiteX1-147" fmla="*/ 0 w 9397013"/>
              <a:gd name="connsiteY1-148" fmla="*/ 4409146 h 7291226"/>
              <a:gd name="connsiteX2-149" fmla="*/ 3332806 w 9397013"/>
              <a:gd name="connsiteY2-150" fmla="*/ 0 h 7291226"/>
              <a:gd name="connsiteX3-151" fmla="*/ 3794560 w 9397013"/>
              <a:gd name="connsiteY3-152" fmla="*/ 32861 h 7291226"/>
              <a:gd name="connsiteX4-153" fmla="*/ 168369 w 9397013"/>
              <a:gd name="connsiteY4-154" fmla="*/ 4779933 h 7291226"/>
              <a:gd name="connsiteX5-155" fmla="*/ 488220 w 9397013"/>
              <a:gd name="connsiteY5-156" fmla="*/ 5484315 h 7291226"/>
              <a:gd name="connsiteX6-157" fmla="*/ 299082 w 9397013"/>
              <a:gd name="connsiteY6-158" fmla="*/ 5067791 h 7291226"/>
              <a:gd name="connsiteX7-159" fmla="*/ 4106456 w 9397013"/>
              <a:gd name="connsiteY7-160" fmla="*/ 55057 h 7291226"/>
              <a:gd name="connsiteX8-161" fmla="*/ 4585079 w 9397013"/>
              <a:gd name="connsiteY8-162" fmla="*/ 89119 h 7291226"/>
              <a:gd name="connsiteX9-163" fmla="*/ 488220 w 9397013"/>
              <a:gd name="connsiteY9-164" fmla="*/ 5484315 h 7291226"/>
              <a:gd name="connsiteX10-165" fmla="*/ 779421 w 9397013"/>
              <a:gd name="connsiteY10-166" fmla="*/ 6125606 h 7291226"/>
              <a:gd name="connsiteX11-167" fmla="*/ 618065 w 9397013"/>
              <a:gd name="connsiteY11-168" fmla="*/ 5770263 h 7291226"/>
              <a:gd name="connsiteX12-169" fmla="*/ 4897528 w 9397013"/>
              <a:gd name="connsiteY12-170" fmla="*/ 111354 h 7291226"/>
              <a:gd name="connsiteX13-171" fmla="*/ 5324893 w 9397013"/>
              <a:gd name="connsiteY13-172" fmla="*/ 141768 h 7291226"/>
              <a:gd name="connsiteX14-173" fmla="*/ 779421 w 9397013"/>
              <a:gd name="connsiteY14-174" fmla="*/ 6125606 h 7291226"/>
              <a:gd name="connsiteX15-175" fmla="*/ 1099910 w 9397013"/>
              <a:gd name="connsiteY15-176" fmla="*/ 6831395 h 7291226"/>
              <a:gd name="connsiteX16-177" fmla="*/ 919656 w 9397013"/>
              <a:gd name="connsiteY16-178" fmla="*/ 6434435 h 7291226"/>
              <a:gd name="connsiteX17-179" fmla="*/ 5668965 w 9397013"/>
              <a:gd name="connsiteY17-180" fmla="*/ 166254 h 7291226"/>
              <a:gd name="connsiteX18-181" fmla="*/ 6114044 w 9397013"/>
              <a:gd name="connsiteY18-182" fmla="*/ 197929 h 7291226"/>
              <a:gd name="connsiteX19-183" fmla="*/ 1099910 w 9397013"/>
              <a:gd name="connsiteY19-184" fmla="*/ 6831395 h 7291226"/>
              <a:gd name="connsiteX20-185" fmla="*/ 7106560 w 9397013"/>
              <a:gd name="connsiteY20-186" fmla="*/ 7291226 h 7291226"/>
              <a:gd name="connsiteX21-187" fmla="*/ 6670875 w 9397013"/>
              <a:gd name="connsiteY21-188" fmla="*/ 7291226 h 7291226"/>
              <a:gd name="connsiteX22-189" fmla="*/ 3849932 w 9397013"/>
              <a:gd name="connsiteY22-190" fmla="*/ 3596670 h 7291226"/>
              <a:gd name="connsiteX23-191" fmla="*/ 4086202 w 9397013"/>
              <a:gd name="connsiteY23-192" fmla="*/ 3287229 h 7291226"/>
              <a:gd name="connsiteX24-193" fmla="*/ 7106560 w 9397013"/>
              <a:gd name="connsiteY24-194" fmla="*/ 7291226 h 7291226"/>
              <a:gd name="connsiteX25-195" fmla="*/ 7934229 w 9397013"/>
              <a:gd name="connsiteY25-196" fmla="*/ 7291226 h 7291226"/>
              <a:gd name="connsiteX26-197" fmla="*/ 7444802 w 9397013"/>
              <a:gd name="connsiteY26-198" fmla="*/ 7291226 h 7291226"/>
              <a:gd name="connsiteX27-199" fmla="*/ 4245793 w 9397013"/>
              <a:gd name="connsiteY27-200" fmla="*/ 3078214 h 7291226"/>
              <a:gd name="connsiteX28-201" fmla="*/ 4490696 w 9397013"/>
              <a:gd name="connsiteY28-202" fmla="*/ 2757469 h 7291226"/>
              <a:gd name="connsiteX29-203" fmla="*/ 7934229 w 9397013"/>
              <a:gd name="connsiteY29-204" fmla="*/ 7291226 h 7291226"/>
              <a:gd name="connsiteX30-205" fmla="*/ 8687764 w 9397013"/>
              <a:gd name="connsiteY30-206" fmla="*/ 7291226 h 7291226"/>
              <a:gd name="connsiteX31-207" fmla="*/ 8270226 w 9397013"/>
              <a:gd name="connsiteY31-208" fmla="*/ 7291226 h 7291226"/>
              <a:gd name="connsiteX32-209" fmla="*/ 4650570 w 9397013"/>
              <a:gd name="connsiteY32-210" fmla="*/ 2548084 h 7291226"/>
              <a:gd name="connsiteX33-211" fmla="*/ 4869244 w 9397013"/>
              <a:gd name="connsiteY33-212" fmla="*/ 2261689 h 7291226"/>
              <a:gd name="connsiteX34-213" fmla="*/ 8687764 w 9397013"/>
              <a:gd name="connsiteY34-214" fmla="*/ 7291226 h 7291226"/>
              <a:gd name="connsiteX35-215" fmla="*/ 9397013 w 9397013"/>
              <a:gd name="connsiteY35-216" fmla="*/ 7134207 h 7291226"/>
              <a:gd name="connsiteX36-217" fmla="*/ 8921338 w 9397013"/>
              <a:gd name="connsiteY36-218" fmla="*/ 7115735 h 7291226"/>
              <a:gd name="connsiteX37-219" fmla="*/ 5045299 w 9397013"/>
              <a:gd name="connsiteY37-220" fmla="*/ 2031113 h 7291226"/>
              <a:gd name="connsiteX38-221" fmla="*/ 5273037 w 9397013"/>
              <a:gd name="connsiteY38-222" fmla="*/ 1732846 h 7291226"/>
              <a:gd name="connsiteX39-223" fmla="*/ 9397013 w 9397013"/>
              <a:gd name="connsiteY39-224" fmla="*/ 7134207 h 7291226"/>
              <a:gd name="connsiteX0-225" fmla="*/ 168369 w 9397013"/>
              <a:gd name="connsiteY0-226" fmla="*/ 4779933 h 7291226"/>
              <a:gd name="connsiteX1-227" fmla="*/ 0 w 9397013"/>
              <a:gd name="connsiteY1-228" fmla="*/ 4409146 h 7291226"/>
              <a:gd name="connsiteX2-229" fmla="*/ 3332806 w 9397013"/>
              <a:gd name="connsiteY2-230" fmla="*/ 0 h 7291226"/>
              <a:gd name="connsiteX3-231" fmla="*/ 3794560 w 9397013"/>
              <a:gd name="connsiteY3-232" fmla="*/ 32861 h 7291226"/>
              <a:gd name="connsiteX4-233" fmla="*/ 168369 w 9397013"/>
              <a:gd name="connsiteY4-234" fmla="*/ 4779933 h 7291226"/>
              <a:gd name="connsiteX5-235" fmla="*/ 488220 w 9397013"/>
              <a:gd name="connsiteY5-236" fmla="*/ 5484315 h 7291226"/>
              <a:gd name="connsiteX6-237" fmla="*/ 299082 w 9397013"/>
              <a:gd name="connsiteY6-238" fmla="*/ 5067791 h 7291226"/>
              <a:gd name="connsiteX7-239" fmla="*/ 4106456 w 9397013"/>
              <a:gd name="connsiteY7-240" fmla="*/ 55057 h 7291226"/>
              <a:gd name="connsiteX8-241" fmla="*/ 4585079 w 9397013"/>
              <a:gd name="connsiteY8-242" fmla="*/ 89119 h 7291226"/>
              <a:gd name="connsiteX9-243" fmla="*/ 488220 w 9397013"/>
              <a:gd name="connsiteY9-244" fmla="*/ 5484315 h 7291226"/>
              <a:gd name="connsiteX10-245" fmla="*/ 779421 w 9397013"/>
              <a:gd name="connsiteY10-246" fmla="*/ 6125606 h 7291226"/>
              <a:gd name="connsiteX11-247" fmla="*/ 618065 w 9397013"/>
              <a:gd name="connsiteY11-248" fmla="*/ 5770263 h 7291226"/>
              <a:gd name="connsiteX12-249" fmla="*/ 4897528 w 9397013"/>
              <a:gd name="connsiteY12-250" fmla="*/ 111354 h 7291226"/>
              <a:gd name="connsiteX13-251" fmla="*/ 5324893 w 9397013"/>
              <a:gd name="connsiteY13-252" fmla="*/ 141768 h 7291226"/>
              <a:gd name="connsiteX14-253" fmla="*/ 779421 w 9397013"/>
              <a:gd name="connsiteY14-254" fmla="*/ 6125606 h 7291226"/>
              <a:gd name="connsiteX15-255" fmla="*/ 1099910 w 9397013"/>
              <a:gd name="connsiteY15-256" fmla="*/ 6831395 h 7291226"/>
              <a:gd name="connsiteX16-257" fmla="*/ 919656 w 9397013"/>
              <a:gd name="connsiteY16-258" fmla="*/ 6434435 h 7291226"/>
              <a:gd name="connsiteX17-259" fmla="*/ 5668965 w 9397013"/>
              <a:gd name="connsiteY17-260" fmla="*/ 166254 h 7291226"/>
              <a:gd name="connsiteX18-261" fmla="*/ 6114044 w 9397013"/>
              <a:gd name="connsiteY18-262" fmla="*/ 197929 h 7291226"/>
              <a:gd name="connsiteX19-263" fmla="*/ 1099910 w 9397013"/>
              <a:gd name="connsiteY19-264" fmla="*/ 6831395 h 7291226"/>
              <a:gd name="connsiteX20-265" fmla="*/ 7106560 w 9397013"/>
              <a:gd name="connsiteY20-266" fmla="*/ 7291226 h 7291226"/>
              <a:gd name="connsiteX21-267" fmla="*/ 6670875 w 9397013"/>
              <a:gd name="connsiteY21-268" fmla="*/ 7291226 h 7291226"/>
              <a:gd name="connsiteX22-269" fmla="*/ 3849932 w 9397013"/>
              <a:gd name="connsiteY22-270" fmla="*/ 3596670 h 7291226"/>
              <a:gd name="connsiteX23-271" fmla="*/ 4086202 w 9397013"/>
              <a:gd name="connsiteY23-272" fmla="*/ 3287229 h 7291226"/>
              <a:gd name="connsiteX24-273" fmla="*/ 7106560 w 9397013"/>
              <a:gd name="connsiteY24-274" fmla="*/ 7291226 h 7291226"/>
              <a:gd name="connsiteX25-275" fmla="*/ 7934229 w 9397013"/>
              <a:gd name="connsiteY25-276" fmla="*/ 7291226 h 7291226"/>
              <a:gd name="connsiteX26-277" fmla="*/ 7444802 w 9397013"/>
              <a:gd name="connsiteY26-278" fmla="*/ 7291226 h 7291226"/>
              <a:gd name="connsiteX27-279" fmla="*/ 4245793 w 9397013"/>
              <a:gd name="connsiteY27-280" fmla="*/ 3078214 h 7291226"/>
              <a:gd name="connsiteX28-281" fmla="*/ 4490696 w 9397013"/>
              <a:gd name="connsiteY28-282" fmla="*/ 2757469 h 7291226"/>
              <a:gd name="connsiteX29-283" fmla="*/ 7934229 w 9397013"/>
              <a:gd name="connsiteY29-284" fmla="*/ 7291226 h 7291226"/>
              <a:gd name="connsiteX30-285" fmla="*/ 8530746 w 9397013"/>
              <a:gd name="connsiteY30-286" fmla="*/ 7088026 h 7291226"/>
              <a:gd name="connsiteX31-287" fmla="*/ 8270226 w 9397013"/>
              <a:gd name="connsiteY31-288" fmla="*/ 7291226 h 7291226"/>
              <a:gd name="connsiteX32-289" fmla="*/ 4650570 w 9397013"/>
              <a:gd name="connsiteY32-290" fmla="*/ 2548084 h 7291226"/>
              <a:gd name="connsiteX33-291" fmla="*/ 4869244 w 9397013"/>
              <a:gd name="connsiteY33-292" fmla="*/ 2261689 h 7291226"/>
              <a:gd name="connsiteX34-293" fmla="*/ 8530746 w 9397013"/>
              <a:gd name="connsiteY34-294" fmla="*/ 7088026 h 7291226"/>
              <a:gd name="connsiteX35-295" fmla="*/ 9397013 w 9397013"/>
              <a:gd name="connsiteY35-296" fmla="*/ 7134207 h 7291226"/>
              <a:gd name="connsiteX36-297" fmla="*/ 8921338 w 9397013"/>
              <a:gd name="connsiteY36-298" fmla="*/ 7115735 h 7291226"/>
              <a:gd name="connsiteX37-299" fmla="*/ 5045299 w 9397013"/>
              <a:gd name="connsiteY37-300" fmla="*/ 2031113 h 7291226"/>
              <a:gd name="connsiteX38-301" fmla="*/ 5273037 w 9397013"/>
              <a:gd name="connsiteY38-302" fmla="*/ 1732846 h 7291226"/>
              <a:gd name="connsiteX39-303" fmla="*/ 9397013 w 9397013"/>
              <a:gd name="connsiteY39-304" fmla="*/ 7134207 h 7291226"/>
              <a:gd name="connsiteX0-305" fmla="*/ 168369 w 9397013"/>
              <a:gd name="connsiteY0-306" fmla="*/ 4779933 h 7291226"/>
              <a:gd name="connsiteX1-307" fmla="*/ 0 w 9397013"/>
              <a:gd name="connsiteY1-308" fmla="*/ 4409146 h 7291226"/>
              <a:gd name="connsiteX2-309" fmla="*/ 3332806 w 9397013"/>
              <a:gd name="connsiteY2-310" fmla="*/ 0 h 7291226"/>
              <a:gd name="connsiteX3-311" fmla="*/ 3794560 w 9397013"/>
              <a:gd name="connsiteY3-312" fmla="*/ 32861 h 7291226"/>
              <a:gd name="connsiteX4-313" fmla="*/ 168369 w 9397013"/>
              <a:gd name="connsiteY4-314" fmla="*/ 4779933 h 7291226"/>
              <a:gd name="connsiteX5-315" fmla="*/ 488220 w 9397013"/>
              <a:gd name="connsiteY5-316" fmla="*/ 5484315 h 7291226"/>
              <a:gd name="connsiteX6-317" fmla="*/ 299082 w 9397013"/>
              <a:gd name="connsiteY6-318" fmla="*/ 5067791 h 7291226"/>
              <a:gd name="connsiteX7-319" fmla="*/ 4106456 w 9397013"/>
              <a:gd name="connsiteY7-320" fmla="*/ 55057 h 7291226"/>
              <a:gd name="connsiteX8-321" fmla="*/ 4585079 w 9397013"/>
              <a:gd name="connsiteY8-322" fmla="*/ 89119 h 7291226"/>
              <a:gd name="connsiteX9-323" fmla="*/ 488220 w 9397013"/>
              <a:gd name="connsiteY9-324" fmla="*/ 5484315 h 7291226"/>
              <a:gd name="connsiteX10-325" fmla="*/ 779421 w 9397013"/>
              <a:gd name="connsiteY10-326" fmla="*/ 6125606 h 7291226"/>
              <a:gd name="connsiteX11-327" fmla="*/ 618065 w 9397013"/>
              <a:gd name="connsiteY11-328" fmla="*/ 5770263 h 7291226"/>
              <a:gd name="connsiteX12-329" fmla="*/ 4897528 w 9397013"/>
              <a:gd name="connsiteY12-330" fmla="*/ 111354 h 7291226"/>
              <a:gd name="connsiteX13-331" fmla="*/ 5324893 w 9397013"/>
              <a:gd name="connsiteY13-332" fmla="*/ 141768 h 7291226"/>
              <a:gd name="connsiteX14-333" fmla="*/ 779421 w 9397013"/>
              <a:gd name="connsiteY14-334" fmla="*/ 6125606 h 7291226"/>
              <a:gd name="connsiteX15-335" fmla="*/ 1099910 w 9397013"/>
              <a:gd name="connsiteY15-336" fmla="*/ 6831395 h 7291226"/>
              <a:gd name="connsiteX16-337" fmla="*/ 919656 w 9397013"/>
              <a:gd name="connsiteY16-338" fmla="*/ 6434435 h 7291226"/>
              <a:gd name="connsiteX17-339" fmla="*/ 5668965 w 9397013"/>
              <a:gd name="connsiteY17-340" fmla="*/ 166254 h 7291226"/>
              <a:gd name="connsiteX18-341" fmla="*/ 6114044 w 9397013"/>
              <a:gd name="connsiteY18-342" fmla="*/ 197929 h 7291226"/>
              <a:gd name="connsiteX19-343" fmla="*/ 1099910 w 9397013"/>
              <a:gd name="connsiteY19-344" fmla="*/ 6831395 h 7291226"/>
              <a:gd name="connsiteX20-345" fmla="*/ 7106560 w 9397013"/>
              <a:gd name="connsiteY20-346" fmla="*/ 7291226 h 7291226"/>
              <a:gd name="connsiteX21-347" fmla="*/ 6670875 w 9397013"/>
              <a:gd name="connsiteY21-348" fmla="*/ 7291226 h 7291226"/>
              <a:gd name="connsiteX22-349" fmla="*/ 3849932 w 9397013"/>
              <a:gd name="connsiteY22-350" fmla="*/ 3596670 h 7291226"/>
              <a:gd name="connsiteX23-351" fmla="*/ 4086202 w 9397013"/>
              <a:gd name="connsiteY23-352" fmla="*/ 3287229 h 7291226"/>
              <a:gd name="connsiteX24-353" fmla="*/ 7106560 w 9397013"/>
              <a:gd name="connsiteY24-354" fmla="*/ 7291226 h 7291226"/>
              <a:gd name="connsiteX25-355" fmla="*/ 7934229 w 9397013"/>
              <a:gd name="connsiteY25-356" fmla="*/ 7291226 h 7291226"/>
              <a:gd name="connsiteX26-357" fmla="*/ 7444802 w 9397013"/>
              <a:gd name="connsiteY26-358" fmla="*/ 7291226 h 7291226"/>
              <a:gd name="connsiteX27-359" fmla="*/ 4245793 w 9397013"/>
              <a:gd name="connsiteY27-360" fmla="*/ 3078214 h 7291226"/>
              <a:gd name="connsiteX28-361" fmla="*/ 4490696 w 9397013"/>
              <a:gd name="connsiteY28-362" fmla="*/ 2757469 h 7291226"/>
              <a:gd name="connsiteX29-363" fmla="*/ 7934229 w 9397013"/>
              <a:gd name="connsiteY29-364" fmla="*/ 7291226 h 7291226"/>
              <a:gd name="connsiteX30-365" fmla="*/ 8530746 w 9397013"/>
              <a:gd name="connsiteY30-366" fmla="*/ 7088026 h 7291226"/>
              <a:gd name="connsiteX31-367" fmla="*/ 8150153 w 9397013"/>
              <a:gd name="connsiteY31-368" fmla="*/ 7097262 h 7291226"/>
              <a:gd name="connsiteX32-369" fmla="*/ 4650570 w 9397013"/>
              <a:gd name="connsiteY32-370" fmla="*/ 2548084 h 7291226"/>
              <a:gd name="connsiteX33-371" fmla="*/ 4869244 w 9397013"/>
              <a:gd name="connsiteY33-372" fmla="*/ 2261689 h 7291226"/>
              <a:gd name="connsiteX34-373" fmla="*/ 8530746 w 9397013"/>
              <a:gd name="connsiteY34-374" fmla="*/ 7088026 h 7291226"/>
              <a:gd name="connsiteX35-375" fmla="*/ 9397013 w 9397013"/>
              <a:gd name="connsiteY35-376" fmla="*/ 7134207 h 7291226"/>
              <a:gd name="connsiteX36-377" fmla="*/ 8921338 w 9397013"/>
              <a:gd name="connsiteY36-378" fmla="*/ 7115735 h 7291226"/>
              <a:gd name="connsiteX37-379" fmla="*/ 5045299 w 9397013"/>
              <a:gd name="connsiteY37-380" fmla="*/ 2031113 h 7291226"/>
              <a:gd name="connsiteX38-381" fmla="*/ 5273037 w 9397013"/>
              <a:gd name="connsiteY38-382" fmla="*/ 1732846 h 7291226"/>
              <a:gd name="connsiteX39-383" fmla="*/ 9397013 w 9397013"/>
              <a:gd name="connsiteY39-384" fmla="*/ 7134207 h 7291226"/>
              <a:gd name="connsiteX0-385" fmla="*/ 168369 w 9397013"/>
              <a:gd name="connsiteY0-386" fmla="*/ 4779933 h 7291226"/>
              <a:gd name="connsiteX1-387" fmla="*/ 0 w 9397013"/>
              <a:gd name="connsiteY1-388" fmla="*/ 4409146 h 7291226"/>
              <a:gd name="connsiteX2-389" fmla="*/ 3332806 w 9397013"/>
              <a:gd name="connsiteY2-390" fmla="*/ 0 h 7291226"/>
              <a:gd name="connsiteX3-391" fmla="*/ 3794560 w 9397013"/>
              <a:gd name="connsiteY3-392" fmla="*/ 32861 h 7291226"/>
              <a:gd name="connsiteX4-393" fmla="*/ 168369 w 9397013"/>
              <a:gd name="connsiteY4-394" fmla="*/ 4779933 h 7291226"/>
              <a:gd name="connsiteX5-395" fmla="*/ 488220 w 9397013"/>
              <a:gd name="connsiteY5-396" fmla="*/ 5484315 h 7291226"/>
              <a:gd name="connsiteX6-397" fmla="*/ 299082 w 9397013"/>
              <a:gd name="connsiteY6-398" fmla="*/ 5067791 h 7291226"/>
              <a:gd name="connsiteX7-399" fmla="*/ 4106456 w 9397013"/>
              <a:gd name="connsiteY7-400" fmla="*/ 55057 h 7291226"/>
              <a:gd name="connsiteX8-401" fmla="*/ 4585079 w 9397013"/>
              <a:gd name="connsiteY8-402" fmla="*/ 89119 h 7291226"/>
              <a:gd name="connsiteX9-403" fmla="*/ 488220 w 9397013"/>
              <a:gd name="connsiteY9-404" fmla="*/ 5484315 h 7291226"/>
              <a:gd name="connsiteX10-405" fmla="*/ 779421 w 9397013"/>
              <a:gd name="connsiteY10-406" fmla="*/ 6125606 h 7291226"/>
              <a:gd name="connsiteX11-407" fmla="*/ 618065 w 9397013"/>
              <a:gd name="connsiteY11-408" fmla="*/ 5770263 h 7291226"/>
              <a:gd name="connsiteX12-409" fmla="*/ 4897528 w 9397013"/>
              <a:gd name="connsiteY12-410" fmla="*/ 111354 h 7291226"/>
              <a:gd name="connsiteX13-411" fmla="*/ 5324893 w 9397013"/>
              <a:gd name="connsiteY13-412" fmla="*/ 141768 h 7291226"/>
              <a:gd name="connsiteX14-413" fmla="*/ 779421 w 9397013"/>
              <a:gd name="connsiteY14-414" fmla="*/ 6125606 h 7291226"/>
              <a:gd name="connsiteX15-415" fmla="*/ 1099910 w 9397013"/>
              <a:gd name="connsiteY15-416" fmla="*/ 6831395 h 7291226"/>
              <a:gd name="connsiteX16-417" fmla="*/ 919656 w 9397013"/>
              <a:gd name="connsiteY16-418" fmla="*/ 6434435 h 7291226"/>
              <a:gd name="connsiteX17-419" fmla="*/ 5668965 w 9397013"/>
              <a:gd name="connsiteY17-420" fmla="*/ 166254 h 7291226"/>
              <a:gd name="connsiteX18-421" fmla="*/ 6114044 w 9397013"/>
              <a:gd name="connsiteY18-422" fmla="*/ 197929 h 7291226"/>
              <a:gd name="connsiteX19-423" fmla="*/ 1099910 w 9397013"/>
              <a:gd name="connsiteY19-424" fmla="*/ 6831395 h 7291226"/>
              <a:gd name="connsiteX20-425" fmla="*/ 7106560 w 9397013"/>
              <a:gd name="connsiteY20-426" fmla="*/ 7291226 h 7291226"/>
              <a:gd name="connsiteX21-427" fmla="*/ 6670875 w 9397013"/>
              <a:gd name="connsiteY21-428" fmla="*/ 7291226 h 7291226"/>
              <a:gd name="connsiteX22-429" fmla="*/ 3849932 w 9397013"/>
              <a:gd name="connsiteY22-430" fmla="*/ 3596670 h 7291226"/>
              <a:gd name="connsiteX23-431" fmla="*/ 4086202 w 9397013"/>
              <a:gd name="connsiteY23-432" fmla="*/ 3287229 h 7291226"/>
              <a:gd name="connsiteX24-433" fmla="*/ 7106560 w 9397013"/>
              <a:gd name="connsiteY24-434" fmla="*/ 7291226 h 7291226"/>
              <a:gd name="connsiteX25-435" fmla="*/ 7934229 w 9397013"/>
              <a:gd name="connsiteY25-436" fmla="*/ 7291226 h 7291226"/>
              <a:gd name="connsiteX26-437" fmla="*/ 7444802 w 9397013"/>
              <a:gd name="connsiteY26-438" fmla="*/ 7291226 h 7291226"/>
              <a:gd name="connsiteX27-439" fmla="*/ 4245793 w 9397013"/>
              <a:gd name="connsiteY27-440" fmla="*/ 3078214 h 7291226"/>
              <a:gd name="connsiteX28-441" fmla="*/ 4490696 w 9397013"/>
              <a:gd name="connsiteY28-442" fmla="*/ 2757469 h 7291226"/>
              <a:gd name="connsiteX29-443" fmla="*/ 7934229 w 9397013"/>
              <a:gd name="connsiteY29-444" fmla="*/ 7291226 h 7291226"/>
              <a:gd name="connsiteX30-445" fmla="*/ 8567691 w 9397013"/>
              <a:gd name="connsiteY30-446" fmla="*/ 7124971 h 7291226"/>
              <a:gd name="connsiteX31-447" fmla="*/ 8150153 w 9397013"/>
              <a:gd name="connsiteY31-448" fmla="*/ 7097262 h 7291226"/>
              <a:gd name="connsiteX32-449" fmla="*/ 4650570 w 9397013"/>
              <a:gd name="connsiteY32-450" fmla="*/ 2548084 h 7291226"/>
              <a:gd name="connsiteX33-451" fmla="*/ 4869244 w 9397013"/>
              <a:gd name="connsiteY33-452" fmla="*/ 2261689 h 7291226"/>
              <a:gd name="connsiteX34-453" fmla="*/ 8567691 w 9397013"/>
              <a:gd name="connsiteY34-454" fmla="*/ 7124971 h 7291226"/>
              <a:gd name="connsiteX35-455" fmla="*/ 9397013 w 9397013"/>
              <a:gd name="connsiteY35-456" fmla="*/ 7134207 h 7291226"/>
              <a:gd name="connsiteX36-457" fmla="*/ 8921338 w 9397013"/>
              <a:gd name="connsiteY36-458" fmla="*/ 7115735 h 7291226"/>
              <a:gd name="connsiteX37-459" fmla="*/ 5045299 w 9397013"/>
              <a:gd name="connsiteY37-460" fmla="*/ 2031113 h 7291226"/>
              <a:gd name="connsiteX38-461" fmla="*/ 5273037 w 9397013"/>
              <a:gd name="connsiteY38-462" fmla="*/ 1732846 h 7291226"/>
              <a:gd name="connsiteX39-463" fmla="*/ 9397013 w 9397013"/>
              <a:gd name="connsiteY39-464" fmla="*/ 7134207 h 7291226"/>
              <a:gd name="connsiteX0-465" fmla="*/ 168369 w 9397013"/>
              <a:gd name="connsiteY0-466" fmla="*/ 4779933 h 7291226"/>
              <a:gd name="connsiteX1-467" fmla="*/ 0 w 9397013"/>
              <a:gd name="connsiteY1-468" fmla="*/ 4409146 h 7291226"/>
              <a:gd name="connsiteX2-469" fmla="*/ 3332806 w 9397013"/>
              <a:gd name="connsiteY2-470" fmla="*/ 0 h 7291226"/>
              <a:gd name="connsiteX3-471" fmla="*/ 3794560 w 9397013"/>
              <a:gd name="connsiteY3-472" fmla="*/ 32861 h 7291226"/>
              <a:gd name="connsiteX4-473" fmla="*/ 168369 w 9397013"/>
              <a:gd name="connsiteY4-474" fmla="*/ 4779933 h 7291226"/>
              <a:gd name="connsiteX5-475" fmla="*/ 488220 w 9397013"/>
              <a:gd name="connsiteY5-476" fmla="*/ 5484315 h 7291226"/>
              <a:gd name="connsiteX6-477" fmla="*/ 299082 w 9397013"/>
              <a:gd name="connsiteY6-478" fmla="*/ 5067791 h 7291226"/>
              <a:gd name="connsiteX7-479" fmla="*/ 4106456 w 9397013"/>
              <a:gd name="connsiteY7-480" fmla="*/ 55057 h 7291226"/>
              <a:gd name="connsiteX8-481" fmla="*/ 4585079 w 9397013"/>
              <a:gd name="connsiteY8-482" fmla="*/ 89119 h 7291226"/>
              <a:gd name="connsiteX9-483" fmla="*/ 488220 w 9397013"/>
              <a:gd name="connsiteY9-484" fmla="*/ 5484315 h 7291226"/>
              <a:gd name="connsiteX10-485" fmla="*/ 779421 w 9397013"/>
              <a:gd name="connsiteY10-486" fmla="*/ 6125606 h 7291226"/>
              <a:gd name="connsiteX11-487" fmla="*/ 618065 w 9397013"/>
              <a:gd name="connsiteY11-488" fmla="*/ 5770263 h 7291226"/>
              <a:gd name="connsiteX12-489" fmla="*/ 4897528 w 9397013"/>
              <a:gd name="connsiteY12-490" fmla="*/ 111354 h 7291226"/>
              <a:gd name="connsiteX13-491" fmla="*/ 5324893 w 9397013"/>
              <a:gd name="connsiteY13-492" fmla="*/ 141768 h 7291226"/>
              <a:gd name="connsiteX14-493" fmla="*/ 779421 w 9397013"/>
              <a:gd name="connsiteY14-494" fmla="*/ 6125606 h 7291226"/>
              <a:gd name="connsiteX15-495" fmla="*/ 1099910 w 9397013"/>
              <a:gd name="connsiteY15-496" fmla="*/ 6831395 h 7291226"/>
              <a:gd name="connsiteX16-497" fmla="*/ 919656 w 9397013"/>
              <a:gd name="connsiteY16-498" fmla="*/ 6434435 h 7291226"/>
              <a:gd name="connsiteX17-499" fmla="*/ 5668965 w 9397013"/>
              <a:gd name="connsiteY17-500" fmla="*/ 166254 h 7291226"/>
              <a:gd name="connsiteX18-501" fmla="*/ 6114044 w 9397013"/>
              <a:gd name="connsiteY18-502" fmla="*/ 197929 h 7291226"/>
              <a:gd name="connsiteX19-503" fmla="*/ 1099910 w 9397013"/>
              <a:gd name="connsiteY19-504" fmla="*/ 6831395 h 7291226"/>
              <a:gd name="connsiteX20-505" fmla="*/ 7106560 w 9397013"/>
              <a:gd name="connsiteY20-506" fmla="*/ 7291226 h 7291226"/>
              <a:gd name="connsiteX21-507" fmla="*/ 6670875 w 9397013"/>
              <a:gd name="connsiteY21-508" fmla="*/ 7291226 h 7291226"/>
              <a:gd name="connsiteX22-509" fmla="*/ 3849932 w 9397013"/>
              <a:gd name="connsiteY22-510" fmla="*/ 3596670 h 7291226"/>
              <a:gd name="connsiteX23-511" fmla="*/ 4086202 w 9397013"/>
              <a:gd name="connsiteY23-512" fmla="*/ 3287229 h 7291226"/>
              <a:gd name="connsiteX24-513" fmla="*/ 7106560 w 9397013"/>
              <a:gd name="connsiteY24-514" fmla="*/ 7291226 h 7291226"/>
              <a:gd name="connsiteX25-515" fmla="*/ 7934229 w 9397013"/>
              <a:gd name="connsiteY25-516" fmla="*/ 7291226 h 7291226"/>
              <a:gd name="connsiteX26-517" fmla="*/ 7444802 w 9397013"/>
              <a:gd name="connsiteY26-518" fmla="*/ 7291226 h 7291226"/>
              <a:gd name="connsiteX27-519" fmla="*/ 4245793 w 9397013"/>
              <a:gd name="connsiteY27-520" fmla="*/ 3078214 h 7291226"/>
              <a:gd name="connsiteX28-521" fmla="*/ 4490696 w 9397013"/>
              <a:gd name="connsiteY28-522" fmla="*/ 2757469 h 7291226"/>
              <a:gd name="connsiteX29-523" fmla="*/ 7934229 w 9397013"/>
              <a:gd name="connsiteY29-524" fmla="*/ 7291226 h 7291226"/>
              <a:gd name="connsiteX30-525" fmla="*/ 8567691 w 9397013"/>
              <a:gd name="connsiteY30-526" fmla="*/ 7124971 h 7291226"/>
              <a:gd name="connsiteX31-527" fmla="*/ 8159389 w 9397013"/>
              <a:gd name="connsiteY31-528" fmla="*/ 7134208 h 7291226"/>
              <a:gd name="connsiteX32-529" fmla="*/ 4650570 w 9397013"/>
              <a:gd name="connsiteY32-530" fmla="*/ 2548084 h 7291226"/>
              <a:gd name="connsiteX33-531" fmla="*/ 4869244 w 9397013"/>
              <a:gd name="connsiteY33-532" fmla="*/ 2261689 h 7291226"/>
              <a:gd name="connsiteX34-533" fmla="*/ 8567691 w 9397013"/>
              <a:gd name="connsiteY34-534" fmla="*/ 7124971 h 7291226"/>
              <a:gd name="connsiteX35-535" fmla="*/ 9397013 w 9397013"/>
              <a:gd name="connsiteY35-536" fmla="*/ 7134207 h 7291226"/>
              <a:gd name="connsiteX36-537" fmla="*/ 8921338 w 9397013"/>
              <a:gd name="connsiteY36-538" fmla="*/ 7115735 h 7291226"/>
              <a:gd name="connsiteX37-539" fmla="*/ 5045299 w 9397013"/>
              <a:gd name="connsiteY37-540" fmla="*/ 2031113 h 7291226"/>
              <a:gd name="connsiteX38-541" fmla="*/ 5273037 w 9397013"/>
              <a:gd name="connsiteY38-542" fmla="*/ 1732846 h 7291226"/>
              <a:gd name="connsiteX39-543" fmla="*/ 9397013 w 9397013"/>
              <a:gd name="connsiteY39-544" fmla="*/ 7134207 h 7291226"/>
              <a:gd name="connsiteX0-545" fmla="*/ 168369 w 9397013"/>
              <a:gd name="connsiteY0-546" fmla="*/ 4779933 h 7291226"/>
              <a:gd name="connsiteX1-547" fmla="*/ 0 w 9397013"/>
              <a:gd name="connsiteY1-548" fmla="*/ 4409146 h 7291226"/>
              <a:gd name="connsiteX2-549" fmla="*/ 3332806 w 9397013"/>
              <a:gd name="connsiteY2-550" fmla="*/ 0 h 7291226"/>
              <a:gd name="connsiteX3-551" fmla="*/ 3794560 w 9397013"/>
              <a:gd name="connsiteY3-552" fmla="*/ 32861 h 7291226"/>
              <a:gd name="connsiteX4-553" fmla="*/ 168369 w 9397013"/>
              <a:gd name="connsiteY4-554" fmla="*/ 4779933 h 7291226"/>
              <a:gd name="connsiteX5-555" fmla="*/ 488220 w 9397013"/>
              <a:gd name="connsiteY5-556" fmla="*/ 5484315 h 7291226"/>
              <a:gd name="connsiteX6-557" fmla="*/ 299082 w 9397013"/>
              <a:gd name="connsiteY6-558" fmla="*/ 5067791 h 7291226"/>
              <a:gd name="connsiteX7-559" fmla="*/ 4106456 w 9397013"/>
              <a:gd name="connsiteY7-560" fmla="*/ 55057 h 7291226"/>
              <a:gd name="connsiteX8-561" fmla="*/ 4585079 w 9397013"/>
              <a:gd name="connsiteY8-562" fmla="*/ 89119 h 7291226"/>
              <a:gd name="connsiteX9-563" fmla="*/ 488220 w 9397013"/>
              <a:gd name="connsiteY9-564" fmla="*/ 5484315 h 7291226"/>
              <a:gd name="connsiteX10-565" fmla="*/ 779421 w 9397013"/>
              <a:gd name="connsiteY10-566" fmla="*/ 6125606 h 7291226"/>
              <a:gd name="connsiteX11-567" fmla="*/ 618065 w 9397013"/>
              <a:gd name="connsiteY11-568" fmla="*/ 5770263 h 7291226"/>
              <a:gd name="connsiteX12-569" fmla="*/ 4897528 w 9397013"/>
              <a:gd name="connsiteY12-570" fmla="*/ 111354 h 7291226"/>
              <a:gd name="connsiteX13-571" fmla="*/ 5324893 w 9397013"/>
              <a:gd name="connsiteY13-572" fmla="*/ 141768 h 7291226"/>
              <a:gd name="connsiteX14-573" fmla="*/ 779421 w 9397013"/>
              <a:gd name="connsiteY14-574" fmla="*/ 6125606 h 7291226"/>
              <a:gd name="connsiteX15-575" fmla="*/ 1099910 w 9397013"/>
              <a:gd name="connsiteY15-576" fmla="*/ 6831395 h 7291226"/>
              <a:gd name="connsiteX16-577" fmla="*/ 919656 w 9397013"/>
              <a:gd name="connsiteY16-578" fmla="*/ 6434435 h 7291226"/>
              <a:gd name="connsiteX17-579" fmla="*/ 5668965 w 9397013"/>
              <a:gd name="connsiteY17-580" fmla="*/ 166254 h 7291226"/>
              <a:gd name="connsiteX18-581" fmla="*/ 6114044 w 9397013"/>
              <a:gd name="connsiteY18-582" fmla="*/ 197929 h 7291226"/>
              <a:gd name="connsiteX19-583" fmla="*/ 1099910 w 9397013"/>
              <a:gd name="connsiteY19-584" fmla="*/ 6831395 h 7291226"/>
              <a:gd name="connsiteX20-585" fmla="*/ 7106560 w 9397013"/>
              <a:gd name="connsiteY20-586" fmla="*/ 7291226 h 7291226"/>
              <a:gd name="connsiteX21-587" fmla="*/ 6670875 w 9397013"/>
              <a:gd name="connsiteY21-588" fmla="*/ 7291226 h 7291226"/>
              <a:gd name="connsiteX22-589" fmla="*/ 3849932 w 9397013"/>
              <a:gd name="connsiteY22-590" fmla="*/ 3596670 h 7291226"/>
              <a:gd name="connsiteX23-591" fmla="*/ 4086202 w 9397013"/>
              <a:gd name="connsiteY23-592" fmla="*/ 3287229 h 7291226"/>
              <a:gd name="connsiteX24-593" fmla="*/ 7106560 w 9397013"/>
              <a:gd name="connsiteY24-594" fmla="*/ 7291226 h 7291226"/>
              <a:gd name="connsiteX25-595" fmla="*/ 7777211 w 9397013"/>
              <a:gd name="connsiteY25-596" fmla="*/ 7124972 h 7291226"/>
              <a:gd name="connsiteX26-597" fmla="*/ 7444802 w 9397013"/>
              <a:gd name="connsiteY26-598" fmla="*/ 7291226 h 7291226"/>
              <a:gd name="connsiteX27-599" fmla="*/ 4245793 w 9397013"/>
              <a:gd name="connsiteY27-600" fmla="*/ 3078214 h 7291226"/>
              <a:gd name="connsiteX28-601" fmla="*/ 4490696 w 9397013"/>
              <a:gd name="connsiteY28-602" fmla="*/ 2757469 h 7291226"/>
              <a:gd name="connsiteX29-603" fmla="*/ 7777211 w 9397013"/>
              <a:gd name="connsiteY29-604" fmla="*/ 7124972 h 7291226"/>
              <a:gd name="connsiteX30-605" fmla="*/ 8567691 w 9397013"/>
              <a:gd name="connsiteY30-606" fmla="*/ 7124971 h 7291226"/>
              <a:gd name="connsiteX31-607" fmla="*/ 8159389 w 9397013"/>
              <a:gd name="connsiteY31-608" fmla="*/ 7134208 h 7291226"/>
              <a:gd name="connsiteX32-609" fmla="*/ 4650570 w 9397013"/>
              <a:gd name="connsiteY32-610" fmla="*/ 2548084 h 7291226"/>
              <a:gd name="connsiteX33-611" fmla="*/ 4869244 w 9397013"/>
              <a:gd name="connsiteY33-612" fmla="*/ 2261689 h 7291226"/>
              <a:gd name="connsiteX34-613" fmla="*/ 8567691 w 9397013"/>
              <a:gd name="connsiteY34-614" fmla="*/ 7124971 h 7291226"/>
              <a:gd name="connsiteX35-615" fmla="*/ 9397013 w 9397013"/>
              <a:gd name="connsiteY35-616" fmla="*/ 7134207 h 7291226"/>
              <a:gd name="connsiteX36-617" fmla="*/ 8921338 w 9397013"/>
              <a:gd name="connsiteY36-618" fmla="*/ 7115735 h 7291226"/>
              <a:gd name="connsiteX37-619" fmla="*/ 5045299 w 9397013"/>
              <a:gd name="connsiteY37-620" fmla="*/ 2031113 h 7291226"/>
              <a:gd name="connsiteX38-621" fmla="*/ 5273037 w 9397013"/>
              <a:gd name="connsiteY38-622" fmla="*/ 1732846 h 7291226"/>
              <a:gd name="connsiteX39-623" fmla="*/ 9397013 w 9397013"/>
              <a:gd name="connsiteY39-624" fmla="*/ 7134207 h 7291226"/>
              <a:gd name="connsiteX0-625" fmla="*/ 168369 w 9397013"/>
              <a:gd name="connsiteY0-626" fmla="*/ 4779933 h 7291226"/>
              <a:gd name="connsiteX1-627" fmla="*/ 0 w 9397013"/>
              <a:gd name="connsiteY1-628" fmla="*/ 4409146 h 7291226"/>
              <a:gd name="connsiteX2-629" fmla="*/ 3332806 w 9397013"/>
              <a:gd name="connsiteY2-630" fmla="*/ 0 h 7291226"/>
              <a:gd name="connsiteX3-631" fmla="*/ 3794560 w 9397013"/>
              <a:gd name="connsiteY3-632" fmla="*/ 32861 h 7291226"/>
              <a:gd name="connsiteX4-633" fmla="*/ 168369 w 9397013"/>
              <a:gd name="connsiteY4-634" fmla="*/ 4779933 h 7291226"/>
              <a:gd name="connsiteX5-635" fmla="*/ 488220 w 9397013"/>
              <a:gd name="connsiteY5-636" fmla="*/ 5484315 h 7291226"/>
              <a:gd name="connsiteX6-637" fmla="*/ 299082 w 9397013"/>
              <a:gd name="connsiteY6-638" fmla="*/ 5067791 h 7291226"/>
              <a:gd name="connsiteX7-639" fmla="*/ 4106456 w 9397013"/>
              <a:gd name="connsiteY7-640" fmla="*/ 55057 h 7291226"/>
              <a:gd name="connsiteX8-641" fmla="*/ 4585079 w 9397013"/>
              <a:gd name="connsiteY8-642" fmla="*/ 89119 h 7291226"/>
              <a:gd name="connsiteX9-643" fmla="*/ 488220 w 9397013"/>
              <a:gd name="connsiteY9-644" fmla="*/ 5484315 h 7291226"/>
              <a:gd name="connsiteX10-645" fmla="*/ 779421 w 9397013"/>
              <a:gd name="connsiteY10-646" fmla="*/ 6125606 h 7291226"/>
              <a:gd name="connsiteX11-647" fmla="*/ 618065 w 9397013"/>
              <a:gd name="connsiteY11-648" fmla="*/ 5770263 h 7291226"/>
              <a:gd name="connsiteX12-649" fmla="*/ 4897528 w 9397013"/>
              <a:gd name="connsiteY12-650" fmla="*/ 111354 h 7291226"/>
              <a:gd name="connsiteX13-651" fmla="*/ 5324893 w 9397013"/>
              <a:gd name="connsiteY13-652" fmla="*/ 141768 h 7291226"/>
              <a:gd name="connsiteX14-653" fmla="*/ 779421 w 9397013"/>
              <a:gd name="connsiteY14-654" fmla="*/ 6125606 h 7291226"/>
              <a:gd name="connsiteX15-655" fmla="*/ 1099910 w 9397013"/>
              <a:gd name="connsiteY15-656" fmla="*/ 6831395 h 7291226"/>
              <a:gd name="connsiteX16-657" fmla="*/ 919656 w 9397013"/>
              <a:gd name="connsiteY16-658" fmla="*/ 6434435 h 7291226"/>
              <a:gd name="connsiteX17-659" fmla="*/ 5668965 w 9397013"/>
              <a:gd name="connsiteY17-660" fmla="*/ 166254 h 7291226"/>
              <a:gd name="connsiteX18-661" fmla="*/ 6114044 w 9397013"/>
              <a:gd name="connsiteY18-662" fmla="*/ 197929 h 7291226"/>
              <a:gd name="connsiteX19-663" fmla="*/ 1099910 w 9397013"/>
              <a:gd name="connsiteY19-664" fmla="*/ 6831395 h 7291226"/>
              <a:gd name="connsiteX20-665" fmla="*/ 7106560 w 9397013"/>
              <a:gd name="connsiteY20-666" fmla="*/ 7291226 h 7291226"/>
              <a:gd name="connsiteX21-667" fmla="*/ 6670875 w 9397013"/>
              <a:gd name="connsiteY21-668" fmla="*/ 7291226 h 7291226"/>
              <a:gd name="connsiteX22-669" fmla="*/ 3849932 w 9397013"/>
              <a:gd name="connsiteY22-670" fmla="*/ 3596670 h 7291226"/>
              <a:gd name="connsiteX23-671" fmla="*/ 4086202 w 9397013"/>
              <a:gd name="connsiteY23-672" fmla="*/ 3287229 h 7291226"/>
              <a:gd name="connsiteX24-673" fmla="*/ 7106560 w 9397013"/>
              <a:gd name="connsiteY24-674" fmla="*/ 7291226 h 7291226"/>
              <a:gd name="connsiteX25-675" fmla="*/ 7777211 w 9397013"/>
              <a:gd name="connsiteY25-676" fmla="*/ 7124972 h 7291226"/>
              <a:gd name="connsiteX26-677" fmla="*/ 7324729 w 9397013"/>
              <a:gd name="connsiteY26-678" fmla="*/ 7124972 h 7291226"/>
              <a:gd name="connsiteX27-679" fmla="*/ 4245793 w 9397013"/>
              <a:gd name="connsiteY27-680" fmla="*/ 3078214 h 7291226"/>
              <a:gd name="connsiteX28-681" fmla="*/ 4490696 w 9397013"/>
              <a:gd name="connsiteY28-682" fmla="*/ 2757469 h 7291226"/>
              <a:gd name="connsiteX29-683" fmla="*/ 7777211 w 9397013"/>
              <a:gd name="connsiteY29-684" fmla="*/ 7124972 h 7291226"/>
              <a:gd name="connsiteX30-685" fmla="*/ 8567691 w 9397013"/>
              <a:gd name="connsiteY30-686" fmla="*/ 7124971 h 7291226"/>
              <a:gd name="connsiteX31-687" fmla="*/ 8159389 w 9397013"/>
              <a:gd name="connsiteY31-688" fmla="*/ 7134208 h 7291226"/>
              <a:gd name="connsiteX32-689" fmla="*/ 4650570 w 9397013"/>
              <a:gd name="connsiteY32-690" fmla="*/ 2548084 h 7291226"/>
              <a:gd name="connsiteX33-691" fmla="*/ 4869244 w 9397013"/>
              <a:gd name="connsiteY33-692" fmla="*/ 2261689 h 7291226"/>
              <a:gd name="connsiteX34-693" fmla="*/ 8567691 w 9397013"/>
              <a:gd name="connsiteY34-694" fmla="*/ 7124971 h 7291226"/>
              <a:gd name="connsiteX35-695" fmla="*/ 9397013 w 9397013"/>
              <a:gd name="connsiteY35-696" fmla="*/ 7134207 h 7291226"/>
              <a:gd name="connsiteX36-697" fmla="*/ 8921338 w 9397013"/>
              <a:gd name="connsiteY36-698" fmla="*/ 7115735 h 7291226"/>
              <a:gd name="connsiteX37-699" fmla="*/ 5045299 w 9397013"/>
              <a:gd name="connsiteY37-700" fmla="*/ 2031113 h 7291226"/>
              <a:gd name="connsiteX38-701" fmla="*/ 5273037 w 9397013"/>
              <a:gd name="connsiteY38-702" fmla="*/ 1732846 h 7291226"/>
              <a:gd name="connsiteX39-703" fmla="*/ 9397013 w 9397013"/>
              <a:gd name="connsiteY39-704" fmla="*/ 7134207 h 7291226"/>
              <a:gd name="connsiteX0-705" fmla="*/ 168369 w 9397013"/>
              <a:gd name="connsiteY0-706" fmla="*/ 4779933 h 7291226"/>
              <a:gd name="connsiteX1-707" fmla="*/ 0 w 9397013"/>
              <a:gd name="connsiteY1-708" fmla="*/ 4409146 h 7291226"/>
              <a:gd name="connsiteX2-709" fmla="*/ 3332806 w 9397013"/>
              <a:gd name="connsiteY2-710" fmla="*/ 0 h 7291226"/>
              <a:gd name="connsiteX3-711" fmla="*/ 3794560 w 9397013"/>
              <a:gd name="connsiteY3-712" fmla="*/ 32861 h 7291226"/>
              <a:gd name="connsiteX4-713" fmla="*/ 168369 w 9397013"/>
              <a:gd name="connsiteY4-714" fmla="*/ 4779933 h 7291226"/>
              <a:gd name="connsiteX5-715" fmla="*/ 488220 w 9397013"/>
              <a:gd name="connsiteY5-716" fmla="*/ 5484315 h 7291226"/>
              <a:gd name="connsiteX6-717" fmla="*/ 299082 w 9397013"/>
              <a:gd name="connsiteY6-718" fmla="*/ 5067791 h 7291226"/>
              <a:gd name="connsiteX7-719" fmla="*/ 4106456 w 9397013"/>
              <a:gd name="connsiteY7-720" fmla="*/ 55057 h 7291226"/>
              <a:gd name="connsiteX8-721" fmla="*/ 4585079 w 9397013"/>
              <a:gd name="connsiteY8-722" fmla="*/ 89119 h 7291226"/>
              <a:gd name="connsiteX9-723" fmla="*/ 488220 w 9397013"/>
              <a:gd name="connsiteY9-724" fmla="*/ 5484315 h 7291226"/>
              <a:gd name="connsiteX10-725" fmla="*/ 779421 w 9397013"/>
              <a:gd name="connsiteY10-726" fmla="*/ 6125606 h 7291226"/>
              <a:gd name="connsiteX11-727" fmla="*/ 618065 w 9397013"/>
              <a:gd name="connsiteY11-728" fmla="*/ 5770263 h 7291226"/>
              <a:gd name="connsiteX12-729" fmla="*/ 4897528 w 9397013"/>
              <a:gd name="connsiteY12-730" fmla="*/ 111354 h 7291226"/>
              <a:gd name="connsiteX13-731" fmla="*/ 5324893 w 9397013"/>
              <a:gd name="connsiteY13-732" fmla="*/ 141768 h 7291226"/>
              <a:gd name="connsiteX14-733" fmla="*/ 779421 w 9397013"/>
              <a:gd name="connsiteY14-734" fmla="*/ 6125606 h 7291226"/>
              <a:gd name="connsiteX15-735" fmla="*/ 1099910 w 9397013"/>
              <a:gd name="connsiteY15-736" fmla="*/ 6831395 h 7291226"/>
              <a:gd name="connsiteX16-737" fmla="*/ 919656 w 9397013"/>
              <a:gd name="connsiteY16-738" fmla="*/ 6434435 h 7291226"/>
              <a:gd name="connsiteX17-739" fmla="*/ 5668965 w 9397013"/>
              <a:gd name="connsiteY17-740" fmla="*/ 166254 h 7291226"/>
              <a:gd name="connsiteX18-741" fmla="*/ 6114044 w 9397013"/>
              <a:gd name="connsiteY18-742" fmla="*/ 197929 h 7291226"/>
              <a:gd name="connsiteX19-743" fmla="*/ 1099910 w 9397013"/>
              <a:gd name="connsiteY19-744" fmla="*/ 6831395 h 7291226"/>
              <a:gd name="connsiteX20-745" fmla="*/ 6968015 w 9397013"/>
              <a:gd name="connsiteY20-746" fmla="*/ 7143444 h 7291226"/>
              <a:gd name="connsiteX21-747" fmla="*/ 6670875 w 9397013"/>
              <a:gd name="connsiteY21-748" fmla="*/ 7291226 h 7291226"/>
              <a:gd name="connsiteX22-749" fmla="*/ 3849932 w 9397013"/>
              <a:gd name="connsiteY22-750" fmla="*/ 3596670 h 7291226"/>
              <a:gd name="connsiteX23-751" fmla="*/ 4086202 w 9397013"/>
              <a:gd name="connsiteY23-752" fmla="*/ 3287229 h 7291226"/>
              <a:gd name="connsiteX24-753" fmla="*/ 6968015 w 9397013"/>
              <a:gd name="connsiteY24-754" fmla="*/ 7143444 h 7291226"/>
              <a:gd name="connsiteX25-755" fmla="*/ 7777211 w 9397013"/>
              <a:gd name="connsiteY25-756" fmla="*/ 7124972 h 7291226"/>
              <a:gd name="connsiteX26-757" fmla="*/ 7324729 w 9397013"/>
              <a:gd name="connsiteY26-758" fmla="*/ 7124972 h 7291226"/>
              <a:gd name="connsiteX27-759" fmla="*/ 4245793 w 9397013"/>
              <a:gd name="connsiteY27-760" fmla="*/ 3078214 h 7291226"/>
              <a:gd name="connsiteX28-761" fmla="*/ 4490696 w 9397013"/>
              <a:gd name="connsiteY28-762" fmla="*/ 2757469 h 7291226"/>
              <a:gd name="connsiteX29-763" fmla="*/ 7777211 w 9397013"/>
              <a:gd name="connsiteY29-764" fmla="*/ 7124972 h 7291226"/>
              <a:gd name="connsiteX30-765" fmla="*/ 8567691 w 9397013"/>
              <a:gd name="connsiteY30-766" fmla="*/ 7124971 h 7291226"/>
              <a:gd name="connsiteX31-767" fmla="*/ 8159389 w 9397013"/>
              <a:gd name="connsiteY31-768" fmla="*/ 7134208 h 7291226"/>
              <a:gd name="connsiteX32-769" fmla="*/ 4650570 w 9397013"/>
              <a:gd name="connsiteY32-770" fmla="*/ 2548084 h 7291226"/>
              <a:gd name="connsiteX33-771" fmla="*/ 4869244 w 9397013"/>
              <a:gd name="connsiteY33-772" fmla="*/ 2261689 h 7291226"/>
              <a:gd name="connsiteX34-773" fmla="*/ 8567691 w 9397013"/>
              <a:gd name="connsiteY34-774" fmla="*/ 7124971 h 7291226"/>
              <a:gd name="connsiteX35-775" fmla="*/ 9397013 w 9397013"/>
              <a:gd name="connsiteY35-776" fmla="*/ 7134207 h 7291226"/>
              <a:gd name="connsiteX36-777" fmla="*/ 8921338 w 9397013"/>
              <a:gd name="connsiteY36-778" fmla="*/ 7115735 h 7291226"/>
              <a:gd name="connsiteX37-779" fmla="*/ 5045299 w 9397013"/>
              <a:gd name="connsiteY37-780" fmla="*/ 2031113 h 7291226"/>
              <a:gd name="connsiteX38-781" fmla="*/ 5273037 w 9397013"/>
              <a:gd name="connsiteY38-782" fmla="*/ 1732846 h 7291226"/>
              <a:gd name="connsiteX39-783" fmla="*/ 9397013 w 9397013"/>
              <a:gd name="connsiteY39-784" fmla="*/ 7134207 h 7291226"/>
              <a:gd name="connsiteX0-785" fmla="*/ 168369 w 9397013"/>
              <a:gd name="connsiteY0-786" fmla="*/ 4779933 h 7143444"/>
              <a:gd name="connsiteX1-787" fmla="*/ 0 w 9397013"/>
              <a:gd name="connsiteY1-788" fmla="*/ 4409146 h 7143444"/>
              <a:gd name="connsiteX2-789" fmla="*/ 3332806 w 9397013"/>
              <a:gd name="connsiteY2-790" fmla="*/ 0 h 7143444"/>
              <a:gd name="connsiteX3-791" fmla="*/ 3794560 w 9397013"/>
              <a:gd name="connsiteY3-792" fmla="*/ 32861 h 7143444"/>
              <a:gd name="connsiteX4-793" fmla="*/ 168369 w 9397013"/>
              <a:gd name="connsiteY4-794" fmla="*/ 4779933 h 7143444"/>
              <a:gd name="connsiteX5-795" fmla="*/ 488220 w 9397013"/>
              <a:gd name="connsiteY5-796" fmla="*/ 5484315 h 7143444"/>
              <a:gd name="connsiteX6-797" fmla="*/ 299082 w 9397013"/>
              <a:gd name="connsiteY6-798" fmla="*/ 5067791 h 7143444"/>
              <a:gd name="connsiteX7-799" fmla="*/ 4106456 w 9397013"/>
              <a:gd name="connsiteY7-800" fmla="*/ 55057 h 7143444"/>
              <a:gd name="connsiteX8-801" fmla="*/ 4585079 w 9397013"/>
              <a:gd name="connsiteY8-802" fmla="*/ 89119 h 7143444"/>
              <a:gd name="connsiteX9-803" fmla="*/ 488220 w 9397013"/>
              <a:gd name="connsiteY9-804" fmla="*/ 5484315 h 7143444"/>
              <a:gd name="connsiteX10-805" fmla="*/ 779421 w 9397013"/>
              <a:gd name="connsiteY10-806" fmla="*/ 6125606 h 7143444"/>
              <a:gd name="connsiteX11-807" fmla="*/ 618065 w 9397013"/>
              <a:gd name="connsiteY11-808" fmla="*/ 5770263 h 7143444"/>
              <a:gd name="connsiteX12-809" fmla="*/ 4897528 w 9397013"/>
              <a:gd name="connsiteY12-810" fmla="*/ 111354 h 7143444"/>
              <a:gd name="connsiteX13-811" fmla="*/ 5324893 w 9397013"/>
              <a:gd name="connsiteY13-812" fmla="*/ 141768 h 7143444"/>
              <a:gd name="connsiteX14-813" fmla="*/ 779421 w 9397013"/>
              <a:gd name="connsiteY14-814" fmla="*/ 6125606 h 7143444"/>
              <a:gd name="connsiteX15-815" fmla="*/ 1099910 w 9397013"/>
              <a:gd name="connsiteY15-816" fmla="*/ 6831395 h 7143444"/>
              <a:gd name="connsiteX16-817" fmla="*/ 919656 w 9397013"/>
              <a:gd name="connsiteY16-818" fmla="*/ 6434435 h 7143444"/>
              <a:gd name="connsiteX17-819" fmla="*/ 5668965 w 9397013"/>
              <a:gd name="connsiteY17-820" fmla="*/ 166254 h 7143444"/>
              <a:gd name="connsiteX18-821" fmla="*/ 6114044 w 9397013"/>
              <a:gd name="connsiteY18-822" fmla="*/ 197929 h 7143444"/>
              <a:gd name="connsiteX19-823" fmla="*/ 1099910 w 9397013"/>
              <a:gd name="connsiteY19-824" fmla="*/ 6831395 h 7143444"/>
              <a:gd name="connsiteX20-825" fmla="*/ 6968015 w 9397013"/>
              <a:gd name="connsiteY20-826" fmla="*/ 7143444 h 7143444"/>
              <a:gd name="connsiteX21-827" fmla="*/ 6550802 w 9397013"/>
              <a:gd name="connsiteY21-828" fmla="*/ 7143444 h 7143444"/>
              <a:gd name="connsiteX22-829" fmla="*/ 3849932 w 9397013"/>
              <a:gd name="connsiteY22-830" fmla="*/ 3596670 h 7143444"/>
              <a:gd name="connsiteX23-831" fmla="*/ 4086202 w 9397013"/>
              <a:gd name="connsiteY23-832" fmla="*/ 3287229 h 7143444"/>
              <a:gd name="connsiteX24-833" fmla="*/ 6968015 w 9397013"/>
              <a:gd name="connsiteY24-834" fmla="*/ 7143444 h 7143444"/>
              <a:gd name="connsiteX25-835" fmla="*/ 7777211 w 9397013"/>
              <a:gd name="connsiteY25-836" fmla="*/ 7124972 h 7143444"/>
              <a:gd name="connsiteX26-837" fmla="*/ 7324729 w 9397013"/>
              <a:gd name="connsiteY26-838" fmla="*/ 7124972 h 7143444"/>
              <a:gd name="connsiteX27-839" fmla="*/ 4245793 w 9397013"/>
              <a:gd name="connsiteY27-840" fmla="*/ 3078214 h 7143444"/>
              <a:gd name="connsiteX28-841" fmla="*/ 4490696 w 9397013"/>
              <a:gd name="connsiteY28-842" fmla="*/ 2757469 h 7143444"/>
              <a:gd name="connsiteX29-843" fmla="*/ 7777211 w 9397013"/>
              <a:gd name="connsiteY29-844" fmla="*/ 7124972 h 7143444"/>
              <a:gd name="connsiteX30-845" fmla="*/ 8567691 w 9397013"/>
              <a:gd name="connsiteY30-846" fmla="*/ 7124971 h 7143444"/>
              <a:gd name="connsiteX31-847" fmla="*/ 8159389 w 9397013"/>
              <a:gd name="connsiteY31-848" fmla="*/ 7134208 h 7143444"/>
              <a:gd name="connsiteX32-849" fmla="*/ 4650570 w 9397013"/>
              <a:gd name="connsiteY32-850" fmla="*/ 2548084 h 7143444"/>
              <a:gd name="connsiteX33-851" fmla="*/ 4869244 w 9397013"/>
              <a:gd name="connsiteY33-852" fmla="*/ 2261689 h 7143444"/>
              <a:gd name="connsiteX34-853" fmla="*/ 8567691 w 9397013"/>
              <a:gd name="connsiteY34-854" fmla="*/ 7124971 h 7143444"/>
              <a:gd name="connsiteX35-855" fmla="*/ 9397013 w 9397013"/>
              <a:gd name="connsiteY35-856" fmla="*/ 7134207 h 7143444"/>
              <a:gd name="connsiteX36-857" fmla="*/ 8921338 w 9397013"/>
              <a:gd name="connsiteY36-858" fmla="*/ 7115735 h 7143444"/>
              <a:gd name="connsiteX37-859" fmla="*/ 5045299 w 9397013"/>
              <a:gd name="connsiteY37-860" fmla="*/ 2031113 h 7143444"/>
              <a:gd name="connsiteX38-861" fmla="*/ 5273037 w 9397013"/>
              <a:gd name="connsiteY38-862" fmla="*/ 1732846 h 7143444"/>
              <a:gd name="connsiteX39-863" fmla="*/ 9397013 w 9397013"/>
              <a:gd name="connsiteY39-864" fmla="*/ 7134207 h 7143444"/>
              <a:gd name="connsiteX0-865" fmla="*/ 168369 w 9397013"/>
              <a:gd name="connsiteY0-866" fmla="*/ 4779933 h 7143444"/>
              <a:gd name="connsiteX1-867" fmla="*/ 0 w 9397013"/>
              <a:gd name="connsiteY1-868" fmla="*/ 4409146 h 7143444"/>
              <a:gd name="connsiteX2-869" fmla="*/ 3332806 w 9397013"/>
              <a:gd name="connsiteY2-870" fmla="*/ 0 h 7143444"/>
              <a:gd name="connsiteX3-871" fmla="*/ 3794560 w 9397013"/>
              <a:gd name="connsiteY3-872" fmla="*/ 32861 h 7143444"/>
              <a:gd name="connsiteX4-873" fmla="*/ 168369 w 9397013"/>
              <a:gd name="connsiteY4-874" fmla="*/ 4779933 h 7143444"/>
              <a:gd name="connsiteX5-875" fmla="*/ 488220 w 9397013"/>
              <a:gd name="connsiteY5-876" fmla="*/ 5484315 h 7143444"/>
              <a:gd name="connsiteX6-877" fmla="*/ 299082 w 9397013"/>
              <a:gd name="connsiteY6-878" fmla="*/ 5067791 h 7143444"/>
              <a:gd name="connsiteX7-879" fmla="*/ 4106456 w 9397013"/>
              <a:gd name="connsiteY7-880" fmla="*/ 55057 h 7143444"/>
              <a:gd name="connsiteX8-881" fmla="*/ 4585079 w 9397013"/>
              <a:gd name="connsiteY8-882" fmla="*/ 89119 h 7143444"/>
              <a:gd name="connsiteX9-883" fmla="*/ 488220 w 9397013"/>
              <a:gd name="connsiteY9-884" fmla="*/ 5484315 h 7143444"/>
              <a:gd name="connsiteX10-885" fmla="*/ 779421 w 9397013"/>
              <a:gd name="connsiteY10-886" fmla="*/ 6125606 h 7143444"/>
              <a:gd name="connsiteX11-887" fmla="*/ 618065 w 9397013"/>
              <a:gd name="connsiteY11-888" fmla="*/ 5770263 h 7143444"/>
              <a:gd name="connsiteX12-889" fmla="*/ 4897528 w 9397013"/>
              <a:gd name="connsiteY12-890" fmla="*/ 111354 h 7143444"/>
              <a:gd name="connsiteX13-891" fmla="*/ 5324893 w 9397013"/>
              <a:gd name="connsiteY13-892" fmla="*/ 141768 h 7143444"/>
              <a:gd name="connsiteX14-893" fmla="*/ 779421 w 9397013"/>
              <a:gd name="connsiteY14-894" fmla="*/ 6125606 h 7143444"/>
              <a:gd name="connsiteX15-895" fmla="*/ 1099910 w 9397013"/>
              <a:gd name="connsiteY15-896" fmla="*/ 6831395 h 7143444"/>
              <a:gd name="connsiteX16-897" fmla="*/ 919656 w 9397013"/>
              <a:gd name="connsiteY16-898" fmla="*/ 6434435 h 7143444"/>
              <a:gd name="connsiteX17-899" fmla="*/ 5668965 w 9397013"/>
              <a:gd name="connsiteY17-900" fmla="*/ 166254 h 7143444"/>
              <a:gd name="connsiteX18-901" fmla="*/ 6114044 w 9397013"/>
              <a:gd name="connsiteY18-902" fmla="*/ 197929 h 7143444"/>
              <a:gd name="connsiteX19-903" fmla="*/ 1099910 w 9397013"/>
              <a:gd name="connsiteY19-904" fmla="*/ 6831395 h 7143444"/>
              <a:gd name="connsiteX20-905" fmla="*/ 6958778 w 9397013"/>
              <a:gd name="connsiteY20-906" fmla="*/ 7124971 h 7143444"/>
              <a:gd name="connsiteX21-907" fmla="*/ 6550802 w 9397013"/>
              <a:gd name="connsiteY21-908" fmla="*/ 7143444 h 7143444"/>
              <a:gd name="connsiteX22-909" fmla="*/ 3849932 w 9397013"/>
              <a:gd name="connsiteY22-910" fmla="*/ 3596670 h 7143444"/>
              <a:gd name="connsiteX23-911" fmla="*/ 4086202 w 9397013"/>
              <a:gd name="connsiteY23-912" fmla="*/ 3287229 h 7143444"/>
              <a:gd name="connsiteX24-913" fmla="*/ 6958778 w 9397013"/>
              <a:gd name="connsiteY24-914" fmla="*/ 7124971 h 7143444"/>
              <a:gd name="connsiteX25-915" fmla="*/ 7777211 w 9397013"/>
              <a:gd name="connsiteY25-916" fmla="*/ 7124972 h 7143444"/>
              <a:gd name="connsiteX26-917" fmla="*/ 7324729 w 9397013"/>
              <a:gd name="connsiteY26-918" fmla="*/ 7124972 h 7143444"/>
              <a:gd name="connsiteX27-919" fmla="*/ 4245793 w 9397013"/>
              <a:gd name="connsiteY27-920" fmla="*/ 3078214 h 7143444"/>
              <a:gd name="connsiteX28-921" fmla="*/ 4490696 w 9397013"/>
              <a:gd name="connsiteY28-922" fmla="*/ 2757469 h 7143444"/>
              <a:gd name="connsiteX29-923" fmla="*/ 7777211 w 9397013"/>
              <a:gd name="connsiteY29-924" fmla="*/ 7124972 h 7143444"/>
              <a:gd name="connsiteX30-925" fmla="*/ 8567691 w 9397013"/>
              <a:gd name="connsiteY30-926" fmla="*/ 7124971 h 7143444"/>
              <a:gd name="connsiteX31-927" fmla="*/ 8159389 w 9397013"/>
              <a:gd name="connsiteY31-928" fmla="*/ 7134208 h 7143444"/>
              <a:gd name="connsiteX32-929" fmla="*/ 4650570 w 9397013"/>
              <a:gd name="connsiteY32-930" fmla="*/ 2548084 h 7143444"/>
              <a:gd name="connsiteX33-931" fmla="*/ 4869244 w 9397013"/>
              <a:gd name="connsiteY33-932" fmla="*/ 2261689 h 7143444"/>
              <a:gd name="connsiteX34-933" fmla="*/ 8567691 w 9397013"/>
              <a:gd name="connsiteY34-934" fmla="*/ 7124971 h 7143444"/>
              <a:gd name="connsiteX35-935" fmla="*/ 9397013 w 9397013"/>
              <a:gd name="connsiteY35-936" fmla="*/ 7134207 h 7143444"/>
              <a:gd name="connsiteX36-937" fmla="*/ 8921338 w 9397013"/>
              <a:gd name="connsiteY36-938" fmla="*/ 7115735 h 7143444"/>
              <a:gd name="connsiteX37-939" fmla="*/ 5045299 w 9397013"/>
              <a:gd name="connsiteY37-940" fmla="*/ 2031113 h 7143444"/>
              <a:gd name="connsiteX38-941" fmla="*/ 5273037 w 9397013"/>
              <a:gd name="connsiteY38-942" fmla="*/ 1732846 h 7143444"/>
              <a:gd name="connsiteX39-943" fmla="*/ 9397013 w 9397013"/>
              <a:gd name="connsiteY39-944" fmla="*/ 7134207 h 7143444"/>
              <a:gd name="connsiteX0-945" fmla="*/ 168369 w 9397013"/>
              <a:gd name="connsiteY0-946" fmla="*/ 4779933 h 7134208"/>
              <a:gd name="connsiteX1-947" fmla="*/ 0 w 9397013"/>
              <a:gd name="connsiteY1-948" fmla="*/ 4409146 h 7134208"/>
              <a:gd name="connsiteX2-949" fmla="*/ 3332806 w 9397013"/>
              <a:gd name="connsiteY2-950" fmla="*/ 0 h 7134208"/>
              <a:gd name="connsiteX3-951" fmla="*/ 3794560 w 9397013"/>
              <a:gd name="connsiteY3-952" fmla="*/ 32861 h 7134208"/>
              <a:gd name="connsiteX4-953" fmla="*/ 168369 w 9397013"/>
              <a:gd name="connsiteY4-954" fmla="*/ 4779933 h 7134208"/>
              <a:gd name="connsiteX5-955" fmla="*/ 488220 w 9397013"/>
              <a:gd name="connsiteY5-956" fmla="*/ 5484315 h 7134208"/>
              <a:gd name="connsiteX6-957" fmla="*/ 299082 w 9397013"/>
              <a:gd name="connsiteY6-958" fmla="*/ 5067791 h 7134208"/>
              <a:gd name="connsiteX7-959" fmla="*/ 4106456 w 9397013"/>
              <a:gd name="connsiteY7-960" fmla="*/ 55057 h 7134208"/>
              <a:gd name="connsiteX8-961" fmla="*/ 4585079 w 9397013"/>
              <a:gd name="connsiteY8-962" fmla="*/ 89119 h 7134208"/>
              <a:gd name="connsiteX9-963" fmla="*/ 488220 w 9397013"/>
              <a:gd name="connsiteY9-964" fmla="*/ 5484315 h 7134208"/>
              <a:gd name="connsiteX10-965" fmla="*/ 779421 w 9397013"/>
              <a:gd name="connsiteY10-966" fmla="*/ 6125606 h 7134208"/>
              <a:gd name="connsiteX11-967" fmla="*/ 618065 w 9397013"/>
              <a:gd name="connsiteY11-968" fmla="*/ 5770263 h 7134208"/>
              <a:gd name="connsiteX12-969" fmla="*/ 4897528 w 9397013"/>
              <a:gd name="connsiteY12-970" fmla="*/ 111354 h 7134208"/>
              <a:gd name="connsiteX13-971" fmla="*/ 5324893 w 9397013"/>
              <a:gd name="connsiteY13-972" fmla="*/ 141768 h 7134208"/>
              <a:gd name="connsiteX14-973" fmla="*/ 779421 w 9397013"/>
              <a:gd name="connsiteY14-974" fmla="*/ 6125606 h 7134208"/>
              <a:gd name="connsiteX15-975" fmla="*/ 1099910 w 9397013"/>
              <a:gd name="connsiteY15-976" fmla="*/ 6831395 h 7134208"/>
              <a:gd name="connsiteX16-977" fmla="*/ 919656 w 9397013"/>
              <a:gd name="connsiteY16-978" fmla="*/ 6434435 h 7134208"/>
              <a:gd name="connsiteX17-979" fmla="*/ 5668965 w 9397013"/>
              <a:gd name="connsiteY17-980" fmla="*/ 166254 h 7134208"/>
              <a:gd name="connsiteX18-981" fmla="*/ 6114044 w 9397013"/>
              <a:gd name="connsiteY18-982" fmla="*/ 197929 h 7134208"/>
              <a:gd name="connsiteX19-983" fmla="*/ 1099910 w 9397013"/>
              <a:gd name="connsiteY19-984" fmla="*/ 6831395 h 7134208"/>
              <a:gd name="connsiteX20-985" fmla="*/ 6958778 w 9397013"/>
              <a:gd name="connsiteY20-986" fmla="*/ 7124971 h 7134208"/>
              <a:gd name="connsiteX21-987" fmla="*/ 6541566 w 9397013"/>
              <a:gd name="connsiteY21-988" fmla="*/ 7115735 h 7134208"/>
              <a:gd name="connsiteX22-989" fmla="*/ 3849932 w 9397013"/>
              <a:gd name="connsiteY22-990" fmla="*/ 3596670 h 7134208"/>
              <a:gd name="connsiteX23-991" fmla="*/ 4086202 w 9397013"/>
              <a:gd name="connsiteY23-992" fmla="*/ 3287229 h 7134208"/>
              <a:gd name="connsiteX24-993" fmla="*/ 6958778 w 9397013"/>
              <a:gd name="connsiteY24-994" fmla="*/ 7124971 h 7134208"/>
              <a:gd name="connsiteX25-995" fmla="*/ 7777211 w 9397013"/>
              <a:gd name="connsiteY25-996" fmla="*/ 7124972 h 7134208"/>
              <a:gd name="connsiteX26-997" fmla="*/ 7324729 w 9397013"/>
              <a:gd name="connsiteY26-998" fmla="*/ 7124972 h 7134208"/>
              <a:gd name="connsiteX27-999" fmla="*/ 4245793 w 9397013"/>
              <a:gd name="connsiteY27-1000" fmla="*/ 3078214 h 7134208"/>
              <a:gd name="connsiteX28-1001" fmla="*/ 4490696 w 9397013"/>
              <a:gd name="connsiteY28-1002" fmla="*/ 2757469 h 7134208"/>
              <a:gd name="connsiteX29-1003" fmla="*/ 7777211 w 9397013"/>
              <a:gd name="connsiteY29-1004" fmla="*/ 7124972 h 7134208"/>
              <a:gd name="connsiteX30-1005" fmla="*/ 8567691 w 9397013"/>
              <a:gd name="connsiteY30-1006" fmla="*/ 7124971 h 7134208"/>
              <a:gd name="connsiteX31-1007" fmla="*/ 8159389 w 9397013"/>
              <a:gd name="connsiteY31-1008" fmla="*/ 7134208 h 7134208"/>
              <a:gd name="connsiteX32-1009" fmla="*/ 4650570 w 9397013"/>
              <a:gd name="connsiteY32-1010" fmla="*/ 2548084 h 7134208"/>
              <a:gd name="connsiteX33-1011" fmla="*/ 4869244 w 9397013"/>
              <a:gd name="connsiteY33-1012" fmla="*/ 2261689 h 7134208"/>
              <a:gd name="connsiteX34-1013" fmla="*/ 8567691 w 9397013"/>
              <a:gd name="connsiteY34-1014" fmla="*/ 7124971 h 7134208"/>
              <a:gd name="connsiteX35-1015" fmla="*/ 9397013 w 9397013"/>
              <a:gd name="connsiteY35-1016" fmla="*/ 7134207 h 7134208"/>
              <a:gd name="connsiteX36-1017" fmla="*/ 8921338 w 9397013"/>
              <a:gd name="connsiteY36-1018" fmla="*/ 7115735 h 7134208"/>
              <a:gd name="connsiteX37-1019" fmla="*/ 5045299 w 9397013"/>
              <a:gd name="connsiteY37-1020" fmla="*/ 2031113 h 7134208"/>
              <a:gd name="connsiteX38-1021" fmla="*/ 5273037 w 9397013"/>
              <a:gd name="connsiteY38-1022" fmla="*/ 1732846 h 7134208"/>
              <a:gd name="connsiteX39-1023" fmla="*/ 9397013 w 9397013"/>
              <a:gd name="connsiteY39-1024" fmla="*/ 7134207 h 7134208"/>
              <a:gd name="connsiteX0-1025" fmla="*/ 168369 w 9397013"/>
              <a:gd name="connsiteY0-1026" fmla="*/ 4779933 h 7134208"/>
              <a:gd name="connsiteX1-1027" fmla="*/ 0 w 9397013"/>
              <a:gd name="connsiteY1-1028" fmla="*/ 4409146 h 7134208"/>
              <a:gd name="connsiteX2-1029" fmla="*/ 3332806 w 9397013"/>
              <a:gd name="connsiteY2-1030" fmla="*/ 0 h 7134208"/>
              <a:gd name="connsiteX3-1031" fmla="*/ 3794560 w 9397013"/>
              <a:gd name="connsiteY3-1032" fmla="*/ 32861 h 7134208"/>
              <a:gd name="connsiteX4-1033" fmla="*/ 168369 w 9397013"/>
              <a:gd name="connsiteY4-1034" fmla="*/ 4779933 h 7134208"/>
              <a:gd name="connsiteX5-1035" fmla="*/ 488220 w 9397013"/>
              <a:gd name="connsiteY5-1036" fmla="*/ 5484315 h 7134208"/>
              <a:gd name="connsiteX6-1037" fmla="*/ 299082 w 9397013"/>
              <a:gd name="connsiteY6-1038" fmla="*/ 5067791 h 7134208"/>
              <a:gd name="connsiteX7-1039" fmla="*/ 4106456 w 9397013"/>
              <a:gd name="connsiteY7-1040" fmla="*/ 55057 h 7134208"/>
              <a:gd name="connsiteX8-1041" fmla="*/ 4585079 w 9397013"/>
              <a:gd name="connsiteY8-1042" fmla="*/ 89119 h 7134208"/>
              <a:gd name="connsiteX9-1043" fmla="*/ 488220 w 9397013"/>
              <a:gd name="connsiteY9-1044" fmla="*/ 5484315 h 7134208"/>
              <a:gd name="connsiteX10-1045" fmla="*/ 779421 w 9397013"/>
              <a:gd name="connsiteY10-1046" fmla="*/ 6125606 h 7134208"/>
              <a:gd name="connsiteX11-1047" fmla="*/ 618065 w 9397013"/>
              <a:gd name="connsiteY11-1048" fmla="*/ 5770263 h 7134208"/>
              <a:gd name="connsiteX12-1049" fmla="*/ 4897528 w 9397013"/>
              <a:gd name="connsiteY12-1050" fmla="*/ 111354 h 7134208"/>
              <a:gd name="connsiteX13-1051" fmla="*/ 5324893 w 9397013"/>
              <a:gd name="connsiteY13-1052" fmla="*/ 141768 h 7134208"/>
              <a:gd name="connsiteX14-1053" fmla="*/ 779421 w 9397013"/>
              <a:gd name="connsiteY14-1054" fmla="*/ 6125606 h 7134208"/>
              <a:gd name="connsiteX15-1055" fmla="*/ 1099910 w 9397013"/>
              <a:gd name="connsiteY15-1056" fmla="*/ 6831395 h 7134208"/>
              <a:gd name="connsiteX16-1057" fmla="*/ 919656 w 9397013"/>
              <a:gd name="connsiteY16-1058" fmla="*/ 6434435 h 7134208"/>
              <a:gd name="connsiteX17-1059" fmla="*/ 5668965 w 9397013"/>
              <a:gd name="connsiteY17-1060" fmla="*/ 166254 h 7134208"/>
              <a:gd name="connsiteX18-1061" fmla="*/ 6114044 w 9397013"/>
              <a:gd name="connsiteY18-1062" fmla="*/ 197929 h 7134208"/>
              <a:gd name="connsiteX19-1063" fmla="*/ 1099910 w 9397013"/>
              <a:gd name="connsiteY19-1064" fmla="*/ 6831395 h 7134208"/>
              <a:gd name="connsiteX20-1065" fmla="*/ 6958778 w 9397013"/>
              <a:gd name="connsiteY20-1066" fmla="*/ 7124971 h 7134208"/>
              <a:gd name="connsiteX21-1067" fmla="*/ 6560038 w 9397013"/>
              <a:gd name="connsiteY21-1068" fmla="*/ 7134207 h 7134208"/>
              <a:gd name="connsiteX22-1069" fmla="*/ 3849932 w 9397013"/>
              <a:gd name="connsiteY22-1070" fmla="*/ 3596670 h 7134208"/>
              <a:gd name="connsiteX23-1071" fmla="*/ 4086202 w 9397013"/>
              <a:gd name="connsiteY23-1072" fmla="*/ 3287229 h 7134208"/>
              <a:gd name="connsiteX24-1073" fmla="*/ 6958778 w 9397013"/>
              <a:gd name="connsiteY24-1074" fmla="*/ 7124971 h 7134208"/>
              <a:gd name="connsiteX25-1075" fmla="*/ 7777211 w 9397013"/>
              <a:gd name="connsiteY25-1076" fmla="*/ 7124972 h 7134208"/>
              <a:gd name="connsiteX26-1077" fmla="*/ 7324729 w 9397013"/>
              <a:gd name="connsiteY26-1078" fmla="*/ 7124972 h 7134208"/>
              <a:gd name="connsiteX27-1079" fmla="*/ 4245793 w 9397013"/>
              <a:gd name="connsiteY27-1080" fmla="*/ 3078214 h 7134208"/>
              <a:gd name="connsiteX28-1081" fmla="*/ 4490696 w 9397013"/>
              <a:gd name="connsiteY28-1082" fmla="*/ 2757469 h 7134208"/>
              <a:gd name="connsiteX29-1083" fmla="*/ 7777211 w 9397013"/>
              <a:gd name="connsiteY29-1084" fmla="*/ 7124972 h 7134208"/>
              <a:gd name="connsiteX30-1085" fmla="*/ 8567691 w 9397013"/>
              <a:gd name="connsiteY30-1086" fmla="*/ 7124971 h 7134208"/>
              <a:gd name="connsiteX31-1087" fmla="*/ 8159389 w 9397013"/>
              <a:gd name="connsiteY31-1088" fmla="*/ 7134208 h 7134208"/>
              <a:gd name="connsiteX32-1089" fmla="*/ 4650570 w 9397013"/>
              <a:gd name="connsiteY32-1090" fmla="*/ 2548084 h 7134208"/>
              <a:gd name="connsiteX33-1091" fmla="*/ 4869244 w 9397013"/>
              <a:gd name="connsiteY33-1092" fmla="*/ 2261689 h 7134208"/>
              <a:gd name="connsiteX34-1093" fmla="*/ 8567691 w 9397013"/>
              <a:gd name="connsiteY34-1094" fmla="*/ 7124971 h 7134208"/>
              <a:gd name="connsiteX35-1095" fmla="*/ 9397013 w 9397013"/>
              <a:gd name="connsiteY35-1096" fmla="*/ 7134207 h 7134208"/>
              <a:gd name="connsiteX36-1097" fmla="*/ 8921338 w 9397013"/>
              <a:gd name="connsiteY36-1098" fmla="*/ 7115735 h 7134208"/>
              <a:gd name="connsiteX37-1099" fmla="*/ 5045299 w 9397013"/>
              <a:gd name="connsiteY37-1100" fmla="*/ 2031113 h 7134208"/>
              <a:gd name="connsiteX38-1101" fmla="*/ 5273037 w 9397013"/>
              <a:gd name="connsiteY38-1102" fmla="*/ 1732846 h 7134208"/>
              <a:gd name="connsiteX39-1103" fmla="*/ 9397013 w 9397013"/>
              <a:gd name="connsiteY39-1104" fmla="*/ 7134207 h 7134208"/>
              <a:gd name="connsiteX0-1105" fmla="*/ 168369 w 9397013"/>
              <a:gd name="connsiteY0-1106" fmla="*/ 4779933 h 7134208"/>
              <a:gd name="connsiteX1-1107" fmla="*/ 0 w 9397013"/>
              <a:gd name="connsiteY1-1108" fmla="*/ 4409146 h 7134208"/>
              <a:gd name="connsiteX2-1109" fmla="*/ 3332806 w 9397013"/>
              <a:gd name="connsiteY2-1110" fmla="*/ 0 h 7134208"/>
              <a:gd name="connsiteX3-1111" fmla="*/ 3794560 w 9397013"/>
              <a:gd name="connsiteY3-1112" fmla="*/ 32861 h 7134208"/>
              <a:gd name="connsiteX4-1113" fmla="*/ 168369 w 9397013"/>
              <a:gd name="connsiteY4-1114" fmla="*/ 4779933 h 7134208"/>
              <a:gd name="connsiteX5-1115" fmla="*/ 488220 w 9397013"/>
              <a:gd name="connsiteY5-1116" fmla="*/ 5484315 h 7134208"/>
              <a:gd name="connsiteX6-1117" fmla="*/ 299082 w 9397013"/>
              <a:gd name="connsiteY6-1118" fmla="*/ 5067791 h 7134208"/>
              <a:gd name="connsiteX7-1119" fmla="*/ 4106456 w 9397013"/>
              <a:gd name="connsiteY7-1120" fmla="*/ 55057 h 7134208"/>
              <a:gd name="connsiteX8-1121" fmla="*/ 4585079 w 9397013"/>
              <a:gd name="connsiteY8-1122" fmla="*/ 89119 h 7134208"/>
              <a:gd name="connsiteX9-1123" fmla="*/ 488220 w 9397013"/>
              <a:gd name="connsiteY9-1124" fmla="*/ 5484315 h 7134208"/>
              <a:gd name="connsiteX10-1125" fmla="*/ 779421 w 9397013"/>
              <a:gd name="connsiteY10-1126" fmla="*/ 6125606 h 7134208"/>
              <a:gd name="connsiteX11-1127" fmla="*/ 618065 w 9397013"/>
              <a:gd name="connsiteY11-1128" fmla="*/ 5770263 h 7134208"/>
              <a:gd name="connsiteX12-1129" fmla="*/ 4897528 w 9397013"/>
              <a:gd name="connsiteY12-1130" fmla="*/ 111354 h 7134208"/>
              <a:gd name="connsiteX13-1131" fmla="*/ 5324893 w 9397013"/>
              <a:gd name="connsiteY13-1132" fmla="*/ 141768 h 7134208"/>
              <a:gd name="connsiteX14-1133" fmla="*/ 779421 w 9397013"/>
              <a:gd name="connsiteY14-1134" fmla="*/ 6125606 h 7134208"/>
              <a:gd name="connsiteX15-1135" fmla="*/ 1099910 w 9397013"/>
              <a:gd name="connsiteY15-1136" fmla="*/ 6831395 h 7134208"/>
              <a:gd name="connsiteX16-1137" fmla="*/ 919656 w 9397013"/>
              <a:gd name="connsiteY16-1138" fmla="*/ 6434435 h 7134208"/>
              <a:gd name="connsiteX17-1139" fmla="*/ 5668965 w 9397013"/>
              <a:gd name="connsiteY17-1140" fmla="*/ 166254 h 7134208"/>
              <a:gd name="connsiteX18-1141" fmla="*/ 6077099 w 9397013"/>
              <a:gd name="connsiteY18-1142" fmla="*/ 225638 h 7134208"/>
              <a:gd name="connsiteX19-1143" fmla="*/ 1099910 w 9397013"/>
              <a:gd name="connsiteY19-1144" fmla="*/ 6831395 h 7134208"/>
              <a:gd name="connsiteX20-1145" fmla="*/ 6958778 w 9397013"/>
              <a:gd name="connsiteY20-1146" fmla="*/ 7124971 h 7134208"/>
              <a:gd name="connsiteX21-1147" fmla="*/ 6560038 w 9397013"/>
              <a:gd name="connsiteY21-1148" fmla="*/ 7134207 h 7134208"/>
              <a:gd name="connsiteX22-1149" fmla="*/ 3849932 w 9397013"/>
              <a:gd name="connsiteY22-1150" fmla="*/ 3596670 h 7134208"/>
              <a:gd name="connsiteX23-1151" fmla="*/ 4086202 w 9397013"/>
              <a:gd name="connsiteY23-1152" fmla="*/ 3287229 h 7134208"/>
              <a:gd name="connsiteX24-1153" fmla="*/ 6958778 w 9397013"/>
              <a:gd name="connsiteY24-1154" fmla="*/ 7124971 h 7134208"/>
              <a:gd name="connsiteX25-1155" fmla="*/ 7777211 w 9397013"/>
              <a:gd name="connsiteY25-1156" fmla="*/ 7124972 h 7134208"/>
              <a:gd name="connsiteX26-1157" fmla="*/ 7324729 w 9397013"/>
              <a:gd name="connsiteY26-1158" fmla="*/ 7124972 h 7134208"/>
              <a:gd name="connsiteX27-1159" fmla="*/ 4245793 w 9397013"/>
              <a:gd name="connsiteY27-1160" fmla="*/ 3078214 h 7134208"/>
              <a:gd name="connsiteX28-1161" fmla="*/ 4490696 w 9397013"/>
              <a:gd name="connsiteY28-1162" fmla="*/ 2757469 h 7134208"/>
              <a:gd name="connsiteX29-1163" fmla="*/ 7777211 w 9397013"/>
              <a:gd name="connsiteY29-1164" fmla="*/ 7124972 h 7134208"/>
              <a:gd name="connsiteX30-1165" fmla="*/ 8567691 w 9397013"/>
              <a:gd name="connsiteY30-1166" fmla="*/ 7124971 h 7134208"/>
              <a:gd name="connsiteX31-1167" fmla="*/ 8159389 w 9397013"/>
              <a:gd name="connsiteY31-1168" fmla="*/ 7134208 h 7134208"/>
              <a:gd name="connsiteX32-1169" fmla="*/ 4650570 w 9397013"/>
              <a:gd name="connsiteY32-1170" fmla="*/ 2548084 h 7134208"/>
              <a:gd name="connsiteX33-1171" fmla="*/ 4869244 w 9397013"/>
              <a:gd name="connsiteY33-1172" fmla="*/ 2261689 h 7134208"/>
              <a:gd name="connsiteX34-1173" fmla="*/ 8567691 w 9397013"/>
              <a:gd name="connsiteY34-1174" fmla="*/ 7124971 h 7134208"/>
              <a:gd name="connsiteX35-1175" fmla="*/ 9397013 w 9397013"/>
              <a:gd name="connsiteY35-1176" fmla="*/ 7134207 h 7134208"/>
              <a:gd name="connsiteX36-1177" fmla="*/ 8921338 w 9397013"/>
              <a:gd name="connsiteY36-1178" fmla="*/ 7115735 h 7134208"/>
              <a:gd name="connsiteX37-1179" fmla="*/ 5045299 w 9397013"/>
              <a:gd name="connsiteY37-1180" fmla="*/ 2031113 h 7134208"/>
              <a:gd name="connsiteX38-1181" fmla="*/ 5273037 w 9397013"/>
              <a:gd name="connsiteY38-1182" fmla="*/ 1732846 h 7134208"/>
              <a:gd name="connsiteX39-1183" fmla="*/ 9397013 w 9397013"/>
              <a:gd name="connsiteY39-1184" fmla="*/ 7134207 h 7134208"/>
              <a:gd name="connsiteX0-1185" fmla="*/ 168369 w 9397013"/>
              <a:gd name="connsiteY0-1186" fmla="*/ 4779933 h 7134208"/>
              <a:gd name="connsiteX1-1187" fmla="*/ 0 w 9397013"/>
              <a:gd name="connsiteY1-1188" fmla="*/ 4409146 h 7134208"/>
              <a:gd name="connsiteX2-1189" fmla="*/ 3332806 w 9397013"/>
              <a:gd name="connsiteY2-1190" fmla="*/ 0 h 7134208"/>
              <a:gd name="connsiteX3-1191" fmla="*/ 3794560 w 9397013"/>
              <a:gd name="connsiteY3-1192" fmla="*/ 32861 h 7134208"/>
              <a:gd name="connsiteX4-1193" fmla="*/ 168369 w 9397013"/>
              <a:gd name="connsiteY4-1194" fmla="*/ 4779933 h 7134208"/>
              <a:gd name="connsiteX5-1195" fmla="*/ 488220 w 9397013"/>
              <a:gd name="connsiteY5-1196" fmla="*/ 5484315 h 7134208"/>
              <a:gd name="connsiteX6-1197" fmla="*/ 299082 w 9397013"/>
              <a:gd name="connsiteY6-1198" fmla="*/ 5067791 h 7134208"/>
              <a:gd name="connsiteX7-1199" fmla="*/ 4106456 w 9397013"/>
              <a:gd name="connsiteY7-1200" fmla="*/ 55057 h 7134208"/>
              <a:gd name="connsiteX8-1201" fmla="*/ 4585079 w 9397013"/>
              <a:gd name="connsiteY8-1202" fmla="*/ 89119 h 7134208"/>
              <a:gd name="connsiteX9-1203" fmla="*/ 488220 w 9397013"/>
              <a:gd name="connsiteY9-1204" fmla="*/ 5484315 h 7134208"/>
              <a:gd name="connsiteX10-1205" fmla="*/ 779421 w 9397013"/>
              <a:gd name="connsiteY10-1206" fmla="*/ 6125606 h 7134208"/>
              <a:gd name="connsiteX11-1207" fmla="*/ 618065 w 9397013"/>
              <a:gd name="connsiteY11-1208" fmla="*/ 5770263 h 7134208"/>
              <a:gd name="connsiteX12-1209" fmla="*/ 4897528 w 9397013"/>
              <a:gd name="connsiteY12-1210" fmla="*/ 111354 h 7134208"/>
              <a:gd name="connsiteX13-1211" fmla="*/ 5324893 w 9397013"/>
              <a:gd name="connsiteY13-1212" fmla="*/ 141768 h 7134208"/>
              <a:gd name="connsiteX14-1213" fmla="*/ 779421 w 9397013"/>
              <a:gd name="connsiteY14-1214" fmla="*/ 6125606 h 7134208"/>
              <a:gd name="connsiteX15-1215" fmla="*/ 1099910 w 9397013"/>
              <a:gd name="connsiteY15-1216" fmla="*/ 6831395 h 7134208"/>
              <a:gd name="connsiteX16-1217" fmla="*/ 919656 w 9397013"/>
              <a:gd name="connsiteY16-1218" fmla="*/ 6434435 h 7134208"/>
              <a:gd name="connsiteX17-1219" fmla="*/ 5613547 w 9397013"/>
              <a:gd name="connsiteY17-1220" fmla="*/ 240145 h 7134208"/>
              <a:gd name="connsiteX18-1221" fmla="*/ 6077099 w 9397013"/>
              <a:gd name="connsiteY18-1222" fmla="*/ 225638 h 7134208"/>
              <a:gd name="connsiteX19-1223" fmla="*/ 1099910 w 9397013"/>
              <a:gd name="connsiteY19-1224" fmla="*/ 6831395 h 7134208"/>
              <a:gd name="connsiteX20-1225" fmla="*/ 6958778 w 9397013"/>
              <a:gd name="connsiteY20-1226" fmla="*/ 7124971 h 7134208"/>
              <a:gd name="connsiteX21-1227" fmla="*/ 6560038 w 9397013"/>
              <a:gd name="connsiteY21-1228" fmla="*/ 7134207 h 7134208"/>
              <a:gd name="connsiteX22-1229" fmla="*/ 3849932 w 9397013"/>
              <a:gd name="connsiteY22-1230" fmla="*/ 3596670 h 7134208"/>
              <a:gd name="connsiteX23-1231" fmla="*/ 4086202 w 9397013"/>
              <a:gd name="connsiteY23-1232" fmla="*/ 3287229 h 7134208"/>
              <a:gd name="connsiteX24-1233" fmla="*/ 6958778 w 9397013"/>
              <a:gd name="connsiteY24-1234" fmla="*/ 7124971 h 7134208"/>
              <a:gd name="connsiteX25-1235" fmla="*/ 7777211 w 9397013"/>
              <a:gd name="connsiteY25-1236" fmla="*/ 7124972 h 7134208"/>
              <a:gd name="connsiteX26-1237" fmla="*/ 7324729 w 9397013"/>
              <a:gd name="connsiteY26-1238" fmla="*/ 7124972 h 7134208"/>
              <a:gd name="connsiteX27-1239" fmla="*/ 4245793 w 9397013"/>
              <a:gd name="connsiteY27-1240" fmla="*/ 3078214 h 7134208"/>
              <a:gd name="connsiteX28-1241" fmla="*/ 4490696 w 9397013"/>
              <a:gd name="connsiteY28-1242" fmla="*/ 2757469 h 7134208"/>
              <a:gd name="connsiteX29-1243" fmla="*/ 7777211 w 9397013"/>
              <a:gd name="connsiteY29-1244" fmla="*/ 7124972 h 7134208"/>
              <a:gd name="connsiteX30-1245" fmla="*/ 8567691 w 9397013"/>
              <a:gd name="connsiteY30-1246" fmla="*/ 7124971 h 7134208"/>
              <a:gd name="connsiteX31-1247" fmla="*/ 8159389 w 9397013"/>
              <a:gd name="connsiteY31-1248" fmla="*/ 7134208 h 7134208"/>
              <a:gd name="connsiteX32-1249" fmla="*/ 4650570 w 9397013"/>
              <a:gd name="connsiteY32-1250" fmla="*/ 2548084 h 7134208"/>
              <a:gd name="connsiteX33-1251" fmla="*/ 4869244 w 9397013"/>
              <a:gd name="connsiteY33-1252" fmla="*/ 2261689 h 7134208"/>
              <a:gd name="connsiteX34-1253" fmla="*/ 8567691 w 9397013"/>
              <a:gd name="connsiteY34-1254" fmla="*/ 7124971 h 7134208"/>
              <a:gd name="connsiteX35-1255" fmla="*/ 9397013 w 9397013"/>
              <a:gd name="connsiteY35-1256" fmla="*/ 7134207 h 7134208"/>
              <a:gd name="connsiteX36-1257" fmla="*/ 8921338 w 9397013"/>
              <a:gd name="connsiteY36-1258" fmla="*/ 7115735 h 7134208"/>
              <a:gd name="connsiteX37-1259" fmla="*/ 5045299 w 9397013"/>
              <a:gd name="connsiteY37-1260" fmla="*/ 2031113 h 7134208"/>
              <a:gd name="connsiteX38-1261" fmla="*/ 5273037 w 9397013"/>
              <a:gd name="connsiteY38-1262" fmla="*/ 1732846 h 7134208"/>
              <a:gd name="connsiteX39-1263" fmla="*/ 9397013 w 9397013"/>
              <a:gd name="connsiteY39-1264" fmla="*/ 7134207 h 7134208"/>
              <a:gd name="connsiteX0-1265" fmla="*/ 168369 w 9397013"/>
              <a:gd name="connsiteY0-1266" fmla="*/ 4779933 h 7134208"/>
              <a:gd name="connsiteX1-1267" fmla="*/ 0 w 9397013"/>
              <a:gd name="connsiteY1-1268" fmla="*/ 4409146 h 7134208"/>
              <a:gd name="connsiteX2-1269" fmla="*/ 3332806 w 9397013"/>
              <a:gd name="connsiteY2-1270" fmla="*/ 0 h 7134208"/>
              <a:gd name="connsiteX3-1271" fmla="*/ 3794560 w 9397013"/>
              <a:gd name="connsiteY3-1272" fmla="*/ 32861 h 7134208"/>
              <a:gd name="connsiteX4-1273" fmla="*/ 168369 w 9397013"/>
              <a:gd name="connsiteY4-1274" fmla="*/ 4779933 h 7134208"/>
              <a:gd name="connsiteX5-1275" fmla="*/ 488220 w 9397013"/>
              <a:gd name="connsiteY5-1276" fmla="*/ 5484315 h 7134208"/>
              <a:gd name="connsiteX6-1277" fmla="*/ 299082 w 9397013"/>
              <a:gd name="connsiteY6-1278" fmla="*/ 5067791 h 7134208"/>
              <a:gd name="connsiteX7-1279" fmla="*/ 4106456 w 9397013"/>
              <a:gd name="connsiteY7-1280" fmla="*/ 55057 h 7134208"/>
              <a:gd name="connsiteX8-1281" fmla="*/ 4585079 w 9397013"/>
              <a:gd name="connsiteY8-1282" fmla="*/ 89119 h 7134208"/>
              <a:gd name="connsiteX9-1283" fmla="*/ 488220 w 9397013"/>
              <a:gd name="connsiteY9-1284" fmla="*/ 5484315 h 7134208"/>
              <a:gd name="connsiteX10-1285" fmla="*/ 779421 w 9397013"/>
              <a:gd name="connsiteY10-1286" fmla="*/ 6125606 h 7134208"/>
              <a:gd name="connsiteX11-1287" fmla="*/ 618065 w 9397013"/>
              <a:gd name="connsiteY11-1288" fmla="*/ 5770263 h 7134208"/>
              <a:gd name="connsiteX12-1289" fmla="*/ 4897528 w 9397013"/>
              <a:gd name="connsiteY12-1290" fmla="*/ 111354 h 7134208"/>
              <a:gd name="connsiteX13-1291" fmla="*/ 5324893 w 9397013"/>
              <a:gd name="connsiteY13-1292" fmla="*/ 141768 h 7134208"/>
              <a:gd name="connsiteX14-1293" fmla="*/ 779421 w 9397013"/>
              <a:gd name="connsiteY14-1294" fmla="*/ 6125606 h 7134208"/>
              <a:gd name="connsiteX15-1295" fmla="*/ 1099910 w 9397013"/>
              <a:gd name="connsiteY15-1296" fmla="*/ 6831395 h 7134208"/>
              <a:gd name="connsiteX16-1297" fmla="*/ 919656 w 9397013"/>
              <a:gd name="connsiteY16-1298" fmla="*/ 6434435 h 7134208"/>
              <a:gd name="connsiteX17-1299" fmla="*/ 5641256 w 9397013"/>
              <a:gd name="connsiteY17-1300" fmla="*/ 212436 h 7134208"/>
              <a:gd name="connsiteX18-1301" fmla="*/ 6077099 w 9397013"/>
              <a:gd name="connsiteY18-1302" fmla="*/ 225638 h 7134208"/>
              <a:gd name="connsiteX19-1303" fmla="*/ 1099910 w 9397013"/>
              <a:gd name="connsiteY19-1304" fmla="*/ 6831395 h 7134208"/>
              <a:gd name="connsiteX20-1305" fmla="*/ 6958778 w 9397013"/>
              <a:gd name="connsiteY20-1306" fmla="*/ 7124971 h 7134208"/>
              <a:gd name="connsiteX21-1307" fmla="*/ 6560038 w 9397013"/>
              <a:gd name="connsiteY21-1308" fmla="*/ 7134207 h 7134208"/>
              <a:gd name="connsiteX22-1309" fmla="*/ 3849932 w 9397013"/>
              <a:gd name="connsiteY22-1310" fmla="*/ 3596670 h 7134208"/>
              <a:gd name="connsiteX23-1311" fmla="*/ 4086202 w 9397013"/>
              <a:gd name="connsiteY23-1312" fmla="*/ 3287229 h 7134208"/>
              <a:gd name="connsiteX24-1313" fmla="*/ 6958778 w 9397013"/>
              <a:gd name="connsiteY24-1314" fmla="*/ 7124971 h 7134208"/>
              <a:gd name="connsiteX25-1315" fmla="*/ 7777211 w 9397013"/>
              <a:gd name="connsiteY25-1316" fmla="*/ 7124972 h 7134208"/>
              <a:gd name="connsiteX26-1317" fmla="*/ 7324729 w 9397013"/>
              <a:gd name="connsiteY26-1318" fmla="*/ 7124972 h 7134208"/>
              <a:gd name="connsiteX27-1319" fmla="*/ 4245793 w 9397013"/>
              <a:gd name="connsiteY27-1320" fmla="*/ 3078214 h 7134208"/>
              <a:gd name="connsiteX28-1321" fmla="*/ 4490696 w 9397013"/>
              <a:gd name="connsiteY28-1322" fmla="*/ 2757469 h 7134208"/>
              <a:gd name="connsiteX29-1323" fmla="*/ 7777211 w 9397013"/>
              <a:gd name="connsiteY29-1324" fmla="*/ 7124972 h 7134208"/>
              <a:gd name="connsiteX30-1325" fmla="*/ 8567691 w 9397013"/>
              <a:gd name="connsiteY30-1326" fmla="*/ 7124971 h 7134208"/>
              <a:gd name="connsiteX31-1327" fmla="*/ 8159389 w 9397013"/>
              <a:gd name="connsiteY31-1328" fmla="*/ 7134208 h 7134208"/>
              <a:gd name="connsiteX32-1329" fmla="*/ 4650570 w 9397013"/>
              <a:gd name="connsiteY32-1330" fmla="*/ 2548084 h 7134208"/>
              <a:gd name="connsiteX33-1331" fmla="*/ 4869244 w 9397013"/>
              <a:gd name="connsiteY33-1332" fmla="*/ 2261689 h 7134208"/>
              <a:gd name="connsiteX34-1333" fmla="*/ 8567691 w 9397013"/>
              <a:gd name="connsiteY34-1334" fmla="*/ 7124971 h 7134208"/>
              <a:gd name="connsiteX35-1335" fmla="*/ 9397013 w 9397013"/>
              <a:gd name="connsiteY35-1336" fmla="*/ 7134207 h 7134208"/>
              <a:gd name="connsiteX36-1337" fmla="*/ 8921338 w 9397013"/>
              <a:gd name="connsiteY36-1338" fmla="*/ 7115735 h 7134208"/>
              <a:gd name="connsiteX37-1339" fmla="*/ 5045299 w 9397013"/>
              <a:gd name="connsiteY37-1340" fmla="*/ 2031113 h 7134208"/>
              <a:gd name="connsiteX38-1341" fmla="*/ 5273037 w 9397013"/>
              <a:gd name="connsiteY38-1342" fmla="*/ 1732846 h 7134208"/>
              <a:gd name="connsiteX39-1343" fmla="*/ 9397013 w 9397013"/>
              <a:gd name="connsiteY39-1344" fmla="*/ 7134207 h 7134208"/>
              <a:gd name="connsiteX0-1345" fmla="*/ 168369 w 9397013"/>
              <a:gd name="connsiteY0-1346" fmla="*/ 4779933 h 7134208"/>
              <a:gd name="connsiteX1-1347" fmla="*/ 0 w 9397013"/>
              <a:gd name="connsiteY1-1348" fmla="*/ 4409146 h 7134208"/>
              <a:gd name="connsiteX2-1349" fmla="*/ 3332806 w 9397013"/>
              <a:gd name="connsiteY2-1350" fmla="*/ 0 h 7134208"/>
              <a:gd name="connsiteX3-1351" fmla="*/ 3794560 w 9397013"/>
              <a:gd name="connsiteY3-1352" fmla="*/ 32861 h 7134208"/>
              <a:gd name="connsiteX4-1353" fmla="*/ 168369 w 9397013"/>
              <a:gd name="connsiteY4-1354" fmla="*/ 4779933 h 7134208"/>
              <a:gd name="connsiteX5-1355" fmla="*/ 488220 w 9397013"/>
              <a:gd name="connsiteY5-1356" fmla="*/ 5484315 h 7134208"/>
              <a:gd name="connsiteX6-1357" fmla="*/ 299082 w 9397013"/>
              <a:gd name="connsiteY6-1358" fmla="*/ 5067791 h 7134208"/>
              <a:gd name="connsiteX7-1359" fmla="*/ 4106456 w 9397013"/>
              <a:gd name="connsiteY7-1360" fmla="*/ 55057 h 7134208"/>
              <a:gd name="connsiteX8-1361" fmla="*/ 4585079 w 9397013"/>
              <a:gd name="connsiteY8-1362" fmla="*/ 89119 h 7134208"/>
              <a:gd name="connsiteX9-1363" fmla="*/ 488220 w 9397013"/>
              <a:gd name="connsiteY9-1364" fmla="*/ 5484315 h 7134208"/>
              <a:gd name="connsiteX10-1365" fmla="*/ 779421 w 9397013"/>
              <a:gd name="connsiteY10-1366" fmla="*/ 6125606 h 7134208"/>
              <a:gd name="connsiteX11-1367" fmla="*/ 618065 w 9397013"/>
              <a:gd name="connsiteY11-1368" fmla="*/ 5770263 h 7134208"/>
              <a:gd name="connsiteX12-1369" fmla="*/ 4897528 w 9397013"/>
              <a:gd name="connsiteY12-1370" fmla="*/ 111354 h 7134208"/>
              <a:gd name="connsiteX13-1371" fmla="*/ 5260238 w 9397013"/>
              <a:gd name="connsiteY13-1372" fmla="*/ 234131 h 7134208"/>
              <a:gd name="connsiteX14-1373" fmla="*/ 779421 w 9397013"/>
              <a:gd name="connsiteY14-1374" fmla="*/ 6125606 h 7134208"/>
              <a:gd name="connsiteX15-1375" fmla="*/ 1099910 w 9397013"/>
              <a:gd name="connsiteY15-1376" fmla="*/ 6831395 h 7134208"/>
              <a:gd name="connsiteX16-1377" fmla="*/ 919656 w 9397013"/>
              <a:gd name="connsiteY16-1378" fmla="*/ 6434435 h 7134208"/>
              <a:gd name="connsiteX17-1379" fmla="*/ 5641256 w 9397013"/>
              <a:gd name="connsiteY17-1380" fmla="*/ 212436 h 7134208"/>
              <a:gd name="connsiteX18-1381" fmla="*/ 6077099 w 9397013"/>
              <a:gd name="connsiteY18-1382" fmla="*/ 225638 h 7134208"/>
              <a:gd name="connsiteX19-1383" fmla="*/ 1099910 w 9397013"/>
              <a:gd name="connsiteY19-1384" fmla="*/ 6831395 h 7134208"/>
              <a:gd name="connsiteX20-1385" fmla="*/ 6958778 w 9397013"/>
              <a:gd name="connsiteY20-1386" fmla="*/ 7124971 h 7134208"/>
              <a:gd name="connsiteX21-1387" fmla="*/ 6560038 w 9397013"/>
              <a:gd name="connsiteY21-1388" fmla="*/ 7134207 h 7134208"/>
              <a:gd name="connsiteX22-1389" fmla="*/ 3849932 w 9397013"/>
              <a:gd name="connsiteY22-1390" fmla="*/ 3596670 h 7134208"/>
              <a:gd name="connsiteX23-1391" fmla="*/ 4086202 w 9397013"/>
              <a:gd name="connsiteY23-1392" fmla="*/ 3287229 h 7134208"/>
              <a:gd name="connsiteX24-1393" fmla="*/ 6958778 w 9397013"/>
              <a:gd name="connsiteY24-1394" fmla="*/ 7124971 h 7134208"/>
              <a:gd name="connsiteX25-1395" fmla="*/ 7777211 w 9397013"/>
              <a:gd name="connsiteY25-1396" fmla="*/ 7124972 h 7134208"/>
              <a:gd name="connsiteX26-1397" fmla="*/ 7324729 w 9397013"/>
              <a:gd name="connsiteY26-1398" fmla="*/ 7124972 h 7134208"/>
              <a:gd name="connsiteX27-1399" fmla="*/ 4245793 w 9397013"/>
              <a:gd name="connsiteY27-1400" fmla="*/ 3078214 h 7134208"/>
              <a:gd name="connsiteX28-1401" fmla="*/ 4490696 w 9397013"/>
              <a:gd name="connsiteY28-1402" fmla="*/ 2757469 h 7134208"/>
              <a:gd name="connsiteX29-1403" fmla="*/ 7777211 w 9397013"/>
              <a:gd name="connsiteY29-1404" fmla="*/ 7124972 h 7134208"/>
              <a:gd name="connsiteX30-1405" fmla="*/ 8567691 w 9397013"/>
              <a:gd name="connsiteY30-1406" fmla="*/ 7124971 h 7134208"/>
              <a:gd name="connsiteX31-1407" fmla="*/ 8159389 w 9397013"/>
              <a:gd name="connsiteY31-1408" fmla="*/ 7134208 h 7134208"/>
              <a:gd name="connsiteX32-1409" fmla="*/ 4650570 w 9397013"/>
              <a:gd name="connsiteY32-1410" fmla="*/ 2548084 h 7134208"/>
              <a:gd name="connsiteX33-1411" fmla="*/ 4869244 w 9397013"/>
              <a:gd name="connsiteY33-1412" fmla="*/ 2261689 h 7134208"/>
              <a:gd name="connsiteX34-1413" fmla="*/ 8567691 w 9397013"/>
              <a:gd name="connsiteY34-1414" fmla="*/ 7124971 h 7134208"/>
              <a:gd name="connsiteX35-1415" fmla="*/ 9397013 w 9397013"/>
              <a:gd name="connsiteY35-1416" fmla="*/ 7134207 h 7134208"/>
              <a:gd name="connsiteX36-1417" fmla="*/ 8921338 w 9397013"/>
              <a:gd name="connsiteY36-1418" fmla="*/ 7115735 h 7134208"/>
              <a:gd name="connsiteX37-1419" fmla="*/ 5045299 w 9397013"/>
              <a:gd name="connsiteY37-1420" fmla="*/ 2031113 h 7134208"/>
              <a:gd name="connsiteX38-1421" fmla="*/ 5273037 w 9397013"/>
              <a:gd name="connsiteY38-1422" fmla="*/ 1732846 h 7134208"/>
              <a:gd name="connsiteX39-1423" fmla="*/ 9397013 w 9397013"/>
              <a:gd name="connsiteY39-1424" fmla="*/ 7134207 h 7134208"/>
              <a:gd name="connsiteX0-1425" fmla="*/ 168369 w 9397013"/>
              <a:gd name="connsiteY0-1426" fmla="*/ 4779933 h 7134208"/>
              <a:gd name="connsiteX1-1427" fmla="*/ 0 w 9397013"/>
              <a:gd name="connsiteY1-1428" fmla="*/ 4409146 h 7134208"/>
              <a:gd name="connsiteX2-1429" fmla="*/ 3332806 w 9397013"/>
              <a:gd name="connsiteY2-1430" fmla="*/ 0 h 7134208"/>
              <a:gd name="connsiteX3-1431" fmla="*/ 3794560 w 9397013"/>
              <a:gd name="connsiteY3-1432" fmla="*/ 32861 h 7134208"/>
              <a:gd name="connsiteX4-1433" fmla="*/ 168369 w 9397013"/>
              <a:gd name="connsiteY4-1434" fmla="*/ 4779933 h 7134208"/>
              <a:gd name="connsiteX5-1435" fmla="*/ 488220 w 9397013"/>
              <a:gd name="connsiteY5-1436" fmla="*/ 5484315 h 7134208"/>
              <a:gd name="connsiteX6-1437" fmla="*/ 299082 w 9397013"/>
              <a:gd name="connsiteY6-1438" fmla="*/ 5067791 h 7134208"/>
              <a:gd name="connsiteX7-1439" fmla="*/ 4106456 w 9397013"/>
              <a:gd name="connsiteY7-1440" fmla="*/ 55057 h 7134208"/>
              <a:gd name="connsiteX8-1441" fmla="*/ 4585079 w 9397013"/>
              <a:gd name="connsiteY8-1442" fmla="*/ 89119 h 7134208"/>
              <a:gd name="connsiteX9-1443" fmla="*/ 488220 w 9397013"/>
              <a:gd name="connsiteY9-1444" fmla="*/ 5484315 h 7134208"/>
              <a:gd name="connsiteX10-1445" fmla="*/ 779421 w 9397013"/>
              <a:gd name="connsiteY10-1446" fmla="*/ 6125606 h 7134208"/>
              <a:gd name="connsiteX11-1447" fmla="*/ 618065 w 9397013"/>
              <a:gd name="connsiteY11-1448" fmla="*/ 5770263 h 7134208"/>
              <a:gd name="connsiteX12-1449" fmla="*/ 4805164 w 9397013"/>
              <a:gd name="connsiteY12-1450" fmla="*/ 212954 h 7134208"/>
              <a:gd name="connsiteX13-1451" fmla="*/ 5260238 w 9397013"/>
              <a:gd name="connsiteY13-1452" fmla="*/ 234131 h 7134208"/>
              <a:gd name="connsiteX14-1453" fmla="*/ 779421 w 9397013"/>
              <a:gd name="connsiteY14-1454" fmla="*/ 6125606 h 7134208"/>
              <a:gd name="connsiteX15-1455" fmla="*/ 1099910 w 9397013"/>
              <a:gd name="connsiteY15-1456" fmla="*/ 6831395 h 7134208"/>
              <a:gd name="connsiteX16-1457" fmla="*/ 919656 w 9397013"/>
              <a:gd name="connsiteY16-1458" fmla="*/ 6434435 h 7134208"/>
              <a:gd name="connsiteX17-1459" fmla="*/ 5641256 w 9397013"/>
              <a:gd name="connsiteY17-1460" fmla="*/ 212436 h 7134208"/>
              <a:gd name="connsiteX18-1461" fmla="*/ 6077099 w 9397013"/>
              <a:gd name="connsiteY18-1462" fmla="*/ 225638 h 7134208"/>
              <a:gd name="connsiteX19-1463" fmla="*/ 1099910 w 9397013"/>
              <a:gd name="connsiteY19-1464" fmla="*/ 6831395 h 7134208"/>
              <a:gd name="connsiteX20-1465" fmla="*/ 6958778 w 9397013"/>
              <a:gd name="connsiteY20-1466" fmla="*/ 7124971 h 7134208"/>
              <a:gd name="connsiteX21-1467" fmla="*/ 6560038 w 9397013"/>
              <a:gd name="connsiteY21-1468" fmla="*/ 7134207 h 7134208"/>
              <a:gd name="connsiteX22-1469" fmla="*/ 3849932 w 9397013"/>
              <a:gd name="connsiteY22-1470" fmla="*/ 3596670 h 7134208"/>
              <a:gd name="connsiteX23-1471" fmla="*/ 4086202 w 9397013"/>
              <a:gd name="connsiteY23-1472" fmla="*/ 3287229 h 7134208"/>
              <a:gd name="connsiteX24-1473" fmla="*/ 6958778 w 9397013"/>
              <a:gd name="connsiteY24-1474" fmla="*/ 7124971 h 7134208"/>
              <a:gd name="connsiteX25-1475" fmla="*/ 7777211 w 9397013"/>
              <a:gd name="connsiteY25-1476" fmla="*/ 7124972 h 7134208"/>
              <a:gd name="connsiteX26-1477" fmla="*/ 7324729 w 9397013"/>
              <a:gd name="connsiteY26-1478" fmla="*/ 7124972 h 7134208"/>
              <a:gd name="connsiteX27-1479" fmla="*/ 4245793 w 9397013"/>
              <a:gd name="connsiteY27-1480" fmla="*/ 3078214 h 7134208"/>
              <a:gd name="connsiteX28-1481" fmla="*/ 4490696 w 9397013"/>
              <a:gd name="connsiteY28-1482" fmla="*/ 2757469 h 7134208"/>
              <a:gd name="connsiteX29-1483" fmla="*/ 7777211 w 9397013"/>
              <a:gd name="connsiteY29-1484" fmla="*/ 7124972 h 7134208"/>
              <a:gd name="connsiteX30-1485" fmla="*/ 8567691 w 9397013"/>
              <a:gd name="connsiteY30-1486" fmla="*/ 7124971 h 7134208"/>
              <a:gd name="connsiteX31-1487" fmla="*/ 8159389 w 9397013"/>
              <a:gd name="connsiteY31-1488" fmla="*/ 7134208 h 7134208"/>
              <a:gd name="connsiteX32-1489" fmla="*/ 4650570 w 9397013"/>
              <a:gd name="connsiteY32-1490" fmla="*/ 2548084 h 7134208"/>
              <a:gd name="connsiteX33-1491" fmla="*/ 4869244 w 9397013"/>
              <a:gd name="connsiteY33-1492" fmla="*/ 2261689 h 7134208"/>
              <a:gd name="connsiteX34-1493" fmla="*/ 8567691 w 9397013"/>
              <a:gd name="connsiteY34-1494" fmla="*/ 7124971 h 7134208"/>
              <a:gd name="connsiteX35-1495" fmla="*/ 9397013 w 9397013"/>
              <a:gd name="connsiteY35-1496" fmla="*/ 7134207 h 7134208"/>
              <a:gd name="connsiteX36-1497" fmla="*/ 8921338 w 9397013"/>
              <a:gd name="connsiteY36-1498" fmla="*/ 7115735 h 7134208"/>
              <a:gd name="connsiteX37-1499" fmla="*/ 5045299 w 9397013"/>
              <a:gd name="connsiteY37-1500" fmla="*/ 2031113 h 7134208"/>
              <a:gd name="connsiteX38-1501" fmla="*/ 5273037 w 9397013"/>
              <a:gd name="connsiteY38-1502" fmla="*/ 1732846 h 7134208"/>
              <a:gd name="connsiteX39-1503" fmla="*/ 9397013 w 9397013"/>
              <a:gd name="connsiteY39-1504" fmla="*/ 7134207 h 7134208"/>
              <a:gd name="connsiteX0-1505" fmla="*/ 168369 w 9397013"/>
              <a:gd name="connsiteY0-1506" fmla="*/ 4779933 h 7134208"/>
              <a:gd name="connsiteX1-1507" fmla="*/ 0 w 9397013"/>
              <a:gd name="connsiteY1-1508" fmla="*/ 4409146 h 7134208"/>
              <a:gd name="connsiteX2-1509" fmla="*/ 3332806 w 9397013"/>
              <a:gd name="connsiteY2-1510" fmla="*/ 0 h 7134208"/>
              <a:gd name="connsiteX3-1511" fmla="*/ 3794560 w 9397013"/>
              <a:gd name="connsiteY3-1512" fmla="*/ 32861 h 7134208"/>
              <a:gd name="connsiteX4-1513" fmla="*/ 168369 w 9397013"/>
              <a:gd name="connsiteY4-1514" fmla="*/ 4779933 h 7134208"/>
              <a:gd name="connsiteX5-1515" fmla="*/ 488220 w 9397013"/>
              <a:gd name="connsiteY5-1516" fmla="*/ 5484315 h 7134208"/>
              <a:gd name="connsiteX6-1517" fmla="*/ 299082 w 9397013"/>
              <a:gd name="connsiteY6-1518" fmla="*/ 5067791 h 7134208"/>
              <a:gd name="connsiteX7-1519" fmla="*/ 4106456 w 9397013"/>
              <a:gd name="connsiteY7-1520" fmla="*/ 55057 h 7134208"/>
              <a:gd name="connsiteX8-1521" fmla="*/ 4465006 w 9397013"/>
              <a:gd name="connsiteY8-1522" fmla="*/ 209192 h 7134208"/>
              <a:gd name="connsiteX9-1523" fmla="*/ 488220 w 9397013"/>
              <a:gd name="connsiteY9-1524" fmla="*/ 5484315 h 7134208"/>
              <a:gd name="connsiteX10-1525" fmla="*/ 779421 w 9397013"/>
              <a:gd name="connsiteY10-1526" fmla="*/ 6125606 h 7134208"/>
              <a:gd name="connsiteX11-1527" fmla="*/ 618065 w 9397013"/>
              <a:gd name="connsiteY11-1528" fmla="*/ 5770263 h 7134208"/>
              <a:gd name="connsiteX12-1529" fmla="*/ 4805164 w 9397013"/>
              <a:gd name="connsiteY12-1530" fmla="*/ 212954 h 7134208"/>
              <a:gd name="connsiteX13-1531" fmla="*/ 5260238 w 9397013"/>
              <a:gd name="connsiteY13-1532" fmla="*/ 234131 h 7134208"/>
              <a:gd name="connsiteX14-1533" fmla="*/ 779421 w 9397013"/>
              <a:gd name="connsiteY14-1534" fmla="*/ 6125606 h 7134208"/>
              <a:gd name="connsiteX15-1535" fmla="*/ 1099910 w 9397013"/>
              <a:gd name="connsiteY15-1536" fmla="*/ 6831395 h 7134208"/>
              <a:gd name="connsiteX16-1537" fmla="*/ 919656 w 9397013"/>
              <a:gd name="connsiteY16-1538" fmla="*/ 6434435 h 7134208"/>
              <a:gd name="connsiteX17-1539" fmla="*/ 5641256 w 9397013"/>
              <a:gd name="connsiteY17-1540" fmla="*/ 212436 h 7134208"/>
              <a:gd name="connsiteX18-1541" fmla="*/ 6077099 w 9397013"/>
              <a:gd name="connsiteY18-1542" fmla="*/ 225638 h 7134208"/>
              <a:gd name="connsiteX19-1543" fmla="*/ 1099910 w 9397013"/>
              <a:gd name="connsiteY19-1544" fmla="*/ 6831395 h 7134208"/>
              <a:gd name="connsiteX20-1545" fmla="*/ 6958778 w 9397013"/>
              <a:gd name="connsiteY20-1546" fmla="*/ 7124971 h 7134208"/>
              <a:gd name="connsiteX21-1547" fmla="*/ 6560038 w 9397013"/>
              <a:gd name="connsiteY21-1548" fmla="*/ 7134207 h 7134208"/>
              <a:gd name="connsiteX22-1549" fmla="*/ 3849932 w 9397013"/>
              <a:gd name="connsiteY22-1550" fmla="*/ 3596670 h 7134208"/>
              <a:gd name="connsiteX23-1551" fmla="*/ 4086202 w 9397013"/>
              <a:gd name="connsiteY23-1552" fmla="*/ 3287229 h 7134208"/>
              <a:gd name="connsiteX24-1553" fmla="*/ 6958778 w 9397013"/>
              <a:gd name="connsiteY24-1554" fmla="*/ 7124971 h 7134208"/>
              <a:gd name="connsiteX25-1555" fmla="*/ 7777211 w 9397013"/>
              <a:gd name="connsiteY25-1556" fmla="*/ 7124972 h 7134208"/>
              <a:gd name="connsiteX26-1557" fmla="*/ 7324729 w 9397013"/>
              <a:gd name="connsiteY26-1558" fmla="*/ 7124972 h 7134208"/>
              <a:gd name="connsiteX27-1559" fmla="*/ 4245793 w 9397013"/>
              <a:gd name="connsiteY27-1560" fmla="*/ 3078214 h 7134208"/>
              <a:gd name="connsiteX28-1561" fmla="*/ 4490696 w 9397013"/>
              <a:gd name="connsiteY28-1562" fmla="*/ 2757469 h 7134208"/>
              <a:gd name="connsiteX29-1563" fmla="*/ 7777211 w 9397013"/>
              <a:gd name="connsiteY29-1564" fmla="*/ 7124972 h 7134208"/>
              <a:gd name="connsiteX30-1565" fmla="*/ 8567691 w 9397013"/>
              <a:gd name="connsiteY30-1566" fmla="*/ 7124971 h 7134208"/>
              <a:gd name="connsiteX31-1567" fmla="*/ 8159389 w 9397013"/>
              <a:gd name="connsiteY31-1568" fmla="*/ 7134208 h 7134208"/>
              <a:gd name="connsiteX32-1569" fmla="*/ 4650570 w 9397013"/>
              <a:gd name="connsiteY32-1570" fmla="*/ 2548084 h 7134208"/>
              <a:gd name="connsiteX33-1571" fmla="*/ 4869244 w 9397013"/>
              <a:gd name="connsiteY33-1572" fmla="*/ 2261689 h 7134208"/>
              <a:gd name="connsiteX34-1573" fmla="*/ 8567691 w 9397013"/>
              <a:gd name="connsiteY34-1574" fmla="*/ 7124971 h 7134208"/>
              <a:gd name="connsiteX35-1575" fmla="*/ 9397013 w 9397013"/>
              <a:gd name="connsiteY35-1576" fmla="*/ 7134207 h 7134208"/>
              <a:gd name="connsiteX36-1577" fmla="*/ 8921338 w 9397013"/>
              <a:gd name="connsiteY36-1578" fmla="*/ 7115735 h 7134208"/>
              <a:gd name="connsiteX37-1579" fmla="*/ 5045299 w 9397013"/>
              <a:gd name="connsiteY37-1580" fmla="*/ 2031113 h 7134208"/>
              <a:gd name="connsiteX38-1581" fmla="*/ 5273037 w 9397013"/>
              <a:gd name="connsiteY38-1582" fmla="*/ 1732846 h 7134208"/>
              <a:gd name="connsiteX39-1583" fmla="*/ 9397013 w 9397013"/>
              <a:gd name="connsiteY39-1584" fmla="*/ 7134207 h 7134208"/>
              <a:gd name="connsiteX0-1585" fmla="*/ 168369 w 9397013"/>
              <a:gd name="connsiteY0-1586" fmla="*/ 4779933 h 7134208"/>
              <a:gd name="connsiteX1-1587" fmla="*/ 0 w 9397013"/>
              <a:gd name="connsiteY1-1588" fmla="*/ 4409146 h 7134208"/>
              <a:gd name="connsiteX2-1589" fmla="*/ 3332806 w 9397013"/>
              <a:gd name="connsiteY2-1590" fmla="*/ 0 h 7134208"/>
              <a:gd name="connsiteX3-1591" fmla="*/ 3794560 w 9397013"/>
              <a:gd name="connsiteY3-1592" fmla="*/ 32861 h 7134208"/>
              <a:gd name="connsiteX4-1593" fmla="*/ 168369 w 9397013"/>
              <a:gd name="connsiteY4-1594" fmla="*/ 4779933 h 7134208"/>
              <a:gd name="connsiteX5-1595" fmla="*/ 488220 w 9397013"/>
              <a:gd name="connsiteY5-1596" fmla="*/ 5484315 h 7134208"/>
              <a:gd name="connsiteX6-1597" fmla="*/ 299082 w 9397013"/>
              <a:gd name="connsiteY6-1598" fmla="*/ 5067791 h 7134208"/>
              <a:gd name="connsiteX7-1599" fmla="*/ 3977147 w 9397013"/>
              <a:gd name="connsiteY7-1600" fmla="*/ 212075 h 7134208"/>
              <a:gd name="connsiteX8-1601" fmla="*/ 4465006 w 9397013"/>
              <a:gd name="connsiteY8-1602" fmla="*/ 209192 h 7134208"/>
              <a:gd name="connsiteX9-1603" fmla="*/ 488220 w 9397013"/>
              <a:gd name="connsiteY9-1604" fmla="*/ 5484315 h 7134208"/>
              <a:gd name="connsiteX10-1605" fmla="*/ 779421 w 9397013"/>
              <a:gd name="connsiteY10-1606" fmla="*/ 6125606 h 7134208"/>
              <a:gd name="connsiteX11-1607" fmla="*/ 618065 w 9397013"/>
              <a:gd name="connsiteY11-1608" fmla="*/ 5770263 h 7134208"/>
              <a:gd name="connsiteX12-1609" fmla="*/ 4805164 w 9397013"/>
              <a:gd name="connsiteY12-1610" fmla="*/ 212954 h 7134208"/>
              <a:gd name="connsiteX13-1611" fmla="*/ 5260238 w 9397013"/>
              <a:gd name="connsiteY13-1612" fmla="*/ 234131 h 7134208"/>
              <a:gd name="connsiteX14-1613" fmla="*/ 779421 w 9397013"/>
              <a:gd name="connsiteY14-1614" fmla="*/ 6125606 h 7134208"/>
              <a:gd name="connsiteX15-1615" fmla="*/ 1099910 w 9397013"/>
              <a:gd name="connsiteY15-1616" fmla="*/ 6831395 h 7134208"/>
              <a:gd name="connsiteX16-1617" fmla="*/ 919656 w 9397013"/>
              <a:gd name="connsiteY16-1618" fmla="*/ 6434435 h 7134208"/>
              <a:gd name="connsiteX17-1619" fmla="*/ 5641256 w 9397013"/>
              <a:gd name="connsiteY17-1620" fmla="*/ 212436 h 7134208"/>
              <a:gd name="connsiteX18-1621" fmla="*/ 6077099 w 9397013"/>
              <a:gd name="connsiteY18-1622" fmla="*/ 225638 h 7134208"/>
              <a:gd name="connsiteX19-1623" fmla="*/ 1099910 w 9397013"/>
              <a:gd name="connsiteY19-1624" fmla="*/ 6831395 h 7134208"/>
              <a:gd name="connsiteX20-1625" fmla="*/ 6958778 w 9397013"/>
              <a:gd name="connsiteY20-1626" fmla="*/ 7124971 h 7134208"/>
              <a:gd name="connsiteX21-1627" fmla="*/ 6560038 w 9397013"/>
              <a:gd name="connsiteY21-1628" fmla="*/ 7134207 h 7134208"/>
              <a:gd name="connsiteX22-1629" fmla="*/ 3849932 w 9397013"/>
              <a:gd name="connsiteY22-1630" fmla="*/ 3596670 h 7134208"/>
              <a:gd name="connsiteX23-1631" fmla="*/ 4086202 w 9397013"/>
              <a:gd name="connsiteY23-1632" fmla="*/ 3287229 h 7134208"/>
              <a:gd name="connsiteX24-1633" fmla="*/ 6958778 w 9397013"/>
              <a:gd name="connsiteY24-1634" fmla="*/ 7124971 h 7134208"/>
              <a:gd name="connsiteX25-1635" fmla="*/ 7777211 w 9397013"/>
              <a:gd name="connsiteY25-1636" fmla="*/ 7124972 h 7134208"/>
              <a:gd name="connsiteX26-1637" fmla="*/ 7324729 w 9397013"/>
              <a:gd name="connsiteY26-1638" fmla="*/ 7124972 h 7134208"/>
              <a:gd name="connsiteX27-1639" fmla="*/ 4245793 w 9397013"/>
              <a:gd name="connsiteY27-1640" fmla="*/ 3078214 h 7134208"/>
              <a:gd name="connsiteX28-1641" fmla="*/ 4490696 w 9397013"/>
              <a:gd name="connsiteY28-1642" fmla="*/ 2757469 h 7134208"/>
              <a:gd name="connsiteX29-1643" fmla="*/ 7777211 w 9397013"/>
              <a:gd name="connsiteY29-1644" fmla="*/ 7124972 h 7134208"/>
              <a:gd name="connsiteX30-1645" fmla="*/ 8567691 w 9397013"/>
              <a:gd name="connsiteY30-1646" fmla="*/ 7124971 h 7134208"/>
              <a:gd name="connsiteX31-1647" fmla="*/ 8159389 w 9397013"/>
              <a:gd name="connsiteY31-1648" fmla="*/ 7134208 h 7134208"/>
              <a:gd name="connsiteX32-1649" fmla="*/ 4650570 w 9397013"/>
              <a:gd name="connsiteY32-1650" fmla="*/ 2548084 h 7134208"/>
              <a:gd name="connsiteX33-1651" fmla="*/ 4869244 w 9397013"/>
              <a:gd name="connsiteY33-1652" fmla="*/ 2261689 h 7134208"/>
              <a:gd name="connsiteX34-1653" fmla="*/ 8567691 w 9397013"/>
              <a:gd name="connsiteY34-1654" fmla="*/ 7124971 h 7134208"/>
              <a:gd name="connsiteX35-1655" fmla="*/ 9397013 w 9397013"/>
              <a:gd name="connsiteY35-1656" fmla="*/ 7134207 h 7134208"/>
              <a:gd name="connsiteX36-1657" fmla="*/ 8921338 w 9397013"/>
              <a:gd name="connsiteY36-1658" fmla="*/ 7115735 h 7134208"/>
              <a:gd name="connsiteX37-1659" fmla="*/ 5045299 w 9397013"/>
              <a:gd name="connsiteY37-1660" fmla="*/ 2031113 h 7134208"/>
              <a:gd name="connsiteX38-1661" fmla="*/ 5273037 w 9397013"/>
              <a:gd name="connsiteY38-1662" fmla="*/ 1732846 h 7134208"/>
              <a:gd name="connsiteX39-1663" fmla="*/ 9397013 w 9397013"/>
              <a:gd name="connsiteY39-1664" fmla="*/ 7134207 h 7134208"/>
              <a:gd name="connsiteX0-1665" fmla="*/ 168369 w 9397013"/>
              <a:gd name="connsiteY0-1666" fmla="*/ 4779933 h 7134208"/>
              <a:gd name="connsiteX1-1667" fmla="*/ 0 w 9397013"/>
              <a:gd name="connsiteY1-1668" fmla="*/ 4409146 h 7134208"/>
              <a:gd name="connsiteX2-1669" fmla="*/ 3332806 w 9397013"/>
              <a:gd name="connsiteY2-1670" fmla="*/ 0 h 7134208"/>
              <a:gd name="connsiteX3-1671" fmla="*/ 3628305 w 9397013"/>
              <a:gd name="connsiteY3-1672" fmla="*/ 208352 h 7134208"/>
              <a:gd name="connsiteX4-1673" fmla="*/ 168369 w 9397013"/>
              <a:gd name="connsiteY4-1674" fmla="*/ 4779933 h 7134208"/>
              <a:gd name="connsiteX5-1675" fmla="*/ 488220 w 9397013"/>
              <a:gd name="connsiteY5-1676" fmla="*/ 5484315 h 7134208"/>
              <a:gd name="connsiteX6-1677" fmla="*/ 299082 w 9397013"/>
              <a:gd name="connsiteY6-1678" fmla="*/ 5067791 h 7134208"/>
              <a:gd name="connsiteX7-1679" fmla="*/ 3977147 w 9397013"/>
              <a:gd name="connsiteY7-1680" fmla="*/ 212075 h 7134208"/>
              <a:gd name="connsiteX8-1681" fmla="*/ 4465006 w 9397013"/>
              <a:gd name="connsiteY8-1682" fmla="*/ 209192 h 7134208"/>
              <a:gd name="connsiteX9-1683" fmla="*/ 488220 w 9397013"/>
              <a:gd name="connsiteY9-1684" fmla="*/ 5484315 h 7134208"/>
              <a:gd name="connsiteX10-1685" fmla="*/ 779421 w 9397013"/>
              <a:gd name="connsiteY10-1686" fmla="*/ 6125606 h 7134208"/>
              <a:gd name="connsiteX11-1687" fmla="*/ 618065 w 9397013"/>
              <a:gd name="connsiteY11-1688" fmla="*/ 5770263 h 7134208"/>
              <a:gd name="connsiteX12-1689" fmla="*/ 4805164 w 9397013"/>
              <a:gd name="connsiteY12-1690" fmla="*/ 212954 h 7134208"/>
              <a:gd name="connsiteX13-1691" fmla="*/ 5260238 w 9397013"/>
              <a:gd name="connsiteY13-1692" fmla="*/ 234131 h 7134208"/>
              <a:gd name="connsiteX14-1693" fmla="*/ 779421 w 9397013"/>
              <a:gd name="connsiteY14-1694" fmla="*/ 6125606 h 7134208"/>
              <a:gd name="connsiteX15-1695" fmla="*/ 1099910 w 9397013"/>
              <a:gd name="connsiteY15-1696" fmla="*/ 6831395 h 7134208"/>
              <a:gd name="connsiteX16-1697" fmla="*/ 919656 w 9397013"/>
              <a:gd name="connsiteY16-1698" fmla="*/ 6434435 h 7134208"/>
              <a:gd name="connsiteX17-1699" fmla="*/ 5641256 w 9397013"/>
              <a:gd name="connsiteY17-1700" fmla="*/ 212436 h 7134208"/>
              <a:gd name="connsiteX18-1701" fmla="*/ 6077099 w 9397013"/>
              <a:gd name="connsiteY18-1702" fmla="*/ 225638 h 7134208"/>
              <a:gd name="connsiteX19-1703" fmla="*/ 1099910 w 9397013"/>
              <a:gd name="connsiteY19-1704" fmla="*/ 6831395 h 7134208"/>
              <a:gd name="connsiteX20-1705" fmla="*/ 6958778 w 9397013"/>
              <a:gd name="connsiteY20-1706" fmla="*/ 7124971 h 7134208"/>
              <a:gd name="connsiteX21-1707" fmla="*/ 6560038 w 9397013"/>
              <a:gd name="connsiteY21-1708" fmla="*/ 7134207 h 7134208"/>
              <a:gd name="connsiteX22-1709" fmla="*/ 3849932 w 9397013"/>
              <a:gd name="connsiteY22-1710" fmla="*/ 3596670 h 7134208"/>
              <a:gd name="connsiteX23-1711" fmla="*/ 4086202 w 9397013"/>
              <a:gd name="connsiteY23-1712" fmla="*/ 3287229 h 7134208"/>
              <a:gd name="connsiteX24-1713" fmla="*/ 6958778 w 9397013"/>
              <a:gd name="connsiteY24-1714" fmla="*/ 7124971 h 7134208"/>
              <a:gd name="connsiteX25-1715" fmla="*/ 7777211 w 9397013"/>
              <a:gd name="connsiteY25-1716" fmla="*/ 7124972 h 7134208"/>
              <a:gd name="connsiteX26-1717" fmla="*/ 7324729 w 9397013"/>
              <a:gd name="connsiteY26-1718" fmla="*/ 7124972 h 7134208"/>
              <a:gd name="connsiteX27-1719" fmla="*/ 4245793 w 9397013"/>
              <a:gd name="connsiteY27-1720" fmla="*/ 3078214 h 7134208"/>
              <a:gd name="connsiteX28-1721" fmla="*/ 4490696 w 9397013"/>
              <a:gd name="connsiteY28-1722" fmla="*/ 2757469 h 7134208"/>
              <a:gd name="connsiteX29-1723" fmla="*/ 7777211 w 9397013"/>
              <a:gd name="connsiteY29-1724" fmla="*/ 7124972 h 7134208"/>
              <a:gd name="connsiteX30-1725" fmla="*/ 8567691 w 9397013"/>
              <a:gd name="connsiteY30-1726" fmla="*/ 7124971 h 7134208"/>
              <a:gd name="connsiteX31-1727" fmla="*/ 8159389 w 9397013"/>
              <a:gd name="connsiteY31-1728" fmla="*/ 7134208 h 7134208"/>
              <a:gd name="connsiteX32-1729" fmla="*/ 4650570 w 9397013"/>
              <a:gd name="connsiteY32-1730" fmla="*/ 2548084 h 7134208"/>
              <a:gd name="connsiteX33-1731" fmla="*/ 4869244 w 9397013"/>
              <a:gd name="connsiteY33-1732" fmla="*/ 2261689 h 7134208"/>
              <a:gd name="connsiteX34-1733" fmla="*/ 8567691 w 9397013"/>
              <a:gd name="connsiteY34-1734" fmla="*/ 7124971 h 7134208"/>
              <a:gd name="connsiteX35-1735" fmla="*/ 9397013 w 9397013"/>
              <a:gd name="connsiteY35-1736" fmla="*/ 7134207 h 7134208"/>
              <a:gd name="connsiteX36-1737" fmla="*/ 8921338 w 9397013"/>
              <a:gd name="connsiteY36-1738" fmla="*/ 7115735 h 7134208"/>
              <a:gd name="connsiteX37-1739" fmla="*/ 5045299 w 9397013"/>
              <a:gd name="connsiteY37-1740" fmla="*/ 2031113 h 7134208"/>
              <a:gd name="connsiteX38-1741" fmla="*/ 5273037 w 9397013"/>
              <a:gd name="connsiteY38-1742" fmla="*/ 1732846 h 7134208"/>
              <a:gd name="connsiteX39-1743" fmla="*/ 9397013 w 9397013"/>
              <a:gd name="connsiteY39-1744" fmla="*/ 7134207 h 7134208"/>
              <a:gd name="connsiteX0-1745" fmla="*/ 168369 w 9397013"/>
              <a:gd name="connsiteY0-1746" fmla="*/ 4571581 h 6925856"/>
              <a:gd name="connsiteX1-1747" fmla="*/ 0 w 9397013"/>
              <a:gd name="connsiteY1-1748" fmla="*/ 4200794 h 6925856"/>
              <a:gd name="connsiteX2-1749" fmla="*/ 3175788 w 9397013"/>
              <a:gd name="connsiteY2-1750" fmla="*/ 4084 h 6925856"/>
              <a:gd name="connsiteX3-1751" fmla="*/ 3628305 w 9397013"/>
              <a:gd name="connsiteY3-1752" fmla="*/ 0 h 6925856"/>
              <a:gd name="connsiteX4-1753" fmla="*/ 168369 w 9397013"/>
              <a:gd name="connsiteY4-1754" fmla="*/ 4571581 h 6925856"/>
              <a:gd name="connsiteX5-1755" fmla="*/ 488220 w 9397013"/>
              <a:gd name="connsiteY5-1756" fmla="*/ 5275963 h 6925856"/>
              <a:gd name="connsiteX6-1757" fmla="*/ 299082 w 9397013"/>
              <a:gd name="connsiteY6-1758" fmla="*/ 4859439 h 6925856"/>
              <a:gd name="connsiteX7-1759" fmla="*/ 3977147 w 9397013"/>
              <a:gd name="connsiteY7-1760" fmla="*/ 3723 h 6925856"/>
              <a:gd name="connsiteX8-1761" fmla="*/ 4465006 w 9397013"/>
              <a:gd name="connsiteY8-1762" fmla="*/ 840 h 6925856"/>
              <a:gd name="connsiteX9-1763" fmla="*/ 488220 w 9397013"/>
              <a:gd name="connsiteY9-1764" fmla="*/ 5275963 h 6925856"/>
              <a:gd name="connsiteX10-1765" fmla="*/ 779421 w 9397013"/>
              <a:gd name="connsiteY10-1766" fmla="*/ 5917254 h 6925856"/>
              <a:gd name="connsiteX11-1767" fmla="*/ 618065 w 9397013"/>
              <a:gd name="connsiteY11-1768" fmla="*/ 5561911 h 6925856"/>
              <a:gd name="connsiteX12-1769" fmla="*/ 4805164 w 9397013"/>
              <a:gd name="connsiteY12-1770" fmla="*/ 4602 h 6925856"/>
              <a:gd name="connsiteX13-1771" fmla="*/ 5260238 w 9397013"/>
              <a:gd name="connsiteY13-1772" fmla="*/ 25779 h 6925856"/>
              <a:gd name="connsiteX14-1773" fmla="*/ 779421 w 9397013"/>
              <a:gd name="connsiteY14-1774" fmla="*/ 5917254 h 6925856"/>
              <a:gd name="connsiteX15-1775" fmla="*/ 1099910 w 9397013"/>
              <a:gd name="connsiteY15-1776" fmla="*/ 6623043 h 6925856"/>
              <a:gd name="connsiteX16-1777" fmla="*/ 919656 w 9397013"/>
              <a:gd name="connsiteY16-1778" fmla="*/ 6226083 h 6925856"/>
              <a:gd name="connsiteX17-1779" fmla="*/ 5641256 w 9397013"/>
              <a:gd name="connsiteY17-1780" fmla="*/ 4084 h 6925856"/>
              <a:gd name="connsiteX18-1781" fmla="*/ 6077099 w 9397013"/>
              <a:gd name="connsiteY18-1782" fmla="*/ 17286 h 6925856"/>
              <a:gd name="connsiteX19-1783" fmla="*/ 1099910 w 9397013"/>
              <a:gd name="connsiteY19-1784" fmla="*/ 6623043 h 6925856"/>
              <a:gd name="connsiteX20-1785" fmla="*/ 6958778 w 9397013"/>
              <a:gd name="connsiteY20-1786" fmla="*/ 6916619 h 6925856"/>
              <a:gd name="connsiteX21-1787" fmla="*/ 6560038 w 9397013"/>
              <a:gd name="connsiteY21-1788" fmla="*/ 6925855 h 6925856"/>
              <a:gd name="connsiteX22-1789" fmla="*/ 3849932 w 9397013"/>
              <a:gd name="connsiteY22-1790" fmla="*/ 3388318 h 6925856"/>
              <a:gd name="connsiteX23-1791" fmla="*/ 4086202 w 9397013"/>
              <a:gd name="connsiteY23-1792" fmla="*/ 3078877 h 6925856"/>
              <a:gd name="connsiteX24-1793" fmla="*/ 6958778 w 9397013"/>
              <a:gd name="connsiteY24-1794" fmla="*/ 6916619 h 6925856"/>
              <a:gd name="connsiteX25-1795" fmla="*/ 7777211 w 9397013"/>
              <a:gd name="connsiteY25-1796" fmla="*/ 6916620 h 6925856"/>
              <a:gd name="connsiteX26-1797" fmla="*/ 7324729 w 9397013"/>
              <a:gd name="connsiteY26-1798" fmla="*/ 6916620 h 6925856"/>
              <a:gd name="connsiteX27-1799" fmla="*/ 4245793 w 9397013"/>
              <a:gd name="connsiteY27-1800" fmla="*/ 2869862 h 6925856"/>
              <a:gd name="connsiteX28-1801" fmla="*/ 4490696 w 9397013"/>
              <a:gd name="connsiteY28-1802" fmla="*/ 2549117 h 6925856"/>
              <a:gd name="connsiteX29-1803" fmla="*/ 7777211 w 9397013"/>
              <a:gd name="connsiteY29-1804" fmla="*/ 6916620 h 6925856"/>
              <a:gd name="connsiteX30-1805" fmla="*/ 8567691 w 9397013"/>
              <a:gd name="connsiteY30-1806" fmla="*/ 6916619 h 6925856"/>
              <a:gd name="connsiteX31-1807" fmla="*/ 8159389 w 9397013"/>
              <a:gd name="connsiteY31-1808" fmla="*/ 6925856 h 6925856"/>
              <a:gd name="connsiteX32-1809" fmla="*/ 4650570 w 9397013"/>
              <a:gd name="connsiteY32-1810" fmla="*/ 2339732 h 6925856"/>
              <a:gd name="connsiteX33-1811" fmla="*/ 4869244 w 9397013"/>
              <a:gd name="connsiteY33-1812" fmla="*/ 2053337 h 6925856"/>
              <a:gd name="connsiteX34-1813" fmla="*/ 8567691 w 9397013"/>
              <a:gd name="connsiteY34-1814" fmla="*/ 6916619 h 6925856"/>
              <a:gd name="connsiteX35-1815" fmla="*/ 9397013 w 9397013"/>
              <a:gd name="connsiteY35-1816" fmla="*/ 6925855 h 6925856"/>
              <a:gd name="connsiteX36-1817" fmla="*/ 8921338 w 9397013"/>
              <a:gd name="connsiteY36-1818" fmla="*/ 6907383 h 6925856"/>
              <a:gd name="connsiteX37-1819" fmla="*/ 5045299 w 9397013"/>
              <a:gd name="connsiteY37-1820" fmla="*/ 1822761 h 6925856"/>
              <a:gd name="connsiteX38-1821" fmla="*/ 5273037 w 9397013"/>
              <a:gd name="connsiteY38-1822" fmla="*/ 1524494 h 6925856"/>
              <a:gd name="connsiteX39-1823" fmla="*/ 9397013 w 9397013"/>
              <a:gd name="connsiteY39-1824" fmla="*/ 6925855 h 6925856"/>
              <a:gd name="connsiteX0-1825" fmla="*/ 168369 w 9397013"/>
              <a:gd name="connsiteY0-1826" fmla="*/ 4571581 h 6925856"/>
              <a:gd name="connsiteX1-1827" fmla="*/ 0 w 9397013"/>
              <a:gd name="connsiteY1-1828" fmla="*/ 4200794 h 6925856"/>
              <a:gd name="connsiteX2-1829" fmla="*/ 3175788 w 9397013"/>
              <a:gd name="connsiteY2-1830" fmla="*/ 4084 h 6925856"/>
              <a:gd name="connsiteX3-1831" fmla="*/ 3628305 w 9397013"/>
              <a:gd name="connsiteY3-1832" fmla="*/ 0 h 6925856"/>
              <a:gd name="connsiteX4-1833" fmla="*/ 168369 w 9397013"/>
              <a:gd name="connsiteY4-1834" fmla="*/ 4571581 h 6925856"/>
              <a:gd name="connsiteX5-1835" fmla="*/ 488220 w 9397013"/>
              <a:gd name="connsiteY5-1836" fmla="*/ 5275963 h 6925856"/>
              <a:gd name="connsiteX6-1837" fmla="*/ 299082 w 9397013"/>
              <a:gd name="connsiteY6-1838" fmla="*/ 4859439 h 6925856"/>
              <a:gd name="connsiteX7-1839" fmla="*/ 3977147 w 9397013"/>
              <a:gd name="connsiteY7-1840" fmla="*/ 3723 h 6925856"/>
              <a:gd name="connsiteX8-1841" fmla="*/ 4465006 w 9397013"/>
              <a:gd name="connsiteY8-1842" fmla="*/ 840 h 6925856"/>
              <a:gd name="connsiteX9-1843" fmla="*/ 488220 w 9397013"/>
              <a:gd name="connsiteY9-1844" fmla="*/ 5275963 h 6925856"/>
              <a:gd name="connsiteX10-1845" fmla="*/ 779421 w 9397013"/>
              <a:gd name="connsiteY10-1846" fmla="*/ 5917254 h 6925856"/>
              <a:gd name="connsiteX11-1847" fmla="*/ 618065 w 9397013"/>
              <a:gd name="connsiteY11-1848" fmla="*/ 5561911 h 6925856"/>
              <a:gd name="connsiteX12-1849" fmla="*/ 4805164 w 9397013"/>
              <a:gd name="connsiteY12-1850" fmla="*/ 4602 h 6925856"/>
              <a:gd name="connsiteX13-1851" fmla="*/ 5260238 w 9397013"/>
              <a:gd name="connsiteY13-1852" fmla="*/ 25779 h 6925856"/>
              <a:gd name="connsiteX14-1853" fmla="*/ 779421 w 9397013"/>
              <a:gd name="connsiteY14-1854" fmla="*/ 5917254 h 6925856"/>
              <a:gd name="connsiteX15-1855" fmla="*/ 1598673 w 9397013"/>
              <a:gd name="connsiteY15-1856" fmla="*/ 5976498 h 6925856"/>
              <a:gd name="connsiteX16-1857" fmla="*/ 919656 w 9397013"/>
              <a:gd name="connsiteY16-1858" fmla="*/ 6226083 h 6925856"/>
              <a:gd name="connsiteX17-1859" fmla="*/ 5641256 w 9397013"/>
              <a:gd name="connsiteY17-1860" fmla="*/ 4084 h 6925856"/>
              <a:gd name="connsiteX18-1861" fmla="*/ 6077099 w 9397013"/>
              <a:gd name="connsiteY18-1862" fmla="*/ 17286 h 6925856"/>
              <a:gd name="connsiteX19-1863" fmla="*/ 1598673 w 9397013"/>
              <a:gd name="connsiteY19-1864" fmla="*/ 5976498 h 6925856"/>
              <a:gd name="connsiteX20-1865" fmla="*/ 6958778 w 9397013"/>
              <a:gd name="connsiteY20-1866" fmla="*/ 6916619 h 6925856"/>
              <a:gd name="connsiteX21-1867" fmla="*/ 6560038 w 9397013"/>
              <a:gd name="connsiteY21-1868" fmla="*/ 6925855 h 6925856"/>
              <a:gd name="connsiteX22-1869" fmla="*/ 3849932 w 9397013"/>
              <a:gd name="connsiteY22-1870" fmla="*/ 3388318 h 6925856"/>
              <a:gd name="connsiteX23-1871" fmla="*/ 4086202 w 9397013"/>
              <a:gd name="connsiteY23-1872" fmla="*/ 3078877 h 6925856"/>
              <a:gd name="connsiteX24-1873" fmla="*/ 6958778 w 9397013"/>
              <a:gd name="connsiteY24-1874" fmla="*/ 6916619 h 6925856"/>
              <a:gd name="connsiteX25-1875" fmla="*/ 7777211 w 9397013"/>
              <a:gd name="connsiteY25-1876" fmla="*/ 6916620 h 6925856"/>
              <a:gd name="connsiteX26-1877" fmla="*/ 7324729 w 9397013"/>
              <a:gd name="connsiteY26-1878" fmla="*/ 6916620 h 6925856"/>
              <a:gd name="connsiteX27-1879" fmla="*/ 4245793 w 9397013"/>
              <a:gd name="connsiteY27-1880" fmla="*/ 2869862 h 6925856"/>
              <a:gd name="connsiteX28-1881" fmla="*/ 4490696 w 9397013"/>
              <a:gd name="connsiteY28-1882" fmla="*/ 2549117 h 6925856"/>
              <a:gd name="connsiteX29-1883" fmla="*/ 7777211 w 9397013"/>
              <a:gd name="connsiteY29-1884" fmla="*/ 6916620 h 6925856"/>
              <a:gd name="connsiteX30-1885" fmla="*/ 8567691 w 9397013"/>
              <a:gd name="connsiteY30-1886" fmla="*/ 6916619 h 6925856"/>
              <a:gd name="connsiteX31-1887" fmla="*/ 8159389 w 9397013"/>
              <a:gd name="connsiteY31-1888" fmla="*/ 6925856 h 6925856"/>
              <a:gd name="connsiteX32-1889" fmla="*/ 4650570 w 9397013"/>
              <a:gd name="connsiteY32-1890" fmla="*/ 2339732 h 6925856"/>
              <a:gd name="connsiteX33-1891" fmla="*/ 4869244 w 9397013"/>
              <a:gd name="connsiteY33-1892" fmla="*/ 2053337 h 6925856"/>
              <a:gd name="connsiteX34-1893" fmla="*/ 8567691 w 9397013"/>
              <a:gd name="connsiteY34-1894" fmla="*/ 6916619 h 6925856"/>
              <a:gd name="connsiteX35-1895" fmla="*/ 9397013 w 9397013"/>
              <a:gd name="connsiteY35-1896" fmla="*/ 6925855 h 6925856"/>
              <a:gd name="connsiteX36-1897" fmla="*/ 8921338 w 9397013"/>
              <a:gd name="connsiteY36-1898" fmla="*/ 6907383 h 6925856"/>
              <a:gd name="connsiteX37-1899" fmla="*/ 5045299 w 9397013"/>
              <a:gd name="connsiteY37-1900" fmla="*/ 1822761 h 6925856"/>
              <a:gd name="connsiteX38-1901" fmla="*/ 5273037 w 9397013"/>
              <a:gd name="connsiteY38-1902" fmla="*/ 1524494 h 6925856"/>
              <a:gd name="connsiteX39-1903" fmla="*/ 9397013 w 9397013"/>
              <a:gd name="connsiteY39-1904" fmla="*/ 6925855 h 6925856"/>
              <a:gd name="connsiteX0-1905" fmla="*/ 168369 w 9397013"/>
              <a:gd name="connsiteY0-1906" fmla="*/ 4571581 h 6925856"/>
              <a:gd name="connsiteX1-1907" fmla="*/ 0 w 9397013"/>
              <a:gd name="connsiteY1-1908" fmla="*/ 4200794 h 6925856"/>
              <a:gd name="connsiteX2-1909" fmla="*/ 3175788 w 9397013"/>
              <a:gd name="connsiteY2-1910" fmla="*/ 4084 h 6925856"/>
              <a:gd name="connsiteX3-1911" fmla="*/ 3628305 w 9397013"/>
              <a:gd name="connsiteY3-1912" fmla="*/ 0 h 6925856"/>
              <a:gd name="connsiteX4-1913" fmla="*/ 168369 w 9397013"/>
              <a:gd name="connsiteY4-1914" fmla="*/ 4571581 h 6925856"/>
              <a:gd name="connsiteX5-1915" fmla="*/ 488220 w 9397013"/>
              <a:gd name="connsiteY5-1916" fmla="*/ 5275963 h 6925856"/>
              <a:gd name="connsiteX6-1917" fmla="*/ 299082 w 9397013"/>
              <a:gd name="connsiteY6-1918" fmla="*/ 4859439 h 6925856"/>
              <a:gd name="connsiteX7-1919" fmla="*/ 3977147 w 9397013"/>
              <a:gd name="connsiteY7-1920" fmla="*/ 3723 h 6925856"/>
              <a:gd name="connsiteX8-1921" fmla="*/ 4465006 w 9397013"/>
              <a:gd name="connsiteY8-1922" fmla="*/ 840 h 6925856"/>
              <a:gd name="connsiteX9-1923" fmla="*/ 488220 w 9397013"/>
              <a:gd name="connsiteY9-1924" fmla="*/ 5275963 h 6925856"/>
              <a:gd name="connsiteX10-1925" fmla="*/ 779421 w 9397013"/>
              <a:gd name="connsiteY10-1926" fmla="*/ 5917254 h 6925856"/>
              <a:gd name="connsiteX11-1927" fmla="*/ 618065 w 9397013"/>
              <a:gd name="connsiteY11-1928" fmla="*/ 5561911 h 6925856"/>
              <a:gd name="connsiteX12-1929" fmla="*/ 4805164 w 9397013"/>
              <a:gd name="connsiteY12-1930" fmla="*/ 4602 h 6925856"/>
              <a:gd name="connsiteX13-1931" fmla="*/ 5260238 w 9397013"/>
              <a:gd name="connsiteY13-1932" fmla="*/ 25779 h 6925856"/>
              <a:gd name="connsiteX14-1933" fmla="*/ 779421 w 9397013"/>
              <a:gd name="connsiteY14-1934" fmla="*/ 5917254 h 6925856"/>
              <a:gd name="connsiteX15-1935" fmla="*/ 1598673 w 9397013"/>
              <a:gd name="connsiteY15-1936" fmla="*/ 5976498 h 6925856"/>
              <a:gd name="connsiteX16-1937" fmla="*/ 1566201 w 9397013"/>
              <a:gd name="connsiteY16-1938" fmla="*/ 5394811 h 6925856"/>
              <a:gd name="connsiteX17-1939" fmla="*/ 5641256 w 9397013"/>
              <a:gd name="connsiteY17-1940" fmla="*/ 4084 h 6925856"/>
              <a:gd name="connsiteX18-1941" fmla="*/ 6077099 w 9397013"/>
              <a:gd name="connsiteY18-1942" fmla="*/ 17286 h 6925856"/>
              <a:gd name="connsiteX19-1943" fmla="*/ 1598673 w 9397013"/>
              <a:gd name="connsiteY19-1944" fmla="*/ 5976498 h 6925856"/>
              <a:gd name="connsiteX20-1945" fmla="*/ 6958778 w 9397013"/>
              <a:gd name="connsiteY20-1946" fmla="*/ 6916619 h 6925856"/>
              <a:gd name="connsiteX21-1947" fmla="*/ 6560038 w 9397013"/>
              <a:gd name="connsiteY21-1948" fmla="*/ 6925855 h 6925856"/>
              <a:gd name="connsiteX22-1949" fmla="*/ 3849932 w 9397013"/>
              <a:gd name="connsiteY22-1950" fmla="*/ 3388318 h 6925856"/>
              <a:gd name="connsiteX23-1951" fmla="*/ 4086202 w 9397013"/>
              <a:gd name="connsiteY23-1952" fmla="*/ 3078877 h 6925856"/>
              <a:gd name="connsiteX24-1953" fmla="*/ 6958778 w 9397013"/>
              <a:gd name="connsiteY24-1954" fmla="*/ 6916619 h 6925856"/>
              <a:gd name="connsiteX25-1955" fmla="*/ 7777211 w 9397013"/>
              <a:gd name="connsiteY25-1956" fmla="*/ 6916620 h 6925856"/>
              <a:gd name="connsiteX26-1957" fmla="*/ 7324729 w 9397013"/>
              <a:gd name="connsiteY26-1958" fmla="*/ 6916620 h 6925856"/>
              <a:gd name="connsiteX27-1959" fmla="*/ 4245793 w 9397013"/>
              <a:gd name="connsiteY27-1960" fmla="*/ 2869862 h 6925856"/>
              <a:gd name="connsiteX28-1961" fmla="*/ 4490696 w 9397013"/>
              <a:gd name="connsiteY28-1962" fmla="*/ 2549117 h 6925856"/>
              <a:gd name="connsiteX29-1963" fmla="*/ 7777211 w 9397013"/>
              <a:gd name="connsiteY29-1964" fmla="*/ 6916620 h 6925856"/>
              <a:gd name="connsiteX30-1965" fmla="*/ 8567691 w 9397013"/>
              <a:gd name="connsiteY30-1966" fmla="*/ 6916619 h 6925856"/>
              <a:gd name="connsiteX31-1967" fmla="*/ 8159389 w 9397013"/>
              <a:gd name="connsiteY31-1968" fmla="*/ 6925856 h 6925856"/>
              <a:gd name="connsiteX32-1969" fmla="*/ 4650570 w 9397013"/>
              <a:gd name="connsiteY32-1970" fmla="*/ 2339732 h 6925856"/>
              <a:gd name="connsiteX33-1971" fmla="*/ 4869244 w 9397013"/>
              <a:gd name="connsiteY33-1972" fmla="*/ 2053337 h 6925856"/>
              <a:gd name="connsiteX34-1973" fmla="*/ 8567691 w 9397013"/>
              <a:gd name="connsiteY34-1974" fmla="*/ 6916619 h 6925856"/>
              <a:gd name="connsiteX35-1975" fmla="*/ 9397013 w 9397013"/>
              <a:gd name="connsiteY35-1976" fmla="*/ 6925855 h 6925856"/>
              <a:gd name="connsiteX36-1977" fmla="*/ 8921338 w 9397013"/>
              <a:gd name="connsiteY36-1978" fmla="*/ 6907383 h 6925856"/>
              <a:gd name="connsiteX37-1979" fmla="*/ 5045299 w 9397013"/>
              <a:gd name="connsiteY37-1980" fmla="*/ 1822761 h 6925856"/>
              <a:gd name="connsiteX38-1981" fmla="*/ 5273037 w 9397013"/>
              <a:gd name="connsiteY38-1982" fmla="*/ 1524494 h 6925856"/>
              <a:gd name="connsiteX39-1983" fmla="*/ 9397013 w 9397013"/>
              <a:gd name="connsiteY39-1984" fmla="*/ 6925855 h 6925856"/>
              <a:gd name="connsiteX0-1985" fmla="*/ 168369 w 9397013"/>
              <a:gd name="connsiteY0-1986" fmla="*/ 4571581 h 6925856"/>
              <a:gd name="connsiteX1-1987" fmla="*/ 0 w 9397013"/>
              <a:gd name="connsiteY1-1988" fmla="*/ 4200794 h 6925856"/>
              <a:gd name="connsiteX2-1989" fmla="*/ 3175788 w 9397013"/>
              <a:gd name="connsiteY2-1990" fmla="*/ 4084 h 6925856"/>
              <a:gd name="connsiteX3-1991" fmla="*/ 3628305 w 9397013"/>
              <a:gd name="connsiteY3-1992" fmla="*/ 0 h 6925856"/>
              <a:gd name="connsiteX4-1993" fmla="*/ 168369 w 9397013"/>
              <a:gd name="connsiteY4-1994" fmla="*/ 4571581 h 6925856"/>
              <a:gd name="connsiteX5-1995" fmla="*/ 488220 w 9397013"/>
              <a:gd name="connsiteY5-1996" fmla="*/ 5275963 h 6925856"/>
              <a:gd name="connsiteX6-1997" fmla="*/ 299082 w 9397013"/>
              <a:gd name="connsiteY6-1998" fmla="*/ 4859439 h 6925856"/>
              <a:gd name="connsiteX7-1999" fmla="*/ 3977147 w 9397013"/>
              <a:gd name="connsiteY7-2000" fmla="*/ 3723 h 6925856"/>
              <a:gd name="connsiteX8-2001" fmla="*/ 4465006 w 9397013"/>
              <a:gd name="connsiteY8-2002" fmla="*/ 840 h 6925856"/>
              <a:gd name="connsiteX9-2003" fmla="*/ 488220 w 9397013"/>
              <a:gd name="connsiteY9-2004" fmla="*/ 5275963 h 6925856"/>
              <a:gd name="connsiteX10-2005" fmla="*/ 779421 w 9397013"/>
              <a:gd name="connsiteY10-2006" fmla="*/ 5917254 h 6925856"/>
              <a:gd name="connsiteX11-2007" fmla="*/ 618065 w 9397013"/>
              <a:gd name="connsiteY11-2008" fmla="*/ 5561911 h 6925856"/>
              <a:gd name="connsiteX12-2009" fmla="*/ 4805164 w 9397013"/>
              <a:gd name="connsiteY12-2010" fmla="*/ 4602 h 6925856"/>
              <a:gd name="connsiteX13-2011" fmla="*/ 5260238 w 9397013"/>
              <a:gd name="connsiteY13-2012" fmla="*/ 25779 h 6925856"/>
              <a:gd name="connsiteX14-2013" fmla="*/ 779421 w 9397013"/>
              <a:gd name="connsiteY14-2014" fmla="*/ 5917254 h 6925856"/>
              <a:gd name="connsiteX15-2015" fmla="*/ 1580200 w 9397013"/>
              <a:gd name="connsiteY15-2016" fmla="*/ 5985735 h 6925856"/>
              <a:gd name="connsiteX16-2017" fmla="*/ 1566201 w 9397013"/>
              <a:gd name="connsiteY16-2018" fmla="*/ 5394811 h 6925856"/>
              <a:gd name="connsiteX17-2019" fmla="*/ 5641256 w 9397013"/>
              <a:gd name="connsiteY17-2020" fmla="*/ 4084 h 6925856"/>
              <a:gd name="connsiteX18-2021" fmla="*/ 6077099 w 9397013"/>
              <a:gd name="connsiteY18-2022" fmla="*/ 17286 h 6925856"/>
              <a:gd name="connsiteX19-2023" fmla="*/ 1580200 w 9397013"/>
              <a:gd name="connsiteY19-2024" fmla="*/ 5985735 h 6925856"/>
              <a:gd name="connsiteX20-2025" fmla="*/ 6958778 w 9397013"/>
              <a:gd name="connsiteY20-2026" fmla="*/ 6916619 h 6925856"/>
              <a:gd name="connsiteX21-2027" fmla="*/ 6560038 w 9397013"/>
              <a:gd name="connsiteY21-2028" fmla="*/ 6925855 h 6925856"/>
              <a:gd name="connsiteX22-2029" fmla="*/ 3849932 w 9397013"/>
              <a:gd name="connsiteY22-2030" fmla="*/ 3388318 h 6925856"/>
              <a:gd name="connsiteX23-2031" fmla="*/ 4086202 w 9397013"/>
              <a:gd name="connsiteY23-2032" fmla="*/ 3078877 h 6925856"/>
              <a:gd name="connsiteX24-2033" fmla="*/ 6958778 w 9397013"/>
              <a:gd name="connsiteY24-2034" fmla="*/ 6916619 h 6925856"/>
              <a:gd name="connsiteX25-2035" fmla="*/ 7777211 w 9397013"/>
              <a:gd name="connsiteY25-2036" fmla="*/ 6916620 h 6925856"/>
              <a:gd name="connsiteX26-2037" fmla="*/ 7324729 w 9397013"/>
              <a:gd name="connsiteY26-2038" fmla="*/ 6916620 h 6925856"/>
              <a:gd name="connsiteX27-2039" fmla="*/ 4245793 w 9397013"/>
              <a:gd name="connsiteY27-2040" fmla="*/ 2869862 h 6925856"/>
              <a:gd name="connsiteX28-2041" fmla="*/ 4490696 w 9397013"/>
              <a:gd name="connsiteY28-2042" fmla="*/ 2549117 h 6925856"/>
              <a:gd name="connsiteX29-2043" fmla="*/ 7777211 w 9397013"/>
              <a:gd name="connsiteY29-2044" fmla="*/ 6916620 h 6925856"/>
              <a:gd name="connsiteX30-2045" fmla="*/ 8567691 w 9397013"/>
              <a:gd name="connsiteY30-2046" fmla="*/ 6916619 h 6925856"/>
              <a:gd name="connsiteX31-2047" fmla="*/ 8159389 w 9397013"/>
              <a:gd name="connsiteY31-2048" fmla="*/ 6925856 h 6925856"/>
              <a:gd name="connsiteX32-2049" fmla="*/ 4650570 w 9397013"/>
              <a:gd name="connsiteY32-2050" fmla="*/ 2339732 h 6925856"/>
              <a:gd name="connsiteX33-2051" fmla="*/ 4869244 w 9397013"/>
              <a:gd name="connsiteY33-2052" fmla="*/ 2053337 h 6925856"/>
              <a:gd name="connsiteX34-2053" fmla="*/ 8567691 w 9397013"/>
              <a:gd name="connsiteY34-2054" fmla="*/ 6916619 h 6925856"/>
              <a:gd name="connsiteX35-2055" fmla="*/ 9397013 w 9397013"/>
              <a:gd name="connsiteY35-2056" fmla="*/ 6925855 h 6925856"/>
              <a:gd name="connsiteX36-2057" fmla="*/ 8921338 w 9397013"/>
              <a:gd name="connsiteY36-2058" fmla="*/ 6907383 h 6925856"/>
              <a:gd name="connsiteX37-2059" fmla="*/ 5045299 w 9397013"/>
              <a:gd name="connsiteY37-2060" fmla="*/ 1822761 h 6925856"/>
              <a:gd name="connsiteX38-2061" fmla="*/ 5273037 w 9397013"/>
              <a:gd name="connsiteY38-2062" fmla="*/ 1524494 h 6925856"/>
              <a:gd name="connsiteX39-2063" fmla="*/ 9397013 w 9397013"/>
              <a:gd name="connsiteY39-2064" fmla="*/ 6925855 h 6925856"/>
              <a:gd name="connsiteX0-2065" fmla="*/ 168369 w 9397013"/>
              <a:gd name="connsiteY0-2066" fmla="*/ 4571581 h 6925856"/>
              <a:gd name="connsiteX1-2067" fmla="*/ 0 w 9397013"/>
              <a:gd name="connsiteY1-2068" fmla="*/ 4200794 h 6925856"/>
              <a:gd name="connsiteX2-2069" fmla="*/ 3175788 w 9397013"/>
              <a:gd name="connsiteY2-2070" fmla="*/ 4084 h 6925856"/>
              <a:gd name="connsiteX3-2071" fmla="*/ 3628305 w 9397013"/>
              <a:gd name="connsiteY3-2072" fmla="*/ 0 h 6925856"/>
              <a:gd name="connsiteX4-2073" fmla="*/ 168369 w 9397013"/>
              <a:gd name="connsiteY4-2074" fmla="*/ 4571581 h 6925856"/>
              <a:gd name="connsiteX5-2075" fmla="*/ 488220 w 9397013"/>
              <a:gd name="connsiteY5-2076" fmla="*/ 5275963 h 6925856"/>
              <a:gd name="connsiteX6-2077" fmla="*/ 299082 w 9397013"/>
              <a:gd name="connsiteY6-2078" fmla="*/ 4859439 h 6925856"/>
              <a:gd name="connsiteX7-2079" fmla="*/ 3977147 w 9397013"/>
              <a:gd name="connsiteY7-2080" fmla="*/ 3723 h 6925856"/>
              <a:gd name="connsiteX8-2081" fmla="*/ 4465006 w 9397013"/>
              <a:gd name="connsiteY8-2082" fmla="*/ 840 h 6925856"/>
              <a:gd name="connsiteX9-2083" fmla="*/ 488220 w 9397013"/>
              <a:gd name="connsiteY9-2084" fmla="*/ 5275963 h 6925856"/>
              <a:gd name="connsiteX10-2085" fmla="*/ 1601458 w 9397013"/>
              <a:gd name="connsiteY10-2086" fmla="*/ 4845836 h 6925856"/>
              <a:gd name="connsiteX11-2087" fmla="*/ 618065 w 9397013"/>
              <a:gd name="connsiteY11-2088" fmla="*/ 5561911 h 6925856"/>
              <a:gd name="connsiteX12-2089" fmla="*/ 4805164 w 9397013"/>
              <a:gd name="connsiteY12-2090" fmla="*/ 4602 h 6925856"/>
              <a:gd name="connsiteX13-2091" fmla="*/ 5260238 w 9397013"/>
              <a:gd name="connsiteY13-2092" fmla="*/ 25779 h 6925856"/>
              <a:gd name="connsiteX14-2093" fmla="*/ 1601458 w 9397013"/>
              <a:gd name="connsiteY14-2094" fmla="*/ 4845836 h 6925856"/>
              <a:gd name="connsiteX15-2095" fmla="*/ 1580200 w 9397013"/>
              <a:gd name="connsiteY15-2096" fmla="*/ 5985735 h 6925856"/>
              <a:gd name="connsiteX16-2097" fmla="*/ 1566201 w 9397013"/>
              <a:gd name="connsiteY16-2098" fmla="*/ 5394811 h 6925856"/>
              <a:gd name="connsiteX17-2099" fmla="*/ 5641256 w 9397013"/>
              <a:gd name="connsiteY17-2100" fmla="*/ 4084 h 6925856"/>
              <a:gd name="connsiteX18-2101" fmla="*/ 6077099 w 9397013"/>
              <a:gd name="connsiteY18-2102" fmla="*/ 17286 h 6925856"/>
              <a:gd name="connsiteX19-2103" fmla="*/ 1580200 w 9397013"/>
              <a:gd name="connsiteY19-2104" fmla="*/ 5985735 h 6925856"/>
              <a:gd name="connsiteX20-2105" fmla="*/ 6958778 w 9397013"/>
              <a:gd name="connsiteY20-2106" fmla="*/ 6916619 h 6925856"/>
              <a:gd name="connsiteX21-2107" fmla="*/ 6560038 w 9397013"/>
              <a:gd name="connsiteY21-2108" fmla="*/ 6925855 h 6925856"/>
              <a:gd name="connsiteX22-2109" fmla="*/ 3849932 w 9397013"/>
              <a:gd name="connsiteY22-2110" fmla="*/ 3388318 h 6925856"/>
              <a:gd name="connsiteX23-2111" fmla="*/ 4086202 w 9397013"/>
              <a:gd name="connsiteY23-2112" fmla="*/ 3078877 h 6925856"/>
              <a:gd name="connsiteX24-2113" fmla="*/ 6958778 w 9397013"/>
              <a:gd name="connsiteY24-2114" fmla="*/ 6916619 h 6925856"/>
              <a:gd name="connsiteX25-2115" fmla="*/ 7777211 w 9397013"/>
              <a:gd name="connsiteY25-2116" fmla="*/ 6916620 h 6925856"/>
              <a:gd name="connsiteX26-2117" fmla="*/ 7324729 w 9397013"/>
              <a:gd name="connsiteY26-2118" fmla="*/ 6916620 h 6925856"/>
              <a:gd name="connsiteX27-2119" fmla="*/ 4245793 w 9397013"/>
              <a:gd name="connsiteY27-2120" fmla="*/ 2869862 h 6925856"/>
              <a:gd name="connsiteX28-2121" fmla="*/ 4490696 w 9397013"/>
              <a:gd name="connsiteY28-2122" fmla="*/ 2549117 h 6925856"/>
              <a:gd name="connsiteX29-2123" fmla="*/ 7777211 w 9397013"/>
              <a:gd name="connsiteY29-2124" fmla="*/ 6916620 h 6925856"/>
              <a:gd name="connsiteX30-2125" fmla="*/ 8567691 w 9397013"/>
              <a:gd name="connsiteY30-2126" fmla="*/ 6916619 h 6925856"/>
              <a:gd name="connsiteX31-2127" fmla="*/ 8159389 w 9397013"/>
              <a:gd name="connsiteY31-2128" fmla="*/ 6925856 h 6925856"/>
              <a:gd name="connsiteX32-2129" fmla="*/ 4650570 w 9397013"/>
              <a:gd name="connsiteY32-2130" fmla="*/ 2339732 h 6925856"/>
              <a:gd name="connsiteX33-2131" fmla="*/ 4869244 w 9397013"/>
              <a:gd name="connsiteY33-2132" fmla="*/ 2053337 h 6925856"/>
              <a:gd name="connsiteX34-2133" fmla="*/ 8567691 w 9397013"/>
              <a:gd name="connsiteY34-2134" fmla="*/ 6916619 h 6925856"/>
              <a:gd name="connsiteX35-2135" fmla="*/ 9397013 w 9397013"/>
              <a:gd name="connsiteY35-2136" fmla="*/ 6925855 h 6925856"/>
              <a:gd name="connsiteX36-2137" fmla="*/ 8921338 w 9397013"/>
              <a:gd name="connsiteY36-2138" fmla="*/ 6907383 h 6925856"/>
              <a:gd name="connsiteX37-2139" fmla="*/ 5045299 w 9397013"/>
              <a:gd name="connsiteY37-2140" fmla="*/ 1822761 h 6925856"/>
              <a:gd name="connsiteX38-2141" fmla="*/ 5273037 w 9397013"/>
              <a:gd name="connsiteY38-2142" fmla="*/ 1524494 h 6925856"/>
              <a:gd name="connsiteX39-2143" fmla="*/ 9397013 w 9397013"/>
              <a:gd name="connsiteY39-2144" fmla="*/ 6925855 h 6925856"/>
              <a:gd name="connsiteX0-2145" fmla="*/ 168369 w 9397013"/>
              <a:gd name="connsiteY0-2146" fmla="*/ 4571581 h 6925856"/>
              <a:gd name="connsiteX1-2147" fmla="*/ 0 w 9397013"/>
              <a:gd name="connsiteY1-2148" fmla="*/ 4200794 h 6925856"/>
              <a:gd name="connsiteX2-2149" fmla="*/ 3175788 w 9397013"/>
              <a:gd name="connsiteY2-2150" fmla="*/ 4084 h 6925856"/>
              <a:gd name="connsiteX3-2151" fmla="*/ 3628305 w 9397013"/>
              <a:gd name="connsiteY3-2152" fmla="*/ 0 h 6925856"/>
              <a:gd name="connsiteX4-2153" fmla="*/ 168369 w 9397013"/>
              <a:gd name="connsiteY4-2154" fmla="*/ 4571581 h 6925856"/>
              <a:gd name="connsiteX5-2155" fmla="*/ 488220 w 9397013"/>
              <a:gd name="connsiteY5-2156" fmla="*/ 5275963 h 6925856"/>
              <a:gd name="connsiteX6-2157" fmla="*/ 299082 w 9397013"/>
              <a:gd name="connsiteY6-2158" fmla="*/ 4859439 h 6925856"/>
              <a:gd name="connsiteX7-2159" fmla="*/ 3977147 w 9397013"/>
              <a:gd name="connsiteY7-2160" fmla="*/ 3723 h 6925856"/>
              <a:gd name="connsiteX8-2161" fmla="*/ 4465006 w 9397013"/>
              <a:gd name="connsiteY8-2162" fmla="*/ 840 h 6925856"/>
              <a:gd name="connsiteX9-2163" fmla="*/ 488220 w 9397013"/>
              <a:gd name="connsiteY9-2164" fmla="*/ 5275963 h 6925856"/>
              <a:gd name="connsiteX10-2165" fmla="*/ 1601458 w 9397013"/>
              <a:gd name="connsiteY10-2166" fmla="*/ 4845836 h 6925856"/>
              <a:gd name="connsiteX11-2167" fmla="*/ 1550937 w 9397013"/>
              <a:gd name="connsiteY11-2168" fmla="*/ 4315002 h 6925856"/>
              <a:gd name="connsiteX12-2169" fmla="*/ 4805164 w 9397013"/>
              <a:gd name="connsiteY12-2170" fmla="*/ 4602 h 6925856"/>
              <a:gd name="connsiteX13-2171" fmla="*/ 5260238 w 9397013"/>
              <a:gd name="connsiteY13-2172" fmla="*/ 25779 h 6925856"/>
              <a:gd name="connsiteX14-2173" fmla="*/ 1601458 w 9397013"/>
              <a:gd name="connsiteY14-2174" fmla="*/ 4845836 h 6925856"/>
              <a:gd name="connsiteX15-2175" fmla="*/ 1580200 w 9397013"/>
              <a:gd name="connsiteY15-2176" fmla="*/ 5985735 h 6925856"/>
              <a:gd name="connsiteX16-2177" fmla="*/ 1566201 w 9397013"/>
              <a:gd name="connsiteY16-2178" fmla="*/ 5394811 h 6925856"/>
              <a:gd name="connsiteX17-2179" fmla="*/ 5641256 w 9397013"/>
              <a:gd name="connsiteY17-2180" fmla="*/ 4084 h 6925856"/>
              <a:gd name="connsiteX18-2181" fmla="*/ 6077099 w 9397013"/>
              <a:gd name="connsiteY18-2182" fmla="*/ 17286 h 6925856"/>
              <a:gd name="connsiteX19-2183" fmla="*/ 1580200 w 9397013"/>
              <a:gd name="connsiteY19-2184" fmla="*/ 5985735 h 6925856"/>
              <a:gd name="connsiteX20-2185" fmla="*/ 6958778 w 9397013"/>
              <a:gd name="connsiteY20-2186" fmla="*/ 6916619 h 6925856"/>
              <a:gd name="connsiteX21-2187" fmla="*/ 6560038 w 9397013"/>
              <a:gd name="connsiteY21-2188" fmla="*/ 6925855 h 6925856"/>
              <a:gd name="connsiteX22-2189" fmla="*/ 3849932 w 9397013"/>
              <a:gd name="connsiteY22-2190" fmla="*/ 3388318 h 6925856"/>
              <a:gd name="connsiteX23-2191" fmla="*/ 4086202 w 9397013"/>
              <a:gd name="connsiteY23-2192" fmla="*/ 3078877 h 6925856"/>
              <a:gd name="connsiteX24-2193" fmla="*/ 6958778 w 9397013"/>
              <a:gd name="connsiteY24-2194" fmla="*/ 6916619 h 6925856"/>
              <a:gd name="connsiteX25-2195" fmla="*/ 7777211 w 9397013"/>
              <a:gd name="connsiteY25-2196" fmla="*/ 6916620 h 6925856"/>
              <a:gd name="connsiteX26-2197" fmla="*/ 7324729 w 9397013"/>
              <a:gd name="connsiteY26-2198" fmla="*/ 6916620 h 6925856"/>
              <a:gd name="connsiteX27-2199" fmla="*/ 4245793 w 9397013"/>
              <a:gd name="connsiteY27-2200" fmla="*/ 2869862 h 6925856"/>
              <a:gd name="connsiteX28-2201" fmla="*/ 4490696 w 9397013"/>
              <a:gd name="connsiteY28-2202" fmla="*/ 2549117 h 6925856"/>
              <a:gd name="connsiteX29-2203" fmla="*/ 7777211 w 9397013"/>
              <a:gd name="connsiteY29-2204" fmla="*/ 6916620 h 6925856"/>
              <a:gd name="connsiteX30-2205" fmla="*/ 8567691 w 9397013"/>
              <a:gd name="connsiteY30-2206" fmla="*/ 6916619 h 6925856"/>
              <a:gd name="connsiteX31-2207" fmla="*/ 8159389 w 9397013"/>
              <a:gd name="connsiteY31-2208" fmla="*/ 6925856 h 6925856"/>
              <a:gd name="connsiteX32-2209" fmla="*/ 4650570 w 9397013"/>
              <a:gd name="connsiteY32-2210" fmla="*/ 2339732 h 6925856"/>
              <a:gd name="connsiteX33-2211" fmla="*/ 4869244 w 9397013"/>
              <a:gd name="connsiteY33-2212" fmla="*/ 2053337 h 6925856"/>
              <a:gd name="connsiteX34-2213" fmla="*/ 8567691 w 9397013"/>
              <a:gd name="connsiteY34-2214" fmla="*/ 6916619 h 6925856"/>
              <a:gd name="connsiteX35-2215" fmla="*/ 9397013 w 9397013"/>
              <a:gd name="connsiteY35-2216" fmla="*/ 6925855 h 6925856"/>
              <a:gd name="connsiteX36-2217" fmla="*/ 8921338 w 9397013"/>
              <a:gd name="connsiteY36-2218" fmla="*/ 6907383 h 6925856"/>
              <a:gd name="connsiteX37-2219" fmla="*/ 5045299 w 9397013"/>
              <a:gd name="connsiteY37-2220" fmla="*/ 1822761 h 6925856"/>
              <a:gd name="connsiteX38-2221" fmla="*/ 5273037 w 9397013"/>
              <a:gd name="connsiteY38-2222" fmla="*/ 1524494 h 6925856"/>
              <a:gd name="connsiteX39-2223" fmla="*/ 9397013 w 9397013"/>
              <a:gd name="connsiteY39-2224" fmla="*/ 6925855 h 6925856"/>
              <a:gd name="connsiteX0-2225" fmla="*/ 168369 w 9397013"/>
              <a:gd name="connsiteY0-2226" fmla="*/ 4571581 h 6925856"/>
              <a:gd name="connsiteX1-2227" fmla="*/ 0 w 9397013"/>
              <a:gd name="connsiteY1-2228" fmla="*/ 4200794 h 6925856"/>
              <a:gd name="connsiteX2-2229" fmla="*/ 3175788 w 9397013"/>
              <a:gd name="connsiteY2-2230" fmla="*/ 4084 h 6925856"/>
              <a:gd name="connsiteX3-2231" fmla="*/ 3628305 w 9397013"/>
              <a:gd name="connsiteY3-2232" fmla="*/ 0 h 6925856"/>
              <a:gd name="connsiteX4-2233" fmla="*/ 168369 w 9397013"/>
              <a:gd name="connsiteY4-2234" fmla="*/ 4571581 h 6925856"/>
              <a:gd name="connsiteX5-2235" fmla="*/ 488220 w 9397013"/>
              <a:gd name="connsiteY5-2236" fmla="*/ 5275963 h 6925856"/>
              <a:gd name="connsiteX6-2237" fmla="*/ 299082 w 9397013"/>
              <a:gd name="connsiteY6-2238" fmla="*/ 4859439 h 6925856"/>
              <a:gd name="connsiteX7-2239" fmla="*/ 3977147 w 9397013"/>
              <a:gd name="connsiteY7-2240" fmla="*/ 3723 h 6925856"/>
              <a:gd name="connsiteX8-2241" fmla="*/ 4465006 w 9397013"/>
              <a:gd name="connsiteY8-2242" fmla="*/ 840 h 6925856"/>
              <a:gd name="connsiteX9-2243" fmla="*/ 488220 w 9397013"/>
              <a:gd name="connsiteY9-2244" fmla="*/ 5275963 h 6925856"/>
              <a:gd name="connsiteX10-2245" fmla="*/ 1573749 w 9397013"/>
              <a:gd name="connsiteY10-2246" fmla="*/ 4882781 h 6925856"/>
              <a:gd name="connsiteX11-2247" fmla="*/ 1550937 w 9397013"/>
              <a:gd name="connsiteY11-2248" fmla="*/ 4315002 h 6925856"/>
              <a:gd name="connsiteX12-2249" fmla="*/ 4805164 w 9397013"/>
              <a:gd name="connsiteY12-2250" fmla="*/ 4602 h 6925856"/>
              <a:gd name="connsiteX13-2251" fmla="*/ 5260238 w 9397013"/>
              <a:gd name="connsiteY13-2252" fmla="*/ 25779 h 6925856"/>
              <a:gd name="connsiteX14-2253" fmla="*/ 1573749 w 9397013"/>
              <a:gd name="connsiteY14-2254" fmla="*/ 4882781 h 6925856"/>
              <a:gd name="connsiteX15-2255" fmla="*/ 1580200 w 9397013"/>
              <a:gd name="connsiteY15-2256" fmla="*/ 5985735 h 6925856"/>
              <a:gd name="connsiteX16-2257" fmla="*/ 1566201 w 9397013"/>
              <a:gd name="connsiteY16-2258" fmla="*/ 5394811 h 6925856"/>
              <a:gd name="connsiteX17-2259" fmla="*/ 5641256 w 9397013"/>
              <a:gd name="connsiteY17-2260" fmla="*/ 4084 h 6925856"/>
              <a:gd name="connsiteX18-2261" fmla="*/ 6077099 w 9397013"/>
              <a:gd name="connsiteY18-2262" fmla="*/ 17286 h 6925856"/>
              <a:gd name="connsiteX19-2263" fmla="*/ 1580200 w 9397013"/>
              <a:gd name="connsiteY19-2264" fmla="*/ 5985735 h 6925856"/>
              <a:gd name="connsiteX20-2265" fmla="*/ 6958778 w 9397013"/>
              <a:gd name="connsiteY20-2266" fmla="*/ 6916619 h 6925856"/>
              <a:gd name="connsiteX21-2267" fmla="*/ 6560038 w 9397013"/>
              <a:gd name="connsiteY21-2268" fmla="*/ 6925855 h 6925856"/>
              <a:gd name="connsiteX22-2269" fmla="*/ 3849932 w 9397013"/>
              <a:gd name="connsiteY22-2270" fmla="*/ 3388318 h 6925856"/>
              <a:gd name="connsiteX23-2271" fmla="*/ 4086202 w 9397013"/>
              <a:gd name="connsiteY23-2272" fmla="*/ 3078877 h 6925856"/>
              <a:gd name="connsiteX24-2273" fmla="*/ 6958778 w 9397013"/>
              <a:gd name="connsiteY24-2274" fmla="*/ 6916619 h 6925856"/>
              <a:gd name="connsiteX25-2275" fmla="*/ 7777211 w 9397013"/>
              <a:gd name="connsiteY25-2276" fmla="*/ 6916620 h 6925856"/>
              <a:gd name="connsiteX26-2277" fmla="*/ 7324729 w 9397013"/>
              <a:gd name="connsiteY26-2278" fmla="*/ 6916620 h 6925856"/>
              <a:gd name="connsiteX27-2279" fmla="*/ 4245793 w 9397013"/>
              <a:gd name="connsiteY27-2280" fmla="*/ 2869862 h 6925856"/>
              <a:gd name="connsiteX28-2281" fmla="*/ 4490696 w 9397013"/>
              <a:gd name="connsiteY28-2282" fmla="*/ 2549117 h 6925856"/>
              <a:gd name="connsiteX29-2283" fmla="*/ 7777211 w 9397013"/>
              <a:gd name="connsiteY29-2284" fmla="*/ 6916620 h 6925856"/>
              <a:gd name="connsiteX30-2285" fmla="*/ 8567691 w 9397013"/>
              <a:gd name="connsiteY30-2286" fmla="*/ 6916619 h 6925856"/>
              <a:gd name="connsiteX31-2287" fmla="*/ 8159389 w 9397013"/>
              <a:gd name="connsiteY31-2288" fmla="*/ 6925856 h 6925856"/>
              <a:gd name="connsiteX32-2289" fmla="*/ 4650570 w 9397013"/>
              <a:gd name="connsiteY32-2290" fmla="*/ 2339732 h 6925856"/>
              <a:gd name="connsiteX33-2291" fmla="*/ 4869244 w 9397013"/>
              <a:gd name="connsiteY33-2292" fmla="*/ 2053337 h 6925856"/>
              <a:gd name="connsiteX34-2293" fmla="*/ 8567691 w 9397013"/>
              <a:gd name="connsiteY34-2294" fmla="*/ 6916619 h 6925856"/>
              <a:gd name="connsiteX35-2295" fmla="*/ 9397013 w 9397013"/>
              <a:gd name="connsiteY35-2296" fmla="*/ 6925855 h 6925856"/>
              <a:gd name="connsiteX36-2297" fmla="*/ 8921338 w 9397013"/>
              <a:gd name="connsiteY36-2298" fmla="*/ 6907383 h 6925856"/>
              <a:gd name="connsiteX37-2299" fmla="*/ 5045299 w 9397013"/>
              <a:gd name="connsiteY37-2300" fmla="*/ 1822761 h 6925856"/>
              <a:gd name="connsiteX38-2301" fmla="*/ 5273037 w 9397013"/>
              <a:gd name="connsiteY38-2302" fmla="*/ 1524494 h 6925856"/>
              <a:gd name="connsiteX39-2303" fmla="*/ 9397013 w 9397013"/>
              <a:gd name="connsiteY39-2304" fmla="*/ 6925855 h 6925856"/>
              <a:gd name="connsiteX0-2305" fmla="*/ 168369 w 9397013"/>
              <a:gd name="connsiteY0-2306" fmla="*/ 4571581 h 6925856"/>
              <a:gd name="connsiteX1-2307" fmla="*/ 0 w 9397013"/>
              <a:gd name="connsiteY1-2308" fmla="*/ 4200794 h 6925856"/>
              <a:gd name="connsiteX2-2309" fmla="*/ 3175788 w 9397013"/>
              <a:gd name="connsiteY2-2310" fmla="*/ 4084 h 6925856"/>
              <a:gd name="connsiteX3-2311" fmla="*/ 3628305 w 9397013"/>
              <a:gd name="connsiteY3-2312" fmla="*/ 0 h 6925856"/>
              <a:gd name="connsiteX4-2313" fmla="*/ 168369 w 9397013"/>
              <a:gd name="connsiteY4-2314" fmla="*/ 4571581 h 6925856"/>
              <a:gd name="connsiteX5-2315" fmla="*/ 1578111 w 9397013"/>
              <a:gd name="connsiteY5-2316" fmla="*/ 3835090 h 6925856"/>
              <a:gd name="connsiteX6-2317" fmla="*/ 299082 w 9397013"/>
              <a:gd name="connsiteY6-2318" fmla="*/ 4859439 h 6925856"/>
              <a:gd name="connsiteX7-2319" fmla="*/ 3977147 w 9397013"/>
              <a:gd name="connsiteY7-2320" fmla="*/ 3723 h 6925856"/>
              <a:gd name="connsiteX8-2321" fmla="*/ 4465006 w 9397013"/>
              <a:gd name="connsiteY8-2322" fmla="*/ 840 h 6925856"/>
              <a:gd name="connsiteX9-2323" fmla="*/ 1578111 w 9397013"/>
              <a:gd name="connsiteY9-2324" fmla="*/ 3835090 h 6925856"/>
              <a:gd name="connsiteX10-2325" fmla="*/ 1573749 w 9397013"/>
              <a:gd name="connsiteY10-2326" fmla="*/ 4882781 h 6925856"/>
              <a:gd name="connsiteX11-2327" fmla="*/ 1550937 w 9397013"/>
              <a:gd name="connsiteY11-2328" fmla="*/ 4315002 h 6925856"/>
              <a:gd name="connsiteX12-2329" fmla="*/ 4805164 w 9397013"/>
              <a:gd name="connsiteY12-2330" fmla="*/ 4602 h 6925856"/>
              <a:gd name="connsiteX13-2331" fmla="*/ 5260238 w 9397013"/>
              <a:gd name="connsiteY13-2332" fmla="*/ 25779 h 6925856"/>
              <a:gd name="connsiteX14-2333" fmla="*/ 1573749 w 9397013"/>
              <a:gd name="connsiteY14-2334" fmla="*/ 4882781 h 6925856"/>
              <a:gd name="connsiteX15-2335" fmla="*/ 1580200 w 9397013"/>
              <a:gd name="connsiteY15-2336" fmla="*/ 5985735 h 6925856"/>
              <a:gd name="connsiteX16-2337" fmla="*/ 1566201 w 9397013"/>
              <a:gd name="connsiteY16-2338" fmla="*/ 5394811 h 6925856"/>
              <a:gd name="connsiteX17-2339" fmla="*/ 5641256 w 9397013"/>
              <a:gd name="connsiteY17-2340" fmla="*/ 4084 h 6925856"/>
              <a:gd name="connsiteX18-2341" fmla="*/ 6077099 w 9397013"/>
              <a:gd name="connsiteY18-2342" fmla="*/ 17286 h 6925856"/>
              <a:gd name="connsiteX19-2343" fmla="*/ 1580200 w 9397013"/>
              <a:gd name="connsiteY19-2344" fmla="*/ 5985735 h 6925856"/>
              <a:gd name="connsiteX20-2345" fmla="*/ 6958778 w 9397013"/>
              <a:gd name="connsiteY20-2346" fmla="*/ 6916619 h 6925856"/>
              <a:gd name="connsiteX21-2347" fmla="*/ 6560038 w 9397013"/>
              <a:gd name="connsiteY21-2348" fmla="*/ 6925855 h 6925856"/>
              <a:gd name="connsiteX22-2349" fmla="*/ 3849932 w 9397013"/>
              <a:gd name="connsiteY22-2350" fmla="*/ 3388318 h 6925856"/>
              <a:gd name="connsiteX23-2351" fmla="*/ 4086202 w 9397013"/>
              <a:gd name="connsiteY23-2352" fmla="*/ 3078877 h 6925856"/>
              <a:gd name="connsiteX24-2353" fmla="*/ 6958778 w 9397013"/>
              <a:gd name="connsiteY24-2354" fmla="*/ 6916619 h 6925856"/>
              <a:gd name="connsiteX25-2355" fmla="*/ 7777211 w 9397013"/>
              <a:gd name="connsiteY25-2356" fmla="*/ 6916620 h 6925856"/>
              <a:gd name="connsiteX26-2357" fmla="*/ 7324729 w 9397013"/>
              <a:gd name="connsiteY26-2358" fmla="*/ 6916620 h 6925856"/>
              <a:gd name="connsiteX27-2359" fmla="*/ 4245793 w 9397013"/>
              <a:gd name="connsiteY27-2360" fmla="*/ 2869862 h 6925856"/>
              <a:gd name="connsiteX28-2361" fmla="*/ 4490696 w 9397013"/>
              <a:gd name="connsiteY28-2362" fmla="*/ 2549117 h 6925856"/>
              <a:gd name="connsiteX29-2363" fmla="*/ 7777211 w 9397013"/>
              <a:gd name="connsiteY29-2364" fmla="*/ 6916620 h 6925856"/>
              <a:gd name="connsiteX30-2365" fmla="*/ 8567691 w 9397013"/>
              <a:gd name="connsiteY30-2366" fmla="*/ 6916619 h 6925856"/>
              <a:gd name="connsiteX31-2367" fmla="*/ 8159389 w 9397013"/>
              <a:gd name="connsiteY31-2368" fmla="*/ 6925856 h 6925856"/>
              <a:gd name="connsiteX32-2369" fmla="*/ 4650570 w 9397013"/>
              <a:gd name="connsiteY32-2370" fmla="*/ 2339732 h 6925856"/>
              <a:gd name="connsiteX33-2371" fmla="*/ 4869244 w 9397013"/>
              <a:gd name="connsiteY33-2372" fmla="*/ 2053337 h 6925856"/>
              <a:gd name="connsiteX34-2373" fmla="*/ 8567691 w 9397013"/>
              <a:gd name="connsiteY34-2374" fmla="*/ 6916619 h 6925856"/>
              <a:gd name="connsiteX35-2375" fmla="*/ 9397013 w 9397013"/>
              <a:gd name="connsiteY35-2376" fmla="*/ 6925855 h 6925856"/>
              <a:gd name="connsiteX36-2377" fmla="*/ 8921338 w 9397013"/>
              <a:gd name="connsiteY36-2378" fmla="*/ 6907383 h 6925856"/>
              <a:gd name="connsiteX37-2379" fmla="*/ 5045299 w 9397013"/>
              <a:gd name="connsiteY37-2380" fmla="*/ 1822761 h 6925856"/>
              <a:gd name="connsiteX38-2381" fmla="*/ 5273037 w 9397013"/>
              <a:gd name="connsiteY38-2382" fmla="*/ 1524494 h 6925856"/>
              <a:gd name="connsiteX39-2383" fmla="*/ 9397013 w 9397013"/>
              <a:gd name="connsiteY39-2384" fmla="*/ 6925855 h 6925856"/>
              <a:gd name="connsiteX0-2385" fmla="*/ 168369 w 9397013"/>
              <a:gd name="connsiteY0-2386" fmla="*/ 4571581 h 6925856"/>
              <a:gd name="connsiteX1-2387" fmla="*/ 0 w 9397013"/>
              <a:gd name="connsiteY1-2388" fmla="*/ 4200794 h 6925856"/>
              <a:gd name="connsiteX2-2389" fmla="*/ 3175788 w 9397013"/>
              <a:gd name="connsiteY2-2390" fmla="*/ 4084 h 6925856"/>
              <a:gd name="connsiteX3-2391" fmla="*/ 3628305 w 9397013"/>
              <a:gd name="connsiteY3-2392" fmla="*/ 0 h 6925856"/>
              <a:gd name="connsiteX4-2393" fmla="*/ 168369 w 9397013"/>
              <a:gd name="connsiteY4-2394" fmla="*/ 4571581 h 6925856"/>
              <a:gd name="connsiteX5-2395" fmla="*/ 1578111 w 9397013"/>
              <a:gd name="connsiteY5-2396" fmla="*/ 3835090 h 6925856"/>
              <a:gd name="connsiteX6-2397" fmla="*/ 1564463 w 9397013"/>
              <a:gd name="connsiteY6-2398" fmla="*/ 3206130 h 6925856"/>
              <a:gd name="connsiteX7-2399" fmla="*/ 3977147 w 9397013"/>
              <a:gd name="connsiteY7-2400" fmla="*/ 3723 h 6925856"/>
              <a:gd name="connsiteX8-2401" fmla="*/ 4465006 w 9397013"/>
              <a:gd name="connsiteY8-2402" fmla="*/ 840 h 6925856"/>
              <a:gd name="connsiteX9-2403" fmla="*/ 1578111 w 9397013"/>
              <a:gd name="connsiteY9-2404" fmla="*/ 3835090 h 6925856"/>
              <a:gd name="connsiteX10-2405" fmla="*/ 1573749 w 9397013"/>
              <a:gd name="connsiteY10-2406" fmla="*/ 4882781 h 6925856"/>
              <a:gd name="connsiteX11-2407" fmla="*/ 1550937 w 9397013"/>
              <a:gd name="connsiteY11-2408" fmla="*/ 4315002 h 6925856"/>
              <a:gd name="connsiteX12-2409" fmla="*/ 4805164 w 9397013"/>
              <a:gd name="connsiteY12-2410" fmla="*/ 4602 h 6925856"/>
              <a:gd name="connsiteX13-2411" fmla="*/ 5260238 w 9397013"/>
              <a:gd name="connsiteY13-2412" fmla="*/ 25779 h 6925856"/>
              <a:gd name="connsiteX14-2413" fmla="*/ 1573749 w 9397013"/>
              <a:gd name="connsiteY14-2414" fmla="*/ 4882781 h 6925856"/>
              <a:gd name="connsiteX15-2415" fmla="*/ 1580200 w 9397013"/>
              <a:gd name="connsiteY15-2416" fmla="*/ 5985735 h 6925856"/>
              <a:gd name="connsiteX16-2417" fmla="*/ 1566201 w 9397013"/>
              <a:gd name="connsiteY16-2418" fmla="*/ 5394811 h 6925856"/>
              <a:gd name="connsiteX17-2419" fmla="*/ 5641256 w 9397013"/>
              <a:gd name="connsiteY17-2420" fmla="*/ 4084 h 6925856"/>
              <a:gd name="connsiteX18-2421" fmla="*/ 6077099 w 9397013"/>
              <a:gd name="connsiteY18-2422" fmla="*/ 17286 h 6925856"/>
              <a:gd name="connsiteX19-2423" fmla="*/ 1580200 w 9397013"/>
              <a:gd name="connsiteY19-2424" fmla="*/ 5985735 h 6925856"/>
              <a:gd name="connsiteX20-2425" fmla="*/ 6958778 w 9397013"/>
              <a:gd name="connsiteY20-2426" fmla="*/ 6916619 h 6925856"/>
              <a:gd name="connsiteX21-2427" fmla="*/ 6560038 w 9397013"/>
              <a:gd name="connsiteY21-2428" fmla="*/ 6925855 h 6925856"/>
              <a:gd name="connsiteX22-2429" fmla="*/ 3849932 w 9397013"/>
              <a:gd name="connsiteY22-2430" fmla="*/ 3388318 h 6925856"/>
              <a:gd name="connsiteX23-2431" fmla="*/ 4086202 w 9397013"/>
              <a:gd name="connsiteY23-2432" fmla="*/ 3078877 h 6925856"/>
              <a:gd name="connsiteX24-2433" fmla="*/ 6958778 w 9397013"/>
              <a:gd name="connsiteY24-2434" fmla="*/ 6916619 h 6925856"/>
              <a:gd name="connsiteX25-2435" fmla="*/ 7777211 w 9397013"/>
              <a:gd name="connsiteY25-2436" fmla="*/ 6916620 h 6925856"/>
              <a:gd name="connsiteX26-2437" fmla="*/ 7324729 w 9397013"/>
              <a:gd name="connsiteY26-2438" fmla="*/ 6916620 h 6925856"/>
              <a:gd name="connsiteX27-2439" fmla="*/ 4245793 w 9397013"/>
              <a:gd name="connsiteY27-2440" fmla="*/ 2869862 h 6925856"/>
              <a:gd name="connsiteX28-2441" fmla="*/ 4490696 w 9397013"/>
              <a:gd name="connsiteY28-2442" fmla="*/ 2549117 h 6925856"/>
              <a:gd name="connsiteX29-2443" fmla="*/ 7777211 w 9397013"/>
              <a:gd name="connsiteY29-2444" fmla="*/ 6916620 h 6925856"/>
              <a:gd name="connsiteX30-2445" fmla="*/ 8567691 w 9397013"/>
              <a:gd name="connsiteY30-2446" fmla="*/ 6916619 h 6925856"/>
              <a:gd name="connsiteX31-2447" fmla="*/ 8159389 w 9397013"/>
              <a:gd name="connsiteY31-2448" fmla="*/ 6925856 h 6925856"/>
              <a:gd name="connsiteX32-2449" fmla="*/ 4650570 w 9397013"/>
              <a:gd name="connsiteY32-2450" fmla="*/ 2339732 h 6925856"/>
              <a:gd name="connsiteX33-2451" fmla="*/ 4869244 w 9397013"/>
              <a:gd name="connsiteY33-2452" fmla="*/ 2053337 h 6925856"/>
              <a:gd name="connsiteX34-2453" fmla="*/ 8567691 w 9397013"/>
              <a:gd name="connsiteY34-2454" fmla="*/ 6916619 h 6925856"/>
              <a:gd name="connsiteX35-2455" fmla="*/ 9397013 w 9397013"/>
              <a:gd name="connsiteY35-2456" fmla="*/ 6925855 h 6925856"/>
              <a:gd name="connsiteX36-2457" fmla="*/ 8921338 w 9397013"/>
              <a:gd name="connsiteY36-2458" fmla="*/ 6907383 h 6925856"/>
              <a:gd name="connsiteX37-2459" fmla="*/ 5045299 w 9397013"/>
              <a:gd name="connsiteY37-2460" fmla="*/ 1822761 h 6925856"/>
              <a:gd name="connsiteX38-2461" fmla="*/ 5273037 w 9397013"/>
              <a:gd name="connsiteY38-2462" fmla="*/ 1524494 h 6925856"/>
              <a:gd name="connsiteX39-2463" fmla="*/ 9397013 w 9397013"/>
              <a:gd name="connsiteY39-2464" fmla="*/ 6925855 h 6925856"/>
              <a:gd name="connsiteX0-2465" fmla="*/ 1572296 w 9397013"/>
              <a:gd name="connsiteY0-2466" fmla="*/ 2715072 h 6925856"/>
              <a:gd name="connsiteX1-2467" fmla="*/ 0 w 9397013"/>
              <a:gd name="connsiteY1-2468" fmla="*/ 4200794 h 6925856"/>
              <a:gd name="connsiteX2-2469" fmla="*/ 3175788 w 9397013"/>
              <a:gd name="connsiteY2-2470" fmla="*/ 4084 h 6925856"/>
              <a:gd name="connsiteX3-2471" fmla="*/ 3628305 w 9397013"/>
              <a:gd name="connsiteY3-2472" fmla="*/ 0 h 6925856"/>
              <a:gd name="connsiteX4-2473" fmla="*/ 1572296 w 9397013"/>
              <a:gd name="connsiteY4-2474" fmla="*/ 2715072 h 6925856"/>
              <a:gd name="connsiteX5-2475" fmla="*/ 1578111 w 9397013"/>
              <a:gd name="connsiteY5-2476" fmla="*/ 3835090 h 6925856"/>
              <a:gd name="connsiteX6-2477" fmla="*/ 1564463 w 9397013"/>
              <a:gd name="connsiteY6-2478" fmla="*/ 3206130 h 6925856"/>
              <a:gd name="connsiteX7-2479" fmla="*/ 3977147 w 9397013"/>
              <a:gd name="connsiteY7-2480" fmla="*/ 3723 h 6925856"/>
              <a:gd name="connsiteX8-2481" fmla="*/ 4465006 w 9397013"/>
              <a:gd name="connsiteY8-2482" fmla="*/ 840 h 6925856"/>
              <a:gd name="connsiteX9-2483" fmla="*/ 1578111 w 9397013"/>
              <a:gd name="connsiteY9-2484" fmla="*/ 3835090 h 6925856"/>
              <a:gd name="connsiteX10-2485" fmla="*/ 1573749 w 9397013"/>
              <a:gd name="connsiteY10-2486" fmla="*/ 4882781 h 6925856"/>
              <a:gd name="connsiteX11-2487" fmla="*/ 1550937 w 9397013"/>
              <a:gd name="connsiteY11-2488" fmla="*/ 4315002 h 6925856"/>
              <a:gd name="connsiteX12-2489" fmla="*/ 4805164 w 9397013"/>
              <a:gd name="connsiteY12-2490" fmla="*/ 4602 h 6925856"/>
              <a:gd name="connsiteX13-2491" fmla="*/ 5260238 w 9397013"/>
              <a:gd name="connsiteY13-2492" fmla="*/ 25779 h 6925856"/>
              <a:gd name="connsiteX14-2493" fmla="*/ 1573749 w 9397013"/>
              <a:gd name="connsiteY14-2494" fmla="*/ 4882781 h 6925856"/>
              <a:gd name="connsiteX15-2495" fmla="*/ 1580200 w 9397013"/>
              <a:gd name="connsiteY15-2496" fmla="*/ 5985735 h 6925856"/>
              <a:gd name="connsiteX16-2497" fmla="*/ 1566201 w 9397013"/>
              <a:gd name="connsiteY16-2498" fmla="*/ 5394811 h 6925856"/>
              <a:gd name="connsiteX17-2499" fmla="*/ 5641256 w 9397013"/>
              <a:gd name="connsiteY17-2500" fmla="*/ 4084 h 6925856"/>
              <a:gd name="connsiteX18-2501" fmla="*/ 6077099 w 9397013"/>
              <a:gd name="connsiteY18-2502" fmla="*/ 17286 h 6925856"/>
              <a:gd name="connsiteX19-2503" fmla="*/ 1580200 w 9397013"/>
              <a:gd name="connsiteY19-2504" fmla="*/ 5985735 h 6925856"/>
              <a:gd name="connsiteX20-2505" fmla="*/ 6958778 w 9397013"/>
              <a:gd name="connsiteY20-2506" fmla="*/ 6916619 h 6925856"/>
              <a:gd name="connsiteX21-2507" fmla="*/ 6560038 w 9397013"/>
              <a:gd name="connsiteY21-2508" fmla="*/ 6925855 h 6925856"/>
              <a:gd name="connsiteX22-2509" fmla="*/ 3849932 w 9397013"/>
              <a:gd name="connsiteY22-2510" fmla="*/ 3388318 h 6925856"/>
              <a:gd name="connsiteX23-2511" fmla="*/ 4086202 w 9397013"/>
              <a:gd name="connsiteY23-2512" fmla="*/ 3078877 h 6925856"/>
              <a:gd name="connsiteX24-2513" fmla="*/ 6958778 w 9397013"/>
              <a:gd name="connsiteY24-2514" fmla="*/ 6916619 h 6925856"/>
              <a:gd name="connsiteX25-2515" fmla="*/ 7777211 w 9397013"/>
              <a:gd name="connsiteY25-2516" fmla="*/ 6916620 h 6925856"/>
              <a:gd name="connsiteX26-2517" fmla="*/ 7324729 w 9397013"/>
              <a:gd name="connsiteY26-2518" fmla="*/ 6916620 h 6925856"/>
              <a:gd name="connsiteX27-2519" fmla="*/ 4245793 w 9397013"/>
              <a:gd name="connsiteY27-2520" fmla="*/ 2869862 h 6925856"/>
              <a:gd name="connsiteX28-2521" fmla="*/ 4490696 w 9397013"/>
              <a:gd name="connsiteY28-2522" fmla="*/ 2549117 h 6925856"/>
              <a:gd name="connsiteX29-2523" fmla="*/ 7777211 w 9397013"/>
              <a:gd name="connsiteY29-2524" fmla="*/ 6916620 h 6925856"/>
              <a:gd name="connsiteX30-2525" fmla="*/ 8567691 w 9397013"/>
              <a:gd name="connsiteY30-2526" fmla="*/ 6916619 h 6925856"/>
              <a:gd name="connsiteX31-2527" fmla="*/ 8159389 w 9397013"/>
              <a:gd name="connsiteY31-2528" fmla="*/ 6925856 h 6925856"/>
              <a:gd name="connsiteX32-2529" fmla="*/ 4650570 w 9397013"/>
              <a:gd name="connsiteY32-2530" fmla="*/ 2339732 h 6925856"/>
              <a:gd name="connsiteX33-2531" fmla="*/ 4869244 w 9397013"/>
              <a:gd name="connsiteY33-2532" fmla="*/ 2053337 h 6925856"/>
              <a:gd name="connsiteX34-2533" fmla="*/ 8567691 w 9397013"/>
              <a:gd name="connsiteY34-2534" fmla="*/ 6916619 h 6925856"/>
              <a:gd name="connsiteX35-2535" fmla="*/ 9397013 w 9397013"/>
              <a:gd name="connsiteY35-2536" fmla="*/ 6925855 h 6925856"/>
              <a:gd name="connsiteX36-2537" fmla="*/ 8921338 w 9397013"/>
              <a:gd name="connsiteY36-2538" fmla="*/ 6907383 h 6925856"/>
              <a:gd name="connsiteX37-2539" fmla="*/ 5045299 w 9397013"/>
              <a:gd name="connsiteY37-2540" fmla="*/ 1822761 h 6925856"/>
              <a:gd name="connsiteX38-2541" fmla="*/ 5273037 w 9397013"/>
              <a:gd name="connsiteY38-2542" fmla="*/ 1524494 h 6925856"/>
              <a:gd name="connsiteX39-2543" fmla="*/ 9397013 w 9397013"/>
              <a:gd name="connsiteY39-2544" fmla="*/ 6925855 h 6925856"/>
              <a:gd name="connsiteX0-2545" fmla="*/ 21359 w 7846076"/>
              <a:gd name="connsiteY0-2546" fmla="*/ 2715072 h 6925856"/>
              <a:gd name="connsiteX1-2547" fmla="*/ 28481 w 7846076"/>
              <a:gd name="connsiteY1-2548" fmla="*/ 2104139 h 6925856"/>
              <a:gd name="connsiteX2-2549" fmla="*/ 1624851 w 7846076"/>
              <a:gd name="connsiteY2-2550" fmla="*/ 4084 h 6925856"/>
              <a:gd name="connsiteX3-2551" fmla="*/ 2077368 w 7846076"/>
              <a:gd name="connsiteY3-2552" fmla="*/ 0 h 6925856"/>
              <a:gd name="connsiteX4-2553" fmla="*/ 21359 w 7846076"/>
              <a:gd name="connsiteY4-2554" fmla="*/ 2715072 h 6925856"/>
              <a:gd name="connsiteX5-2555" fmla="*/ 27174 w 7846076"/>
              <a:gd name="connsiteY5-2556" fmla="*/ 3835090 h 6925856"/>
              <a:gd name="connsiteX6-2557" fmla="*/ 13526 w 7846076"/>
              <a:gd name="connsiteY6-2558" fmla="*/ 3206130 h 6925856"/>
              <a:gd name="connsiteX7-2559" fmla="*/ 2426210 w 7846076"/>
              <a:gd name="connsiteY7-2560" fmla="*/ 3723 h 6925856"/>
              <a:gd name="connsiteX8-2561" fmla="*/ 2914069 w 7846076"/>
              <a:gd name="connsiteY8-2562" fmla="*/ 840 h 6925856"/>
              <a:gd name="connsiteX9-2563" fmla="*/ 27174 w 7846076"/>
              <a:gd name="connsiteY9-2564" fmla="*/ 3835090 h 6925856"/>
              <a:gd name="connsiteX10-2565" fmla="*/ 22812 w 7846076"/>
              <a:gd name="connsiteY10-2566" fmla="*/ 4882781 h 6925856"/>
              <a:gd name="connsiteX11-2567" fmla="*/ 0 w 7846076"/>
              <a:gd name="connsiteY11-2568" fmla="*/ 4315002 h 6925856"/>
              <a:gd name="connsiteX12-2569" fmla="*/ 3254227 w 7846076"/>
              <a:gd name="connsiteY12-2570" fmla="*/ 4602 h 6925856"/>
              <a:gd name="connsiteX13-2571" fmla="*/ 3709301 w 7846076"/>
              <a:gd name="connsiteY13-2572" fmla="*/ 25779 h 6925856"/>
              <a:gd name="connsiteX14-2573" fmla="*/ 22812 w 7846076"/>
              <a:gd name="connsiteY14-2574" fmla="*/ 4882781 h 6925856"/>
              <a:gd name="connsiteX15-2575" fmla="*/ 29263 w 7846076"/>
              <a:gd name="connsiteY15-2576" fmla="*/ 5985735 h 6925856"/>
              <a:gd name="connsiteX16-2577" fmla="*/ 15264 w 7846076"/>
              <a:gd name="connsiteY16-2578" fmla="*/ 5394811 h 6925856"/>
              <a:gd name="connsiteX17-2579" fmla="*/ 4090319 w 7846076"/>
              <a:gd name="connsiteY17-2580" fmla="*/ 4084 h 6925856"/>
              <a:gd name="connsiteX18-2581" fmla="*/ 4526162 w 7846076"/>
              <a:gd name="connsiteY18-2582" fmla="*/ 17286 h 6925856"/>
              <a:gd name="connsiteX19-2583" fmla="*/ 29263 w 7846076"/>
              <a:gd name="connsiteY19-2584" fmla="*/ 5985735 h 6925856"/>
              <a:gd name="connsiteX20-2585" fmla="*/ 5407841 w 7846076"/>
              <a:gd name="connsiteY20-2586" fmla="*/ 6916619 h 6925856"/>
              <a:gd name="connsiteX21-2587" fmla="*/ 5009101 w 7846076"/>
              <a:gd name="connsiteY21-2588" fmla="*/ 6925855 h 6925856"/>
              <a:gd name="connsiteX22-2589" fmla="*/ 2298995 w 7846076"/>
              <a:gd name="connsiteY22-2590" fmla="*/ 3388318 h 6925856"/>
              <a:gd name="connsiteX23-2591" fmla="*/ 2535265 w 7846076"/>
              <a:gd name="connsiteY23-2592" fmla="*/ 3078877 h 6925856"/>
              <a:gd name="connsiteX24-2593" fmla="*/ 5407841 w 7846076"/>
              <a:gd name="connsiteY24-2594" fmla="*/ 6916619 h 6925856"/>
              <a:gd name="connsiteX25-2595" fmla="*/ 6226274 w 7846076"/>
              <a:gd name="connsiteY25-2596" fmla="*/ 6916620 h 6925856"/>
              <a:gd name="connsiteX26-2597" fmla="*/ 5773792 w 7846076"/>
              <a:gd name="connsiteY26-2598" fmla="*/ 6916620 h 6925856"/>
              <a:gd name="connsiteX27-2599" fmla="*/ 2694856 w 7846076"/>
              <a:gd name="connsiteY27-2600" fmla="*/ 2869862 h 6925856"/>
              <a:gd name="connsiteX28-2601" fmla="*/ 2939759 w 7846076"/>
              <a:gd name="connsiteY28-2602" fmla="*/ 2549117 h 6925856"/>
              <a:gd name="connsiteX29-2603" fmla="*/ 6226274 w 7846076"/>
              <a:gd name="connsiteY29-2604" fmla="*/ 6916620 h 6925856"/>
              <a:gd name="connsiteX30-2605" fmla="*/ 7016754 w 7846076"/>
              <a:gd name="connsiteY30-2606" fmla="*/ 6916619 h 6925856"/>
              <a:gd name="connsiteX31-2607" fmla="*/ 6608452 w 7846076"/>
              <a:gd name="connsiteY31-2608" fmla="*/ 6925856 h 6925856"/>
              <a:gd name="connsiteX32-2609" fmla="*/ 3099633 w 7846076"/>
              <a:gd name="connsiteY32-2610" fmla="*/ 2339732 h 6925856"/>
              <a:gd name="connsiteX33-2611" fmla="*/ 3318307 w 7846076"/>
              <a:gd name="connsiteY33-2612" fmla="*/ 2053337 h 6925856"/>
              <a:gd name="connsiteX34-2613" fmla="*/ 7016754 w 7846076"/>
              <a:gd name="connsiteY34-2614" fmla="*/ 6916619 h 6925856"/>
              <a:gd name="connsiteX35-2615" fmla="*/ 7846076 w 7846076"/>
              <a:gd name="connsiteY35-2616" fmla="*/ 6925855 h 6925856"/>
              <a:gd name="connsiteX36-2617" fmla="*/ 7370401 w 7846076"/>
              <a:gd name="connsiteY36-2618" fmla="*/ 6907383 h 6925856"/>
              <a:gd name="connsiteX37-2619" fmla="*/ 3494362 w 7846076"/>
              <a:gd name="connsiteY37-2620" fmla="*/ 1822761 h 6925856"/>
              <a:gd name="connsiteX38-2621" fmla="*/ 3722100 w 7846076"/>
              <a:gd name="connsiteY38-2622" fmla="*/ 1524494 h 6925856"/>
              <a:gd name="connsiteX39-2623" fmla="*/ 7846076 w 7846076"/>
              <a:gd name="connsiteY39-2624" fmla="*/ 6925855 h 692585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129" y="connsiteY32-130"/>
              </a:cxn>
              <a:cxn ang="0">
                <a:pos x="connsiteX33-131" y="connsiteY33-132"/>
              </a:cxn>
              <a:cxn ang="0">
                <a:pos x="connsiteX34-133" y="connsiteY34-134"/>
              </a:cxn>
              <a:cxn ang="0">
                <a:pos x="connsiteX35-135" y="connsiteY35-136"/>
              </a:cxn>
              <a:cxn ang="0">
                <a:pos x="connsiteX36-137" y="connsiteY36-138"/>
              </a:cxn>
              <a:cxn ang="0">
                <a:pos x="connsiteX37-139" y="connsiteY37-140"/>
              </a:cxn>
              <a:cxn ang="0">
                <a:pos x="connsiteX38-141" y="connsiteY38-142"/>
              </a:cxn>
              <a:cxn ang="0">
                <a:pos x="connsiteX39-143" y="connsiteY39-144"/>
              </a:cxn>
            </a:cxnLst>
            <a:rect l="l" t="t" r="r" b="b"/>
            <a:pathLst>
              <a:path w="7846076" h="6925856">
                <a:moveTo>
                  <a:pt x="21359" y="2715072"/>
                </a:moveTo>
                <a:lnTo>
                  <a:pt x="28481" y="2104139"/>
                </a:lnTo>
                <a:lnTo>
                  <a:pt x="1624851" y="4084"/>
                </a:lnTo>
                <a:lnTo>
                  <a:pt x="2077368" y="0"/>
                </a:lnTo>
                <a:lnTo>
                  <a:pt x="21359" y="2715072"/>
                </a:lnTo>
                <a:close/>
                <a:moveTo>
                  <a:pt x="27174" y="3835090"/>
                </a:moveTo>
                <a:lnTo>
                  <a:pt x="13526" y="3206130"/>
                </a:lnTo>
                <a:lnTo>
                  <a:pt x="2426210" y="3723"/>
                </a:lnTo>
                <a:lnTo>
                  <a:pt x="2914069" y="840"/>
                </a:lnTo>
                <a:lnTo>
                  <a:pt x="27174" y="3835090"/>
                </a:lnTo>
                <a:close/>
                <a:moveTo>
                  <a:pt x="22812" y="4882781"/>
                </a:moveTo>
                <a:lnTo>
                  <a:pt x="0" y="4315002"/>
                </a:lnTo>
                <a:lnTo>
                  <a:pt x="3254227" y="4602"/>
                </a:lnTo>
                <a:lnTo>
                  <a:pt x="3709301" y="25779"/>
                </a:lnTo>
                <a:lnTo>
                  <a:pt x="22812" y="4882781"/>
                </a:lnTo>
                <a:close/>
                <a:moveTo>
                  <a:pt x="29263" y="5985735"/>
                </a:moveTo>
                <a:lnTo>
                  <a:pt x="15264" y="5394811"/>
                </a:lnTo>
                <a:lnTo>
                  <a:pt x="4090319" y="4084"/>
                </a:lnTo>
                <a:lnTo>
                  <a:pt x="4526162" y="17286"/>
                </a:lnTo>
                <a:lnTo>
                  <a:pt x="29263" y="5985735"/>
                </a:lnTo>
                <a:close/>
                <a:moveTo>
                  <a:pt x="5407841" y="6916619"/>
                </a:moveTo>
                <a:lnTo>
                  <a:pt x="5009101" y="6925855"/>
                </a:lnTo>
                <a:lnTo>
                  <a:pt x="2298995" y="3388318"/>
                </a:lnTo>
                <a:lnTo>
                  <a:pt x="2535265" y="3078877"/>
                </a:lnTo>
                <a:lnTo>
                  <a:pt x="5407841" y="6916619"/>
                </a:lnTo>
                <a:close/>
                <a:moveTo>
                  <a:pt x="6226274" y="6916620"/>
                </a:moveTo>
                <a:lnTo>
                  <a:pt x="5773792" y="6916620"/>
                </a:lnTo>
                <a:lnTo>
                  <a:pt x="2694856" y="2869862"/>
                </a:lnTo>
                <a:lnTo>
                  <a:pt x="2939759" y="2549117"/>
                </a:lnTo>
                <a:lnTo>
                  <a:pt x="6226274" y="6916620"/>
                </a:lnTo>
                <a:close/>
                <a:moveTo>
                  <a:pt x="7016754" y="6916619"/>
                </a:moveTo>
                <a:lnTo>
                  <a:pt x="6608452" y="6925856"/>
                </a:lnTo>
                <a:lnTo>
                  <a:pt x="3099633" y="2339732"/>
                </a:lnTo>
                <a:lnTo>
                  <a:pt x="3318307" y="2053337"/>
                </a:lnTo>
                <a:lnTo>
                  <a:pt x="7016754" y="6916619"/>
                </a:lnTo>
                <a:close/>
                <a:moveTo>
                  <a:pt x="7846076" y="6925855"/>
                </a:moveTo>
                <a:lnTo>
                  <a:pt x="7370401" y="6907383"/>
                </a:lnTo>
                <a:lnTo>
                  <a:pt x="3494362" y="1822761"/>
                </a:lnTo>
                <a:lnTo>
                  <a:pt x="3722100" y="1524494"/>
                </a:lnTo>
                <a:lnTo>
                  <a:pt x="7846076" y="6925855"/>
                </a:lnTo>
                <a:close/>
              </a:path>
            </a:pathLst>
          </a:custGeom>
          <a:solidFill>
            <a:schemeClr val="bg1">
              <a:lumMod val="9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5" name="文本框 4"/>
          <p:cNvSpPr txBox="1"/>
          <p:nvPr/>
        </p:nvSpPr>
        <p:spPr>
          <a:xfrm>
            <a:off x="602079" y="1143211"/>
            <a:ext cx="10918408" cy="1287532"/>
          </a:xfrm>
          <a:prstGeom prst="rect">
            <a:avLst/>
          </a:prstGeom>
          <a:noFill/>
        </p:spPr>
        <p:txBody>
          <a:bodyPr wrap="square" rtlCol="0">
            <a:spAutoFit/>
          </a:bodyPr>
          <a:lstStyle/>
          <a:p>
            <a:pPr>
              <a:lnSpc>
                <a:spcPct val="150000"/>
              </a:lnSpc>
            </a:pPr>
            <a:r>
              <a:rPr lang="zh-CN" altLang="en-US" dirty="0"/>
              <a:t>高创新性论文（创新性高于</a:t>
            </a:r>
            <a:r>
              <a:rPr lang="en-US" altLang="zh-CN" dirty="0"/>
              <a:t>90%</a:t>
            </a:r>
            <a:r>
              <a:rPr lang="zh-CN" altLang="en-US" dirty="0"/>
              <a:t>分位数的论文）与低创新性论文（创新性低于</a:t>
            </a:r>
            <a:r>
              <a:rPr lang="en-US" altLang="zh-CN" dirty="0"/>
              <a:t>10%</a:t>
            </a:r>
            <a:r>
              <a:rPr lang="zh-CN" altLang="en-US" dirty="0"/>
              <a:t>分位数的论文）在不同期刊和年份组合的投录时间差值分布情况</a:t>
            </a:r>
            <a:endParaRPr lang="en-US" altLang="zh-CN" dirty="0"/>
          </a:p>
          <a:p>
            <a:pPr>
              <a:lnSpc>
                <a:spcPct val="150000"/>
              </a:lnSpc>
            </a:pPr>
            <a:endParaRPr lang="en-US" altLang="zh-CN" dirty="0"/>
          </a:p>
        </p:txBody>
      </p:sp>
      <p:pic>
        <p:nvPicPr>
          <p:cNvPr id="3" name="图片 2"/>
          <p:cNvPicPr>
            <a:picLocks noChangeAspect="1"/>
          </p:cNvPicPr>
          <p:nvPr/>
        </p:nvPicPr>
        <p:blipFill>
          <a:blip r:embed="rId1"/>
          <a:stretch>
            <a:fillRect/>
          </a:stretch>
        </p:blipFill>
        <p:spPr>
          <a:xfrm>
            <a:off x="1912644" y="2240572"/>
            <a:ext cx="8297278" cy="4022204"/>
          </a:xfrm>
          <a:prstGeom prst="rect">
            <a:avLst/>
          </a:prstGeom>
        </p:spPr>
      </p:pic>
    </p:spTree>
    <p:custDataLst>
      <p:tags r:id="rId2"/>
    </p:custData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iṣlide"/>
        <p:cNvGrpSpPr/>
        <p:nvPr/>
      </p:nvGrpSpPr>
      <p:grpSpPr>
        <a:xfrm>
          <a:off x="0" y="0"/>
          <a:ext cx="0" cy="0"/>
          <a:chOff x="0" y="0"/>
          <a:chExt cx="0" cy="0"/>
        </a:xfrm>
      </p:grpSpPr>
      <p:sp>
        <p:nvSpPr>
          <p:cNvPr id="4" name="ïṣḷide"/>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110" name="íṥļîďè"/>
          <p:cNvSpPr/>
          <p:nvPr/>
        </p:nvSpPr>
        <p:spPr>
          <a:xfrm rot="10800000">
            <a:off x="4396104" y="0"/>
            <a:ext cx="7846076" cy="6857999"/>
          </a:xfrm>
          <a:custGeom>
            <a:avLst/>
            <a:gdLst>
              <a:gd name="connsiteX0" fmla="*/ 168369 w 9517086"/>
              <a:gd name="connsiteY0" fmla="*/ 4779933 h 7291226"/>
              <a:gd name="connsiteX1" fmla="*/ 0 w 9517086"/>
              <a:gd name="connsiteY1" fmla="*/ 4409146 h 7291226"/>
              <a:gd name="connsiteX2" fmla="*/ 3332806 w 9517086"/>
              <a:gd name="connsiteY2" fmla="*/ 0 h 7291226"/>
              <a:gd name="connsiteX3" fmla="*/ 3794560 w 9517086"/>
              <a:gd name="connsiteY3" fmla="*/ 32861 h 7291226"/>
              <a:gd name="connsiteX4" fmla="*/ 488220 w 9517086"/>
              <a:gd name="connsiteY4" fmla="*/ 5484315 h 7291226"/>
              <a:gd name="connsiteX5" fmla="*/ 299082 w 9517086"/>
              <a:gd name="connsiteY5" fmla="*/ 5067791 h 7291226"/>
              <a:gd name="connsiteX6" fmla="*/ 4106456 w 9517086"/>
              <a:gd name="connsiteY6" fmla="*/ 55057 h 7291226"/>
              <a:gd name="connsiteX7" fmla="*/ 4585079 w 9517086"/>
              <a:gd name="connsiteY7" fmla="*/ 89119 h 7291226"/>
              <a:gd name="connsiteX8" fmla="*/ 779421 w 9517086"/>
              <a:gd name="connsiteY8" fmla="*/ 6125606 h 7291226"/>
              <a:gd name="connsiteX9" fmla="*/ 618065 w 9517086"/>
              <a:gd name="connsiteY9" fmla="*/ 5770263 h 7291226"/>
              <a:gd name="connsiteX10" fmla="*/ 4897528 w 9517086"/>
              <a:gd name="connsiteY10" fmla="*/ 111354 h 7291226"/>
              <a:gd name="connsiteX11" fmla="*/ 5324893 w 9517086"/>
              <a:gd name="connsiteY11" fmla="*/ 141768 h 7291226"/>
              <a:gd name="connsiteX12" fmla="*/ 1099910 w 9517086"/>
              <a:gd name="connsiteY12" fmla="*/ 6831395 h 7291226"/>
              <a:gd name="connsiteX13" fmla="*/ 919656 w 9517086"/>
              <a:gd name="connsiteY13" fmla="*/ 6434435 h 7291226"/>
              <a:gd name="connsiteX14" fmla="*/ 5668965 w 9517086"/>
              <a:gd name="connsiteY14" fmla="*/ 166254 h 7291226"/>
              <a:gd name="connsiteX15" fmla="*/ 6114044 w 9517086"/>
              <a:gd name="connsiteY15" fmla="*/ 197929 h 7291226"/>
              <a:gd name="connsiteX16" fmla="*/ 7106560 w 9517086"/>
              <a:gd name="connsiteY16" fmla="*/ 7291226 h 7291226"/>
              <a:gd name="connsiteX17" fmla="*/ 6670875 w 9517086"/>
              <a:gd name="connsiteY17" fmla="*/ 7291226 h 7291226"/>
              <a:gd name="connsiteX18" fmla="*/ 3849932 w 9517086"/>
              <a:gd name="connsiteY18" fmla="*/ 3596670 h 7291226"/>
              <a:gd name="connsiteX19" fmla="*/ 4086202 w 9517086"/>
              <a:gd name="connsiteY19" fmla="*/ 3287229 h 7291226"/>
              <a:gd name="connsiteX20" fmla="*/ 7934229 w 9517086"/>
              <a:gd name="connsiteY20" fmla="*/ 7291226 h 7291226"/>
              <a:gd name="connsiteX21" fmla="*/ 7444802 w 9517086"/>
              <a:gd name="connsiteY21" fmla="*/ 7291226 h 7291226"/>
              <a:gd name="connsiteX22" fmla="*/ 4245793 w 9517086"/>
              <a:gd name="connsiteY22" fmla="*/ 3078214 h 7291226"/>
              <a:gd name="connsiteX23" fmla="*/ 4490696 w 9517086"/>
              <a:gd name="connsiteY23" fmla="*/ 2757469 h 7291226"/>
              <a:gd name="connsiteX24" fmla="*/ 8687764 w 9517086"/>
              <a:gd name="connsiteY24" fmla="*/ 7291226 h 7291226"/>
              <a:gd name="connsiteX25" fmla="*/ 8270226 w 9517086"/>
              <a:gd name="connsiteY25" fmla="*/ 7291226 h 7291226"/>
              <a:gd name="connsiteX26" fmla="*/ 4650570 w 9517086"/>
              <a:gd name="connsiteY26" fmla="*/ 2548084 h 7291226"/>
              <a:gd name="connsiteX27" fmla="*/ 4869244 w 9517086"/>
              <a:gd name="connsiteY27" fmla="*/ 2261689 h 7291226"/>
              <a:gd name="connsiteX28" fmla="*/ 9517086 w 9517086"/>
              <a:gd name="connsiteY28" fmla="*/ 7291226 h 7291226"/>
              <a:gd name="connsiteX29" fmla="*/ 9050647 w 9517086"/>
              <a:gd name="connsiteY29" fmla="*/ 7291226 h 7291226"/>
              <a:gd name="connsiteX30" fmla="*/ 5045299 w 9517086"/>
              <a:gd name="connsiteY30" fmla="*/ 2031113 h 7291226"/>
              <a:gd name="connsiteX31" fmla="*/ 5273037 w 9517086"/>
              <a:gd name="connsiteY31" fmla="*/ 1732846 h 7291226"/>
              <a:gd name="connsiteX0-1" fmla="*/ 168369 w 9378540"/>
              <a:gd name="connsiteY0-2" fmla="*/ 4779933 h 7291226"/>
              <a:gd name="connsiteX1-3" fmla="*/ 0 w 9378540"/>
              <a:gd name="connsiteY1-4" fmla="*/ 4409146 h 7291226"/>
              <a:gd name="connsiteX2-5" fmla="*/ 3332806 w 9378540"/>
              <a:gd name="connsiteY2-6" fmla="*/ 0 h 7291226"/>
              <a:gd name="connsiteX3-7" fmla="*/ 3794560 w 9378540"/>
              <a:gd name="connsiteY3-8" fmla="*/ 32861 h 7291226"/>
              <a:gd name="connsiteX4-9" fmla="*/ 168369 w 9378540"/>
              <a:gd name="connsiteY4-10" fmla="*/ 4779933 h 7291226"/>
              <a:gd name="connsiteX5-11" fmla="*/ 488220 w 9378540"/>
              <a:gd name="connsiteY5-12" fmla="*/ 5484315 h 7291226"/>
              <a:gd name="connsiteX6-13" fmla="*/ 299082 w 9378540"/>
              <a:gd name="connsiteY6-14" fmla="*/ 5067791 h 7291226"/>
              <a:gd name="connsiteX7-15" fmla="*/ 4106456 w 9378540"/>
              <a:gd name="connsiteY7-16" fmla="*/ 55057 h 7291226"/>
              <a:gd name="connsiteX8-17" fmla="*/ 4585079 w 9378540"/>
              <a:gd name="connsiteY8-18" fmla="*/ 89119 h 7291226"/>
              <a:gd name="connsiteX9-19" fmla="*/ 488220 w 9378540"/>
              <a:gd name="connsiteY9-20" fmla="*/ 5484315 h 7291226"/>
              <a:gd name="connsiteX10-21" fmla="*/ 779421 w 9378540"/>
              <a:gd name="connsiteY10-22" fmla="*/ 6125606 h 7291226"/>
              <a:gd name="connsiteX11-23" fmla="*/ 618065 w 9378540"/>
              <a:gd name="connsiteY11-24" fmla="*/ 5770263 h 7291226"/>
              <a:gd name="connsiteX12-25" fmla="*/ 4897528 w 9378540"/>
              <a:gd name="connsiteY12-26" fmla="*/ 111354 h 7291226"/>
              <a:gd name="connsiteX13-27" fmla="*/ 5324893 w 9378540"/>
              <a:gd name="connsiteY13-28" fmla="*/ 141768 h 7291226"/>
              <a:gd name="connsiteX14-29" fmla="*/ 779421 w 9378540"/>
              <a:gd name="connsiteY14-30" fmla="*/ 6125606 h 7291226"/>
              <a:gd name="connsiteX15-31" fmla="*/ 1099910 w 9378540"/>
              <a:gd name="connsiteY15-32" fmla="*/ 6831395 h 7291226"/>
              <a:gd name="connsiteX16-33" fmla="*/ 919656 w 9378540"/>
              <a:gd name="connsiteY16-34" fmla="*/ 6434435 h 7291226"/>
              <a:gd name="connsiteX17-35" fmla="*/ 5668965 w 9378540"/>
              <a:gd name="connsiteY17-36" fmla="*/ 166254 h 7291226"/>
              <a:gd name="connsiteX18-37" fmla="*/ 6114044 w 9378540"/>
              <a:gd name="connsiteY18-38" fmla="*/ 197929 h 7291226"/>
              <a:gd name="connsiteX19-39" fmla="*/ 1099910 w 9378540"/>
              <a:gd name="connsiteY19-40" fmla="*/ 6831395 h 7291226"/>
              <a:gd name="connsiteX20-41" fmla="*/ 7106560 w 9378540"/>
              <a:gd name="connsiteY20-42" fmla="*/ 7291226 h 7291226"/>
              <a:gd name="connsiteX21-43" fmla="*/ 6670875 w 9378540"/>
              <a:gd name="connsiteY21-44" fmla="*/ 7291226 h 7291226"/>
              <a:gd name="connsiteX22-45" fmla="*/ 3849932 w 9378540"/>
              <a:gd name="connsiteY22-46" fmla="*/ 3596670 h 7291226"/>
              <a:gd name="connsiteX23-47" fmla="*/ 4086202 w 9378540"/>
              <a:gd name="connsiteY23-48" fmla="*/ 3287229 h 7291226"/>
              <a:gd name="connsiteX24-49" fmla="*/ 7106560 w 9378540"/>
              <a:gd name="connsiteY24-50" fmla="*/ 7291226 h 7291226"/>
              <a:gd name="connsiteX25-51" fmla="*/ 7934229 w 9378540"/>
              <a:gd name="connsiteY25-52" fmla="*/ 7291226 h 7291226"/>
              <a:gd name="connsiteX26-53" fmla="*/ 7444802 w 9378540"/>
              <a:gd name="connsiteY26-54" fmla="*/ 7291226 h 7291226"/>
              <a:gd name="connsiteX27-55" fmla="*/ 4245793 w 9378540"/>
              <a:gd name="connsiteY27-56" fmla="*/ 3078214 h 7291226"/>
              <a:gd name="connsiteX28-57" fmla="*/ 4490696 w 9378540"/>
              <a:gd name="connsiteY28-58" fmla="*/ 2757469 h 7291226"/>
              <a:gd name="connsiteX29-59" fmla="*/ 7934229 w 9378540"/>
              <a:gd name="connsiteY29-60" fmla="*/ 7291226 h 7291226"/>
              <a:gd name="connsiteX30-61" fmla="*/ 8687764 w 9378540"/>
              <a:gd name="connsiteY30-62" fmla="*/ 7291226 h 7291226"/>
              <a:gd name="connsiteX31-63" fmla="*/ 8270226 w 9378540"/>
              <a:gd name="connsiteY31-64" fmla="*/ 7291226 h 7291226"/>
              <a:gd name="connsiteX32" fmla="*/ 4650570 w 9378540"/>
              <a:gd name="connsiteY32" fmla="*/ 2548084 h 7291226"/>
              <a:gd name="connsiteX33" fmla="*/ 4869244 w 9378540"/>
              <a:gd name="connsiteY33" fmla="*/ 2261689 h 7291226"/>
              <a:gd name="connsiteX34" fmla="*/ 8687764 w 9378540"/>
              <a:gd name="connsiteY34" fmla="*/ 7291226 h 7291226"/>
              <a:gd name="connsiteX35" fmla="*/ 9378540 w 9378540"/>
              <a:gd name="connsiteY35" fmla="*/ 7097262 h 7291226"/>
              <a:gd name="connsiteX36" fmla="*/ 9050647 w 9378540"/>
              <a:gd name="connsiteY36" fmla="*/ 7291226 h 7291226"/>
              <a:gd name="connsiteX37" fmla="*/ 5045299 w 9378540"/>
              <a:gd name="connsiteY37" fmla="*/ 2031113 h 7291226"/>
              <a:gd name="connsiteX38" fmla="*/ 5273037 w 9378540"/>
              <a:gd name="connsiteY38" fmla="*/ 1732846 h 7291226"/>
              <a:gd name="connsiteX39" fmla="*/ 9378540 w 9378540"/>
              <a:gd name="connsiteY39" fmla="*/ 7097262 h 7291226"/>
              <a:gd name="connsiteX0-65" fmla="*/ 168369 w 9378540"/>
              <a:gd name="connsiteY0-66" fmla="*/ 4779933 h 7291226"/>
              <a:gd name="connsiteX1-67" fmla="*/ 0 w 9378540"/>
              <a:gd name="connsiteY1-68" fmla="*/ 4409146 h 7291226"/>
              <a:gd name="connsiteX2-69" fmla="*/ 3332806 w 9378540"/>
              <a:gd name="connsiteY2-70" fmla="*/ 0 h 7291226"/>
              <a:gd name="connsiteX3-71" fmla="*/ 3794560 w 9378540"/>
              <a:gd name="connsiteY3-72" fmla="*/ 32861 h 7291226"/>
              <a:gd name="connsiteX4-73" fmla="*/ 168369 w 9378540"/>
              <a:gd name="connsiteY4-74" fmla="*/ 4779933 h 7291226"/>
              <a:gd name="connsiteX5-75" fmla="*/ 488220 w 9378540"/>
              <a:gd name="connsiteY5-76" fmla="*/ 5484315 h 7291226"/>
              <a:gd name="connsiteX6-77" fmla="*/ 299082 w 9378540"/>
              <a:gd name="connsiteY6-78" fmla="*/ 5067791 h 7291226"/>
              <a:gd name="connsiteX7-79" fmla="*/ 4106456 w 9378540"/>
              <a:gd name="connsiteY7-80" fmla="*/ 55057 h 7291226"/>
              <a:gd name="connsiteX8-81" fmla="*/ 4585079 w 9378540"/>
              <a:gd name="connsiteY8-82" fmla="*/ 89119 h 7291226"/>
              <a:gd name="connsiteX9-83" fmla="*/ 488220 w 9378540"/>
              <a:gd name="connsiteY9-84" fmla="*/ 5484315 h 7291226"/>
              <a:gd name="connsiteX10-85" fmla="*/ 779421 w 9378540"/>
              <a:gd name="connsiteY10-86" fmla="*/ 6125606 h 7291226"/>
              <a:gd name="connsiteX11-87" fmla="*/ 618065 w 9378540"/>
              <a:gd name="connsiteY11-88" fmla="*/ 5770263 h 7291226"/>
              <a:gd name="connsiteX12-89" fmla="*/ 4897528 w 9378540"/>
              <a:gd name="connsiteY12-90" fmla="*/ 111354 h 7291226"/>
              <a:gd name="connsiteX13-91" fmla="*/ 5324893 w 9378540"/>
              <a:gd name="connsiteY13-92" fmla="*/ 141768 h 7291226"/>
              <a:gd name="connsiteX14-93" fmla="*/ 779421 w 9378540"/>
              <a:gd name="connsiteY14-94" fmla="*/ 6125606 h 7291226"/>
              <a:gd name="connsiteX15-95" fmla="*/ 1099910 w 9378540"/>
              <a:gd name="connsiteY15-96" fmla="*/ 6831395 h 7291226"/>
              <a:gd name="connsiteX16-97" fmla="*/ 919656 w 9378540"/>
              <a:gd name="connsiteY16-98" fmla="*/ 6434435 h 7291226"/>
              <a:gd name="connsiteX17-99" fmla="*/ 5668965 w 9378540"/>
              <a:gd name="connsiteY17-100" fmla="*/ 166254 h 7291226"/>
              <a:gd name="connsiteX18-101" fmla="*/ 6114044 w 9378540"/>
              <a:gd name="connsiteY18-102" fmla="*/ 197929 h 7291226"/>
              <a:gd name="connsiteX19-103" fmla="*/ 1099910 w 9378540"/>
              <a:gd name="connsiteY19-104" fmla="*/ 6831395 h 7291226"/>
              <a:gd name="connsiteX20-105" fmla="*/ 7106560 w 9378540"/>
              <a:gd name="connsiteY20-106" fmla="*/ 7291226 h 7291226"/>
              <a:gd name="connsiteX21-107" fmla="*/ 6670875 w 9378540"/>
              <a:gd name="connsiteY21-108" fmla="*/ 7291226 h 7291226"/>
              <a:gd name="connsiteX22-109" fmla="*/ 3849932 w 9378540"/>
              <a:gd name="connsiteY22-110" fmla="*/ 3596670 h 7291226"/>
              <a:gd name="connsiteX23-111" fmla="*/ 4086202 w 9378540"/>
              <a:gd name="connsiteY23-112" fmla="*/ 3287229 h 7291226"/>
              <a:gd name="connsiteX24-113" fmla="*/ 7106560 w 9378540"/>
              <a:gd name="connsiteY24-114" fmla="*/ 7291226 h 7291226"/>
              <a:gd name="connsiteX25-115" fmla="*/ 7934229 w 9378540"/>
              <a:gd name="connsiteY25-116" fmla="*/ 7291226 h 7291226"/>
              <a:gd name="connsiteX26-117" fmla="*/ 7444802 w 9378540"/>
              <a:gd name="connsiteY26-118" fmla="*/ 7291226 h 7291226"/>
              <a:gd name="connsiteX27-119" fmla="*/ 4245793 w 9378540"/>
              <a:gd name="connsiteY27-120" fmla="*/ 3078214 h 7291226"/>
              <a:gd name="connsiteX28-121" fmla="*/ 4490696 w 9378540"/>
              <a:gd name="connsiteY28-122" fmla="*/ 2757469 h 7291226"/>
              <a:gd name="connsiteX29-123" fmla="*/ 7934229 w 9378540"/>
              <a:gd name="connsiteY29-124" fmla="*/ 7291226 h 7291226"/>
              <a:gd name="connsiteX30-125" fmla="*/ 8687764 w 9378540"/>
              <a:gd name="connsiteY30-126" fmla="*/ 7291226 h 7291226"/>
              <a:gd name="connsiteX31-127" fmla="*/ 8270226 w 9378540"/>
              <a:gd name="connsiteY31-128" fmla="*/ 7291226 h 7291226"/>
              <a:gd name="connsiteX32-129" fmla="*/ 4650570 w 9378540"/>
              <a:gd name="connsiteY32-130" fmla="*/ 2548084 h 7291226"/>
              <a:gd name="connsiteX33-131" fmla="*/ 4869244 w 9378540"/>
              <a:gd name="connsiteY33-132" fmla="*/ 2261689 h 7291226"/>
              <a:gd name="connsiteX34-133" fmla="*/ 8687764 w 9378540"/>
              <a:gd name="connsiteY34-134" fmla="*/ 7291226 h 7291226"/>
              <a:gd name="connsiteX35-135" fmla="*/ 9378540 w 9378540"/>
              <a:gd name="connsiteY35-136" fmla="*/ 7097262 h 7291226"/>
              <a:gd name="connsiteX36-137" fmla="*/ 8921338 w 9378540"/>
              <a:gd name="connsiteY36-138" fmla="*/ 7115735 h 7291226"/>
              <a:gd name="connsiteX37-139" fmla="*/ 5045299 w 9378540"/>
              <a:gd name="connsiteY37-140" fmla="*/ 2031113 h 7291226"/>
              <a:gd name="connsiteX38-141" fmla="*/ 5273037 w 9378540"/>
              <a:gd name="connsiteY38-142" fmla="*/ 1732846 h 7291226"/>
              <a:gd name="connsiteX39-143" fmla="*/ 9378540 w 9378540"/>
              <a:gd name="connsiteY39-144" fmla="*/ 7097262 h 7291226"/>
              <a:gd name="connsiteX0-145" fmla="*/ 168369 w 9397013"/>
              <a:gd name="connsiteY0-146" fmla="*/ 4779933 h 7291226"/>
              <a:gd name="connsiteX1-147" fmla="*/ 0 w 9397013"/>
              <a:gd name="connsiteY1-148" fmla="*/ 4409146 h 7291226"/>
              <a:gd name="connsiteX2-149" fmla="*/ 3332806 w 9397013"/>
              <a:gd name="connsiteY2-150" fmla="*/ 0 h 7291226"/>
              <a:gd name="connsiteX3-151" fmla="*/ 3794560 w 9397013"/>
              <a:gd name="connsiteY3-152" fmla="*/ 32861 h 7291226"/>
              <a:gd name="connsiteX4-153" fmla="*/ 168369 w 9397013"/>
              <a:gd name="connsiteY4-154" fmla="*/ 4779933 h 7291226"/>
              <a:gd name="connsiteX5-155" fmla="*/ 488220 w 9397013"/>
              <a:gd name="connsiteY5-156" fmla="*/ 5484315 h 7291226"/>
              <a:gd name="connsiteX6-157" fmla="*/ 299082 w 9397013"/>
              <a:gd name="connsiteY6-158" fmla="*/ 5067791 h 7291226"/>
              <a:gd name="connsiteX7-159" fmla="*/ 4106456 w 9397013"/>
              <a:gd name="connsiteY7-160" fmla="*/ 55057 h 7291226"/>
              <a:gd name="connsiteX8-161" fmla="*/ 4585079 w 9397013"/>
              <a:gd name="connsiteY8-162" fmla="*/ 89119 h 7291226"/>
              <a:gd name="connsiteX9-163" fmla="*/ 488220 w 9397013"/>
              <a:gd name="connsiteY9-164" fmla="*/ 5484315 h 7291226"/>
              <a:gd name="connsiteX10-165" fmla="*/ 779421 w 9397013"/>
              <a:gd name="connsiteY10-166" fmla="*/ 6125606 h 7291226"/>
              <a:gd name="connsiteX11-167" fmla="*/ 618065 w 9397013"/>
              <a:gd name="connsiteY11-168" fmla="*/ 5770263 h 7291226"/>
              <a:gd name="connsiteX12-169" fmla="*/ 4897528 w 9397013"/>
              <a:gd name="connsiteY12-170" fmla="*/ 111354 h 7291226"/>
              <a:gd name="connsiteX13-171" fmla="*/ 5324893 w 9397013"/>
              <a:gd name="connsiteY13-172" fmla="*/ 141768 h 7291226"/>
              <a:gd name="connsiteX14-173" fmla="*/ 779421 w 9397013"/>
              <a:gd name="connsiteY14-174" fmla="*/ 6125606 h 7291226"/>
              <a:gd name="connsiteX15-175" fmla="*/ 1099910 w 9397013"/>
              <a:gd name="connsiteY15-176" fmla="*/ 6831395 h 7291226"/>
              <a:gd name="connsiteX16-177" fmla="*/ 919656 w 9397013"/>
              <a:gd name="connsiteY16-178" fmla="*/ 6434435 h 7291226"/>
              <a:gd name="connsiteX17-179" fmla="*/ 5668965 w 9397013"/>
              <a:gd name="connsiteY17-180" fmla="*/ 166254 h 7291226"/>
              <a:gd name="connsiteX18-181" fmla="*/ 6114044 w 9397013"/>
              <a:gd name="connsiteY18-182" fmla="*/ 197929 h 7291226"/>
              <a:gd name="connsiteX19-183" fmla="*/ 1099910 w 9397013"/>
              <a:gd name="connsiteY19-184" fmla="*/ 6831395 h 7291226"/>
              <a:gd name="connsiteX20-185" fmla="*/ 7106560 w 9397013"/>
              <a:gd name="connsiteY20-186" fmla="*/ 7291226 h 7291226"/>
              <a:gd name="connsiteX21-187" fmla="*/ 6670875 w 9397013"/>
              <a:gd name="connsiteY21-188" fmla="*/ 7291226 h 7291226"/>
              <a:gd name="connsiteX22-189" fmla="*/ 3849932 w 9397013"/>
              <a:gd name="connsiteY22-190" fmla="*/ 3596670 h 7291226"/>
              <a:gd name="connsiteX23-191" fmla="*/ 4086202 w 9397013"/>
              <a:gd name="connsiteY23-192" fmla="*/ 3287229 h 7291226"/>
              <a:gd name="connsiteX24-193" fmla="*/ 7106560 w 9397013"/>
              <a:gd name="connsiteY24-194" fmla="*/ 7291226 h 7291226"/>
              <a:gd name="connsiteX25-195" fmla="*/ 7934229 w 9397013"/>
              <a:gd name="connsiteY25-196" fmla="*/ 7291226 h 7291226"/>
              <a:gd name="connsiteX26-197" fmla="*/ 7444802 w 9397013"/>
              <a:gd name="connsiteY26-198" fmla="*/ 7291226 h 7291226"/>
              <a:gd name="connsiteX27-199" fmla="*/ 4245793 w 9397013"/>
              <a:gd name="connsiteY27-200" fmla="*/ 3078214 h 7291226"/>
              <a:gd name="connsiteX28-201" fmla="*/ 4490696 w 9397013"/>
              <a:gd name="connsiteY28-202" fmla="*/ 2757469 h 7291226"/>
              <a:gd name="connsiteX29-203" fmla="*/ 7934229 w 9397013"/>
              <a:gd name="connsiteY29-204" fmla="*/ 7291226 h 7291226"/>
              <a:gd name="connsiteX30-205" fmla="*/ 8687764 w 9397013"/>
              <a:gd name="connsiteY30-206" fmla="*/ 7291226 h 7291226"/>
              <a:gd name="connsiteX31-207" fmla="*/ 8270226 w 9397013"/>
              <a:gd name="connsiteY31-208" fmla="*/ 7291226 h 7291226"/>
              <a:gd name="connsiteX32-209" fmla="*/ 4650570 w 9397013"/>
              <a:gd name="connsiteY32-210" fmla="*/ 2548084 h 7291226"/>
              <a:gd name="connsiteX33-211" fmla="*/ 4869244 w 9397013"/>
              <a:gd name="connsiteY33-212" fmla="*/ 2261689 h 7291226"/>
              <a:gd name="connsiteX34-213" fmla="*/ 8687764 w 9397013"/>
              <a:gd name="connsiteY34-214" fmla="*/ 7291226 h 7291226"/>
              <a:gd name="connsiteX35-215" fmla="*/ 9397013 w 9397013"/>
              <a:gd name="connsiteY35-216" fmla="*/ 7134207 h 7291226"/>
              <a:gd name="connsiteX36-217" fmla="*/ 8921338 w 9397013"/>
              <a:gd name="connsiteY36-218" fmla="*/ 7115735 h 7291226"/>
              <a:gd name="connsiteX37-219" fmla="*/ 5045299 w 9397013"/>
              <a:gd name="connsiteY37-220" fmla="*/ 2031113 h 7291226"/>
              <a:gd name="connsiteX38-221" fmla="*/ 5273037 w 9397013"/>
              <a:gd name="connsiteY38-222" fmla="*/ 1732846 h 7291226"/>
              <a:gd name="connsiteX39-223" fmla="*/ 9397013 w 9397013"/>
              <a:gd name="connsiteY39-224" fmla="*/ 7134207 h 7291226"/>
              <a:gd name="connsiteX0-225" fmla="*/ 168369 w 9397013"/>
              <a:gd name="connsiteY0-226" fmla="*/ 4779933 h 7291226"/>
              <a:gd name="connsiteX1-227" fmla="*/ 0 w 9397013"/>
              <a:gd name="connsiteY1-228" fmla="*/ 4409146 h 7291226"/>
              <a:gd name="connsiteX2-229" fmla="*/ 3332806 w 9397013"/>
              <a:gd name="connsiteY2-230" fmla="*/ 0 h 7291226"/>
              <a:gd name="connsiteX3-231" fmla="*/ 3794560 w 9397013"/>
              <a:gd name="connsiteY3-232" fmla="*/ 32861 h 7291226"/>
              <a:gd name="connsiteX4-233" fmla="*/ 168369 w 9397013"/>
              <a:gd name="connsiteY4-234" fmla="*/ 4779933 h 7291226"/>
              <a:gd name="connsiteX5-235" fmla="*/ 488220 w 9397013"/>
              <a:gd name="connsiteY5-236" fmla="*/ 5484315 h 7291226"/>
              <a:gd name="connsiteX6-237" fmla="*/ 299082 w 9397013"/>
              <a:gd name="connsiteY6-238" fmla="*/ 5067791 h 7291226"/>
              <a:gd name="connsiteX7-239" fmla="*/ 4106456 w 9397013"/>
              <a:gd name="connsiteY7-240" fmla="*/ 55057 h 7291226"/>
              <a:gd name="connsiteX8-241" fmla="*/ 4585079 w 9397013"/>
              <a:gd name="connsiteY8-242" fmla="*/ 89119 h 7291226"/>
              <a:gd name="connsiteX9-243" fmla="*/ 488220 w 9397013"/>
              <a:gd name="connsiteY9-244" fmla="*/ 5484315 h 7291226"/>
              <a:gd name="connsiteX10-245" fmla="*/ 779421 w 9397013"/>
              <a:gd name="connsiteY10-246" fmla="*/ 6125606 h 7291226"/>
              <a:gd name="connsiteX11-247" fmla="*/ 618065 w 9397013"/>
              <a:gd name="connsiteY11-248" fmla="*/ 5770263 h 7291226"/>
              <a:gd name="connsiteX12-249" fmla="*/ 4897528 w 9397013"/>
              <a:gd name="connsiteY12-250" fmla="*/ 111354 h 7291226"/>
              <a:gd name="connsiteX13-251" fmla="*/ 5324893 w 9397013"/>
              <a:gd name="connsiteY13-252" fmla="*/ 141768 h 7291226"/>
              <a:gd name="connsiteX14-253" fmla="*/ 779421 w 9397013"/>
              <a:gd name="connsiteY14-254" fmla="*/ 6125606 h 7291226"/>
              <a:gd name="connsiteX15-255" fmla="*/ 1099910 w 9397013"/>
              <a:gd name="connsiteY15-256" fmla="*/ 6831395 h 7291226"/>
              <a:gd name="connsiteX16-257" fmla="*/ 919656 w 9397013"/>
              <a:gd name="connsiteY16-258" fmla="*/ 6434435 h 7291226"/>
              <a:gd name="connsiteX17-259" fmla="*/ 5668965 w 9397013"/>
              <a:gd name="connsiteY17-260" fmla="*/ 166254 h 7291226"/>
              <a:gd name="connsiteX18-261" fmla="*/ 6114044 w 9397013"/>
              <a:gd name="connsiteY18-262" fmla="*/ 197929 h 7291226"/>
              <a:gd name="connsiteX19-263" fmla="*/ 1099910 w 9397013"/>
              <a:gd name="connsiteY19-264" fmla="*/ 6831395 h 7291226"/>
              <a:gd name="connsiteX20-265" fmla="*/ 7106560 w 9397013"/>
              <a:gd name="connsiteY20-266" fmla="*/ 7291226 h 7291226"/>
              <a:gd name="connsiteX21-267" fmla="*/ 6670875 w 9397013"/>
              <a:gd name="connsiteY21-268" fmla="*/ 7291226 h 7291226"/>
              <a:gd name="connsiteX22-269" fmla="*/ 3849932 w 9397013"/>
              <a:gd name="connsiteY22-270" fmla="*/ 3596670 h 7291226"/>
              <a:gd name="connsiteX23-271" fmla="*/ 4086202 w 9397013"/>
              <a:gd name="connsiteY23-272" fmla="*/ 3287229 h 7291226"/>
              <a:gd name="connsiteX24-273" fmla="*/ 7106560 w 9397013"/>
              <a:gd name="connsiteY24-274" fmla="*/ 7291226 h 7291226"/>
              <a:gd name="connsiteX25-275" fmla="*/ 7934229 w 9397013"/>
              <a:gd name="connsiteY25-276" fmla="*/ 7291226 h 7291226"/>
              <a:gd name="connsiteX26-277" fmla="*/ 7444802 w 9397013"/>
              <a:gd name="connsiteY26-278" fmla="*/ 7291226 h 7291226"/>
              <a:gd name="connsiteX27-279" fmla="*/ 4245793 w 9397013"/>
              <a:gd name="connsiteY27-280" fmla="*/ 3078214 h 7291226"/>
              <a:gd name="connsiteX28-281" fmla="*/ 4490696 w 9397013"/>
              <a:gd name="connsiteY28-282" fmla="*/ 2757469 h 7291226"/>
              <a:gd name="connsiteX29-283" fmla="*/ 7934229 w 9397013"/>
              <a:gd name="connsiteY29-284" fmla="*/ 7291226 h 7291226"/>
              <a:gd name="connsiteX30-285" fmla="*/ 8530746 w 9397013"/>
              <a:gd name="connsiteY30-286" fmla="*/ 7088026 h 7291226"/>
              <a:gd name="connsiteX31-287" fmla="*/ 8270226 w 9397013"/>
              <a:gd name="connsiteY31-288" fmla="*/ 7291226 h 7291226"/>
              <a:gd name="connsiteX32-289" fmla="*/ 4650570 w 9397013"/>
              <a:gd name="connsiteY32-290" fmla="*/ 2548084 h 7291226"/>
              <a:gd name="connsiteX33-291" fmla="*/ 4869244 w 9397013"/>
              <a:gd name="connsiteY33-292" fmla="*/ 2261689 h 7291226"/>
              <a:gd name="connsiteX34-293" fmla="*/ 8530746 w 9397013"/>
              <a:gd name="connsiteY34-294" fmla="*/ 7088026 h 7291226"/>
              <a:gd name="connsiteX35-295" fmla="*/ 9397013 w 9397013"/>
              <a:gd name="connsiteY35-296" fmla="*/ 7134207 h 7291226"/>
              <a:gd name="connsiteX36-297" fmla="*/ 8921338 w 9397013"/>
              <a:gd name="connsiteY36-298" fmla="*/ 7115735 h 7291226"/>
              <a:gd name="connsiteX37-299" fmla="*/ 5045299 w 9397013"/>
              <a:gd name="connsiteY37-300" fmla="*/ 2031113 h 7291226"/>
              <a:gd name="connsiteX38-301" fmla="*/ 5273037 w 9397013"/>
              <a:gd name="connsiteY38-302" fmla="*/ 1732846 h 7291226"/>
              <a:gd name="connsiteX39-303" fmla="*/ 9397013 w 9397013"/>
              <a:gd name="connsiteY39-304" fmla="*/ 7134207 h 7291226"/>
              <a:gd name="connsiteX0-305" fmla="*/ 168369 w 9397013"/>
              <a:gd name="connsiteY0-306" fmla="*/ 4779933 h 7291226"/>
              <a:gd name="connsiteX1-307" fmla="*/ 0 w 9397013"/>
              <a:gd name="connsiteY1-308" fmla="*/ 4409146 h 7291226"/>
              <a:gd name="connsiteX2-309" fmla="*/ 3332806 w 9397013"/>
              <a:gd name="connsiteY2-310" fmla="*/ 0 h 7291226"/>
              <a:gd name="connsiteX3-311" fmla="*/ 3794560 w 9397013"/>
              <a:gd name="connsiteY3-312" fmla="*/ 32861 h 7291226"/>
              <a:gd name="connsiteX4-313" fmla="*/ 168369 w 9397013"/>
              <a:gd name="connsiteY4-314" fmla="*/ 4779933 h 7291226"/>
              <a:gd name="connsiteX5-315" fmla="*/ 488220 w 9397013"/>
              <a:gd name="connsiteY5-316" fmla="*/ 5484315 h 7291226"/>
              <a:gd name="connsiteX6-317" fmla="*/ 299082 w 9397013"/>
              <a:gd name="connsiteY6-318" fmla="*/ 5067791 h 7291226"/>
              <a:gd name="connsiteX7-319" fmla="*/ 4106456 w 9397013"/>
              <a:gd name="connsiteY7-320" fmla="*/ 55057 h 7291226"/>
              <a:gd name="connsiteX8-321" fmla="*/ 4585079 w 9397013"/>
              <a:gd name="connsiteY8-322" fmla="*/ 89119 h 7291226"/>
              <a:gd name="connsiteX9-323" fmla="*/ 488220 w 9397013"/>
              <a:gd name="connsiteY9-324" fmla="*/ 5484315 h 7291226"/>
              <a:gd name="connsiteX10-325" fmla="*/ 779421 w 9397013"/>
              <a:gd name="connsiteY10-326" fmla="*/ 6125606 h 7291226"/>
              <a:gd name="connsiteX11-327" fmla="*/ 618065 w 9397013"/>
              <a:gd name="connsiteY11-328" fmla="*/ 5770263 h 7291226"/>
              <a:gd name="connsiteX12-329" fmla="*/ 4897528 w 9397013"/>
              <a:gd name="connsiteY12-330" fmla="*/ 111354 h 7291226"/>
              <a:gd name="connsiteX13-331" fmla="*/ 5324893 w 9397013"/>
              <a:gd name="connsiteY13-332" fmla="*/ 141768 h 7291226"/>
              <a:gd name="connsiteX14-333" fmla="*/ 779421 w 9397013"/>
              <a:gd name="connsiteY14-334" fmla="*/ 6125606 h 7291226"/>
              <a:gd name="connsiteX15-335" fmla="*/ 1099910 w 9397013"/>
              <a:gd name="connsiteY15-336" fmla="*/ 6831395 h 7291226"/>
              <a:gd name="connsiteX16-337" fmla="*/ 919656 w 9397013"/>
              <a:gd name="connsiteY16-338" fmla="*/ 6434435 h 7291226"/>
              <a:gd name="connsiteX17-339" fmla="*/ 5668965 w 9397013"/>
              <a:gd name="connsiteY17-340" fmla="*/ 166254 h 7291226"/>
              <a:gd name="connsiteX18-341" fmla="*/ 6114044 w 9397013"/>
              <a:gd name="connsiteY18-342" fmla="*/ 197929 h 7291226"/>
              <a:gd name="connsiteX19-343" fmla="*/ 1099910 w 9397013"/>
              <a:gd name="connsiteY19-344" fmla="*/ 6831395 h 7291226"/>
              <a:gd name="connsiteX20-345" fmla="*/ 7106560 w 9397013"/>
              <a:gd name="connsiteY20-346" fmla="*/ 7291226 h 7291226"/>
              <a:gd name="connsiteX21-347" fmla="*/ 6670875 w 9397013"/>
              <a:gd name="connsiteY21-348" fmla="*/ 7291226 h 7291226"/>
              <a:gd name="connsiteX22-349" fmla="*/ 3849932 w 9397013"/>
              <a:gd name="connsiteY22-350" fmla="*/ 3596670 h 7291226"/>
              <a:gd name="connsiteX23-351" fmla="*/ 4086202 w 9397013"/>
              <a:gd name="connsiteY23-352" fmla="*/ 3287229 h 7291226"/>
              <a:gd name="connsiteX24-353" fmla="*/ 7106560 w 9397013"/>
              <a:gd name="connsiteY24-354" fmla="*/ 7291226 h 7291226"/>
              <a:gd name="connsiteX25-355" fmla="*/ 7934229 w 9397013"/>
              <a:gd name="connsiteY25-356" fmla="*/ 7291226 h 7291226"/>
              <a:gd name="connsiteX26-357" fmla="*/ 7444802 w 9397013"/>
              <a:gd name="connsiteY26-358" fmla="*/ 7291226 h 7291226"/>
              <a:gd name="connsiteX27-359" fmla="*/ 4245793 w 9397013"/>
              <a:gd name="connsiteY27-360" fmla="*/ 3078214 h 7291226"/>
              <a:gd name="connsiteX28-361" fmla="*/ 4490696 w 9397013"/>
              <a:gd name="connsiteY28-362" fmla="*/ 2757469 h 7291226"/>
              <a:gd name="connsiteX29-363" fmla="*/ 7934229 w 9397013"/>
              <a:gd name="connsiteY29-364" fmla="*/ 7291226 h 7291226"/>
              <a:gd name="connsiteX30-365" fmla="*/ 8530746 w 9397013"/>
              <a:gd name="connsiteY30-366" fmla="*/ 7088026 h 7291226"/>
              <a:gd name="connsiteX31-367" fmla="*/ 8150153 w 9397013"/>
              <a:gd name="connsiteY31-368" fmla="*/ 7097262 h 7291226"/>
              <a:gd name="connsiteX32-369" fmla="*/ 4650570 w 9397013"/>
              <a:gd name="connsiteY32-370" fmla="*/ 2548084 h 7291226"/>
              <a:gd name="connsiteX33-371" fmla="*/ 4869244 w 9397013"/>
              <a:gd name="connsiteY33-372" fmla="*/ 2261689 h 7291226"/>
              <a:gd name="connsiteX34-373" fmla="*/ 8530746 w 9397013"/>
              <a:gd name="connsiteY34-374" fmla="*/ 7088026 h 7291226"/>
              <a:gd name="connsiteX35-375" fmla="*/ 9397013 w 9397013"/>
              <a:gd name="connsiteY35-376" fmla="*/ 7134207 h 7291226"/>
              <a:gd name="connsiteX36-377" fmla="*/ 8921338 w 9397013"/>
              <a:gd name="connsiteY36-378" fmla="*/ 7115735 h 7291226"/>
              <a:gd name="connsiteX37-379" fmla="*/ 5045299 w 9397013"/>
              <a:gd name="connsiteY37-380" fmla="*/ 2031113 h 7291226"/>
              <a:gd name="connsiteX38-381" fmla="*/ 5273037 w 9397013"/>
              <a:gd name="connsiteY38-382" fmla="*/ 1732846 h 7291226"/>
              <a:gd name="connsiteX39-383" fmla="*/ 9397013 w 9397013"/>
              <a:gd name="connsiteY39-384" fmla="*/ 7134207 h 7291226"/>
              <a:gd name="connsiteX0-385" fmla="*/ 168369 w 9397013"/>
              <a:gd name="connsiteY0-386" fmla="*/ 4779933 h 7291226"/>
              <a:gd name="connsiteX1-387" fmla="*/ 0 w 9397013"/>
              <a:gd name="connsiteY1-388" fmla="*/ 4409146 h 7291226"/>
              <a:gd name="connsiteX2-389" fmla="*/ 3332806 w 9397013"/>
              <a:gd name="connsiteY2-390" fmla="*/ 0 h 7291226"/>
              <a:gd name="connsiteX3-391" fmla="*/ 3794560 w 9397013"/>
              <a:gd name="connsiteY3-392" fmla="*/ 32861 h 7291226"/>
              <a:gd name="connsiteX4-393" fmla="*/ 168369 w 9397013"/>
              <a:gd name="connsiteY4-394" fmla="*/ 4779933 h 7291226"/>
              <a:gd name="connsiteX5-395" fmla="*/ 488220 w 9397013"/>
              <a:gd name="connsiteY5-396" fmla="*/ 5484315 h 7291226"/>
              <a:gd name="connsiteX6-397" fmla="*/ 299082 w 9397013"/>
              <a:gd name="connsiteY6-398" fmla="*/ 5067791 h 7291226"/>
              <a:gd name="connsiteX7-399" fmla="*/ 4106456 w 9397013"/>
              <a:gd name="connsiteY7-400" fmla="*/ 55057 h 7291226"/>
              <a:gd name="connsiteX8-401" fmla="*/ 4585079 w 9397013"/>
              <a:gd name="connsiteY8-402" fmla="*/ 89119 h 7291226"/>
              <a:gd name="connsiteX9-403" fmla="*/ 488220 w 9397013"/>
              <a:gd name="connsiteY9-404" fmla="*/ 5484315 h 7291226"/>
              <a:gd name="connsiteX10-405" fmla="*/ 779421 w 9397013"/>
              <a:gd name="connsiteY10-406" fmla="*/ 6125606 h 7291226"/>
              <a:gd name="connsiteX11-407" fmla="*/ 618065 w 9397013"/>
              <a:gd name="connsiteY11-408" fmla="*/ 5770263 h 7291226"/>
              <a:gd name="connsiteX12-409" fmla="*/ 4897528 w 9397013"/>
              <a:gd name="connsiteY12-410" fmla="*/ 111354 h 7291226"/>
              <a:gd name="connsiteX13-411" fmla="*/ 5324893 w 9397013"/>
              <a:gd name="connsiteY13-412" fmla="*/ 141768 h 7291226"/>
              <a:gd name="connsiteX14-413" fmla="*/ 779421 w 9397013"/>
              <a:gd name="connsiteY14-414" fmla="*/ 6125606 h 7291226"/>
              <a:gd name="connsiteX15-415" fmla="*/ 1099910 w 9397013"/>
              <a:gd name="connsiteY15-416" fmla="*/ 6831395 h 7291226"/>
              <a:gd name="connsiteX16-417" fmla="*/ 919656 w 9397013"/>
              <a:gd name="connsiteY16-418" fmla="*/ 6434435 h 7291226"/>
              <a:gd name="connsiteX17-419" fmla="*/ 5668965 w 9397013"/>
              <a:gd name="connsiteY17-420" fmla="*/ 166254 h 7291226"/>
              <a:gd name="connsiteX18-421" fmla="*/ 6114044 w 9397013"/>
              <a:gd name="connsiteY18-422" fmla="*/ 197929 h 7291226"/>
              <a:gd name="connsiteX19-423" fmla="*/ 1099910 w 9397013"/>
              <a:gd name="connsiteY19-424" fmla="*/ 6831395 h 7291226"/>
              <a:gd name="connsiteX20-425" fmla="*/ 7106560 w 9397013"/>
              <a:gd name="connsiteY20-426" fmla="*/ 7291226 h 7291226"/>
              <a:gd name="connsiteX21-427" fmla="*/ 6670875 w 9397013"/>
              <a:gd name="connsiteY21-428" fmla="*/ 7291226 h 7291226"/>
              <a:gd name="connsiteX22-429" fmla="*/ 3849932 w 9397013"/>
              <a:gd name="connsiteY22-430" fmla="*/ 3596670 h 7291226"/>
              <a:gd name="connsiteX23-431" fmla="*/ 4086202 w 9397013"/>
              <a:gd name="connsiteY23-432" fmla="*/ 3287229 h 7291226"/>
              <a:gd name="connsiteX24-433" fmla="*/ 7106560 w 9397013"/>
              <a:gd name="connsiteY24-434" fmla="*/ 7291226 h 7291226"/>
              <a:gd name="connsiteX25-435" fmla="*/ 7934229 w 9397013"/>
              <a:gd name="connsiteY25-436" fmla="*/ 7291226 h 7291226"/>
              <a:gd name="connsiteX26-437" fmla="*/ 7444802 w 9397013"/>
              <a:gd name="connsiteY26-438" fmla="*/ 7291226 h 7291226"/>
              <a:gd name="connsiteX27-439" fmla="*/ 4245793 w 9397013"/>
              <a:gd name="connsiteY27-440" fmla="*/ 3078214 h 7291226"/>
              <a:gd name="connsiteX28-441" fmla="*/ 4490696 w 9397013"/>
              <a:gd name="connsiteY28-442" fmla="*/ 2757469 h 7291226"/>
              <a:gd name="connsiteX29-443" fmla="*/ 7934229 w 9397013"/>
              <a:gd name="connsiteY29-444" fmla="*/ 7291226 h 7291226"/>
              <a:gd name="connsiteX30-445" fmla="*/ 8567691 w 9397013"/>
              <a:gd name="connsiteY30-446" fmla="*/ 7124971 h 7291226"/>
              <a:gd name="connsiteX31-447" fmla="*/ 8150153 w 9397013"/>
              <a:gd name="connsiteY31-448" fmla="*/ 7097262 h 7291226"/>
              <a:gd name="connsiteX32-449" fmla="*/ 4650570 w 9397013"/>
              <a:gd name="connsiteY32-450" fmla="*/ 2548084 h 7291226"/>
              <a:gd name="connsiteX33-451" fmla="*/ 4869244 w 9397013"/>
              <a:gd name="connsiteY33-452" fmla="*/ 2261689 h 7291226"/>
              <a:gd name="connsiteX34-453" fmla="*/ 8567691 w 9397013"/>
              <a:gd name="connsiteY34-454" fmla="*/ 7124971 h 7291226"/>
              <a:gd name="connsiteX35-455" fmla="*/ 9397013 w 9397013"/>
              <a:gd name="connsiteY35-456" fmla="*/ 7134207 h 7291226"/>
              <a:gd name="connsiteX36-457" fmla="*/ 8921338 w 9397013"/>
              <a:gd name="connsiteY36-458" fmla="*/ 7115735 h 7291226"/>
              <a:gd name="connsiteX37-459" fmla="*/ 5045299 w 9397013"/>
              <a:gd name="connsiteY37-460" fmla="*/ 2031113 h 7291226"/>
              <a:gd name="connsiteX38-461" fmla="*/ 5273037 w 9397013"/>
              <a:gd name="connsiteY38-462" fmla="*/ 1732846 h 7291226"/>
              <a:gd name="connsiteX39-463" fmla="*/ 9397013 w 9397013"/>
              <a:gd name="connsiteY39-464" fmla="*/ 7134207 h 7291226"/>
              <a:gd name="connsiteX0-465" fmla="*/ 168369 w 9397013"/>
              <a:gd name="connsiteY0-466" fmla="*/ 4779933 h 7291226"/>
              <a:gd name="connsiteX1-467" fmla="*/ 0 w 9397013"/>
              <a:gd name="connsiteY1-468" fmla="*/ 4409146 h 7291226"/>
              <a:gd name="connsiteX2-469" fmla="*/ 3332806 w 9397013"/>
              <a:gd name="connsiteY2-470" fmla="*/ 0 h 7291226"/>
              <a:gd name="connsiteX3-471" fmla="*/ 3794560 w 9397013"/>
              <a:gd name="connsiteY3-472" fmla="*/ 32861 h 7291226"/>
              <a:gd name="connsiteX4-473" fmla="*/ 168369 w 9397013"/>
              <a:gd name="connsiteY4-474" fmla="*/ 4779933 h 7291226"/>
              <a:gd name="connsiteX5-475" fmla="*/ 488220 w 9397013"/>
              <a:gd name="connsiteY5-476" fmla="*/ 5484315 h 7291226"/>
              <a:gd name="connsiteX6-477" fmla="*/ 299082 w 9397013"/>
              <a:gd name="connsiteY6-478" fmla="*/ 5067791 h 7291226"/>
              <a:gd name="connsiteX7-479" fmla="*/ 4106456 w 9397013"/>
              <a:gd name="connsiteY7-480" fmla="*/ 55057 h 7291226"/>
              <a:gd name="connsiteX8-481" fmla="*/ 4585079 w 9397013"/>
              <a:gd name="connsiteY8-482" fmla="*/ 89119 h 7291226"/>
              <a:gd name="connsiteX9-483" fmla="*/ 488220 w 9397013"/>
              <a:gd name="connsiteY9-484" fmla="*/ 5484315 h 7291226"/>
              <a:gd name="connsiteX10-485" fmla="*/ 779421 w 9397013"/>
              <a:gd name="connsiteY10-486" fmla="*/ 6125606 h 7291226"/>
              <a:gd name="connsiteX11-487" fmla="*/ 618065 w 9397013"/>
              <a:gd name="connsiteY11-488" fmla="*/ 5770263 h 7291226"/>
              <a:gd name="connsiteX12-489" fmla="*/ 4897528 w 9397013"/>
              <a:gd name="connsiteY12-490" fmla="*/ 111354 h 7291226"/>
              <a:gd name="connsiteX13-491" fmla="*/ 5324893 w 9397013"/>
              <a:gd name="connsiteY13-492" fmla="*/ 141768 h 7291226"/>
              <a:gd name="connsiteX14-493" fmla="*/ 779421 w 9397013"/>
              <a:gd name="connsiteY14-494" fmla="*/ 6125606 h 7291226"/>
              <a:gd name="connsiteX15-495" fmla="*/ 1099910 w 9397013"/>
              <a:gd name="connsiteY15-496" fmla="*/ 6831395 h 7291226"/>
              <a:gd name="connsiteX16-497" fmla="*/ 919656 w 9397013"/>
              <a:gd name="connsiteY16-498" fmla="*/ 6434435 h 7291226"/>
              <a:gd name="connsiteX17-499" fmla="*/ 5668965 w 9397013"/>
              <a:gd name="connsiteY17-500" fmla="*/ 166254 h 7291226"/>
              <a:gd name="connsiteX18-501" fmla="*/ 6114044 w 9397013"/>
              <a:gd name="connsiteY18-502" fmla="*/ 197929 h 7291226"/>
              <a:gd name="connsiteX19-503" fmla="*/ 1099910 w 9397013"/>
              <a:gd name="connsiteY19-504" fmla="*/ 6831395 h 7291226"/>
              <a:gd name="connsiteX20-505" fmla="*/ 7106560 w 9397013"/>
              <a:gd name="connsiteY20-506" fmla="*/ 7291226 h 7291226"/>
              <a:gd name="connsiteX21-507" fmla="*/ 6670875 w 9397013"/>
              <a:gd name="connsiteY21-508" fmla="*/ 7291226 h 7291226"/>
              <a:gd name="connsiteX22-509" fmla="*/ 3849932 w 9397013"/>
              <a:gd name="connsiteY22-510" fmla="*/ 3596670 h 7291226"/>
              <a:gd name="connsiteX23-511" fmla="*/ 4086202 w 9397013"/>
              <a:gd name="connsiteY23-512" fmla="*/ 3287229 h 7291226"/>
              <a:gd name="connsiteX24-513" fmla="*/ 7106560 w 9397013"/>
              <a:gd name="connsiteY24-514" fmla="*/ 7291226 h 7291226"/>
              <a:gd name="connsiteX25-515" fmla="*/ 7934229 w 9397013"/>
              <a:gd name="connsiteY25-516" fmla="*/ 7291226 h 7291226"/>
              <a:gd name="connsiteX26-517" fmla="*/ 7444802 w 9397013"/>
              <a:gd name="connsiteY26-518" fmla="*/ 7291226 h 7291226"/>
              <a:gd name="connsiteX27-519" fmla="*/ 4245793 w 9397013"/>
              <a:gd name="connsiteY27-520" fmla="*/ 3078214 h 7291226"/>
              <a:gd name="connsiteX28-521" fmla="*/ 4490696 w 9397013"/>
              <a:gd name="connsiteY28-522" fmla="*/ 2757469 h 7291226"/>
              <a:gd name="connsiteX29-523" fmla="*/ 7934229 w 9397013"/>
              <a:gd name="connsiteY29-524" fmla="*/ 7291226 h 7291226"/>
              <a:gd name="connsiteX30-525" fmla="*/ 8567691 w 9397013"/>
              <a:gd name="connsiteY30-526" fmla="*/ 7124971 h 7291226"/>
              <a:gd name="connsiteX31-527" fmla="*/ 8159389 w 9397013"/>
              <a:gd name="connsiteY31-528" fmla="*/ 7134208 h 7291226"/>
              <a:gd name="connsiteX32-529" fmla="*/ 4650570 w 9397013"/>
              <a:gd name="connsiteY32-530" fmla="*/ 2548084 h 7291226"/>
              <a:gd name="connsiteX33-531" fmla="*/ 4869244 w 9397013"/>
              <a:gd name="connsiteY33-532" fmla="*/ 2261689 h 7291226"/>
              <a:gd name="connsiteX34-533" fmla="*/ 8567691 w 9397013"/>
              <a:gd name="connsiteY34-534" fmla="*/ 7124971 h 7291226"/>
              <a:gd name="connsiteX35-535" fmla="*/ 9397013 w 9397013"/>
              <a:gd name="connsiteY35-536" fmla="*/ 7134207 h 7291226"/>
              <a:gd name="connsiteX36-537" fmla="*/ 8921338 w 9397013"/>
              <a:gd name="connsiteY36-538" fmla="*/ 7115735 h 7291226"/>
              <a:gd name="connsiteX37-539" fmla="*/ 5045299 w 9397013"/>
              <a:gd name="connsiteY37-540" fmla="*/ 2031113 h 7291226"/>
              <a:gd name="connsiteX38-541" fmla="*/ 5273037 w 9397013"/>
              <a:gd name="connsiteY38-542" fmla="*/ 1732846 h 7291226"/>
              <a:gd name="connsiteX39-543" fmla="*/ 9397013 w 9397013"/>
              <a:gd name="connsiteY39-544" fmla="*/ 7134207 h 7291226"/>
              <a:gd name="connsiteX0-545" fmla="*/ 168369 w 9397013"/>
              <a:gd name="connsiteY0-546" fmla="*/ 4779933 h 7291226"/>
              <a:gd name="connsiteX1-547" fmla="*/ 0 w 9397013"/>
              <a:gd name="connsiteY1-548" fmla="*/ 4409146 h 7291226"/>
              <a:gd name="connsiteX2-549" fmla="*/ 3332806 w 9397013"/>
              <a:gd name="connsiteY2-550" fmla="*/ 0 h 7291226"/>
              <a:gd name="connsiteX3-551" fmla="*/ 3794560 w 9397013"/>
              <a:gd name="connsiteY3-552" fmla="*/ 32861 h 7291226"/>
              <a:gd name="connsiteX4-553" fmla="*/ 168369 w 9397013"/>
              <a:gd name="connsiteY4-554" fmla="*/ 4779933 h 7291226"/>
              <a:gd name="connsiteX5-555" fmla="*/ 488220 w 9397013"/>
              <a:gd name="connsiteY5-556" fmla="*/ 5484315 h 7291226"/>
              <a:gd name="connsiteX6-557" fmla="*/ 299082 w 9397013"/>
              <a:gd name="connsiteY6-558" fmla="*/ 5067791 h 7291226"/>
              <a:gd name="connsiteX7-559" fmla="*/ 4106456 w 9397013"/>
              <a:gd name="connsiteY7-560" fmla="*/ 55057 h 7291226"/>
              <a:gd name="connsiteX8-561" fmla="*/ 4585079 w 9397013"/>
              <a:gd name="connsiteY8-562" fmla="*/ 89119 h 7291226"/>
              <a:gd name="connsiteX9-563" fmla="*/ 488220 w 9397013"/>
              <a:gd name="connsiteY9-564" fmla="*/ 5484315 h 7291226"/>
              <a:gd name="connsiteX10-565" fmla="*/ 779421 w 9397013"/>
              <a:gd name="connsiteY10-566" fmla="*/ 6125606 h 7291226"/>
              <a:gd name="connsiteX11-567" fmla="*/ 618065 w 9397013"/>
              <a:gd name="connsiteY11-568" fmla="*/ 5770263 h 7291226"/>
              <a:gd name="connsiteX12-569" fmla="*/ 4897528 w 9397013"/>
              <a:gd name="connsiteY12-570" fmla="*/ 111354 h 7291226"/>
              <a:gd name="connsiteX13-571" fmla="*/ 5324893 w 9397013"/>
              <a:gd name="connsiteY13-572" fmla="*/ 141768 h 7291226"/>
              <a:gd name="connsiteX14-573" fmla="*/ 779421 w 9397013"/>
              <a:gd name="connsiteY14-574" fmla="*/ 6125606 h 7291226"/>
              <a:gd name="connsiteX15-575" fmla="*/ 1099910 w 9397013"/>
              <a:gd name="connsiteY15-576" fmla="*/ 6831395 h 7291226"/>
              <a:gd name="connsiteX16-577" fmla="*/ 919656 w 9397013"/>
              <a:gd name="connsiteY16-578" fmla="*/ 6434435 h 7291226"/>
              <a:gd name="connsiteX17-579" fmla="*/ 5668965 w 9397013"/>
              <a:gd name="connsiteY17-580" fmla="*/ 166254 h 7291226"/>
              <a:gd name="connsiteX18-581" fmla="*/ 6114044 w 9397013"/>
              <a:gd name="connsiteY18-582" fmla="*/ 197929 h 7291226"/>
              <a:gd name="connsiteX19-583" fmla="*/ 1099910 w 9397013"/>
              <a:gd name="connsiteY19-584" fmla="*/ 6831395 h 7291226"/>
              <a:gd name="connsiteX20-585" fmla="*/ 7106560 w 9397013"/>
              <a:gd name="connsiteY20-586" fmla="*/ 7291226 h 7291226"/>
              <a:gd name="connsiteX21-587" fmla="*/ 6670875 w 9397013"/>
              <a:gd name="connsiteY21-588" fmla="*/ 7291226 h 7291226"/>
              <a:gd name="connsiteX22-589" fmla="*/ 3849932 w 9397013"/>
              <a:gd name="connsiteY22-590" fmla="*/ 3596670 h 7291226"/>
              <a:gd name="connsiteX23-591" fmla="*/ 4086202 w 9397013"/>
              <a:gd name="connsiteY23-592" fmla="*/ 3287229 h 7291226"/>
              <a:gd name="connsiteX24-593" fmla="*/ 7106560 w 9397013"/>
              <a:gd name="connsiteY24-594" fmla="*/ 7291226 h 7291226"/>
              <a:gd name="connsiteX25-595" fmla="*/ 7777211 w 9397013"/>
              <a:gd name="connsiteY25-596" fmla="*/ 7124972 h 7291226"/>
              <a:gd name="connsiteX26-597" fmla="*/ 7444802 w 9397013"/>
              <a:gd name="connsiteY26-598" fmla="*/ 7291226 h 7291226"/>
              <a:gd name="connsiteX27-599" fmla="*/ 4245793 w 9397013"/>
              <a:gd name="connsiteY27-600" fmla="*/ 3078214 h 7291226"/>
              <a:gd name="connsiteX28-601" fmla="*/ 4490696 w 9397013"/>
              <a:gd name="connsiteY28-602" fmla="*/ 2757469 h 7291226"/>
              <a:gd name="connsiteX29-603" fmla="*/ 7777211 w 9397013"/>
              <a:gd name="connsiteY29-604" fmla="*/ 7124972 h 7291226"/>
              <a:gd name="connsiteX30-605" fmla="*/ 8567691 w 9397013"/>
              <a:gd name="connsiteY30-606" fmla="*/ 7124971 h 7291226"/>
              <a:gd name="connsiteX31-607" fmla="*/ 8159389 w 9397013"/>
              <a:gd name="connsiteY31-608" fmla="*/ 7134208 h 7291226"/>
              <a:gd name="connsiteX32-609" fmla="*/ 4650570 w 9397013"/>
              <a:gd name="connsiteY32-610" fmla="*/ 2548084 h 7291226"/>
              <a:gd name="connsiteX33-611" fmla="*/ 4869244 w 9397013"/>
              <a:gd name="connsiteY33-612" fmla="*/ 2261689 h 7291226"/>
              <a:gd name="connsiteX34-613" fmla="*/ 8567691 w 9397013"/>
              <a:gd name="connsiteY34-614" fmla="*/ 7124971 h 7291226"/>
              <a:gd name="connsiteX35-615" fmla="*/ 9397013 w 9397013"/>
              <a:gd name="connsiteY35-616" fmla="*/ 7134207 h 7291226"/>
              <a:gd name="connsiteX36-617" fmla="*/ 8921338 w 9397013"/>
              <a:gd name="connsiteY36-618" fmla="*/ 7115735 h 7291226"/>
              <a:gd name="connsiteX37-619" fmla="*/ 5045299 w 9397013"/>
              <a:gd name="connsiteY37-620" fmla="*/ 2031113 h 7291226"/>
              <a:gd name="connsiteX38-621" fmla="*/ 5273037 w 9397013"/>
              <a:gd name="connsiteY38-622" fmla="*/ 1732846 h 7291226"/>
              <a:gd name="connsiteX39-623" fmla="*/ 9397013 w 9397013"/>
              <a:gd name="connsiteY39-624" fmla="*/ 7134207 h 7291226"/>
              <a:gd name="connsiteX0-625" fmla="*/ 168369 w 9397013"/>
              <a:gd name="connsiteY0-626" fmla="*/ 4779933 h 7291226"/>
              <a:gd name="connsiteX1-627" fmla="*/ 0 w 9397013"/>
              <a:gd name="connsiteY1-628" fmla="*/ 4409146 h 7291226"/>
              <a:gd name="connsiteX2-629" fmla="*/ 3332806 w 9397013"/>
              <a:gd name="connsiteY2-630" fmla="*/ 0 h 7291226"/>
              <a:gd name="connsiteX3-631" fmla="*/ 3794560 w 9397013"/>
              <a:gd name="connsiteY3-632" fmla="*/ 32861 h 7291226"/>
              <a:gd name="connsiteX4-633" fmla="*/ 168369 w 9397013"/>
              <a:gd name="connsiteY4-634" fmla="*/ 4779933 h 7291226"/>
              <a:gd name="connsiteX5-635" fmla="*/ 488220 w 9397013"/>
              <a:gd name="connsiteY5-636" fmla="*/ 5484315 h 7291226"/>
              <a:gd name="connsiteX6-637" fmla="*/ 299082 w 9397013"/>
              <a:gd name="connsiteY6-638" fmla="*/ 5067791 h 7291226"/>
              <a:gd name="connsiteX7-639" fmla="*/ 4106456 w 9397013"/>
              <a:gd name="connsiteY7-640" fmla="*/ 55057 h 7291226"/>
              <a:gd name="connsiteX8-641" fmla="*/ 4585079 w 9397013"/>
              <a:gd name="connsiteY8-642" fmla="*/ 89119 h 7291226"/>
              <a:gd name="connsiteX9-643" fmla="*/ 488220 w 9397013"/>
              <a:gd name="connsiteY9-644" fmla="*/ 5484315 h 7291226"/>
              <a:gd name="connsiteX10-645" fmla="*/ 779421 w 9397013"/>
              <a:gd name="connsiteY10-646" fmla="*/ 6125606 h 7291226"/>
              <a:gd name="connsiteX11-647" fmla="*/ 618065 w 9397013"/>
              <a:gd name="connsiteY11-648" fmla="*/ 5770263 h 7291226"/>
              <a:gd name="connsiteX12-649" fmla="*/ 4897528 w 9397013"/>
              <a:gd name="connsiteY12-650" fmla="*/ 111354 h 7291226"/>
              <a:gd name="connsiteX13-651" fmla="*/ 5324893 w 9397013"/>
              <a:gd name="connsiteY13-652" fmla="*/ 141768 h 7291226"/>
              <a:gd name="connsiteX14-653" fmla="*/ 779421 w 9397013"/>
              <a:gd name="connsiteY14-654" fmla="*/ 6125606 h 7291226"/>
              <a:gd name="connsiteX15-655" fmla="*/ 1099910 w 9397013"/>
              <a:gd name="connsiteY15-656" fmla="*/ 6831395 h 7291226"/>
              <a:gd name="connsiteX16-657" fmla="*/ 919656 w 9397013"/>
              <a:gd name="connsiteY16-658" fmla="*/ 6434435 h 7291226"/>
              <a:gd name="connsiteX17-659" fmla="*/ 5668965 w 9397013"/>
              <a:gd name="connsiteY17-660" fmla="*/ 166254 h 7291226"/>
              <a:gd name="connsiteX18-661" fmla="*/ 6114044 w 9397013"/>
              <a:gd name="connsiteY18-662" fmla="*/ 197929 h 7291226"/>
              <a:gd name="connsiteX19-663" fmla="*/ 1099910 w 9397013"/>
              <a:gd name="connsiteY19-664" fmla="*/ 6831395 h 7291226"/>
              <a:gd name="connsiteX20-665" fmla="*/ 7106560 w 9397013"/>
              <a:gd name="connsiteY20-666" fmla="*/ 7291226 h 7291226"/>
              <a:gd name="connsiteX21-667" fmla="*/ 6670875 w 9397013"/>
              <a:gd name="connsiteY21-668" fmla="*/ 7291226 h 7291226"/>
              <a:gd name="connsiteX22-669" fmla="*/ 3849932 w 9397013"/>
              <a:gd name="connsiteY22-670" fmla="*/ 3596670 h 7291226"/>
              <a:gd name="connsiteX23-671" fmla="*/ 4086202 w 9397013"/>
              <a:gd name="connsiteY23-672" fmla="*/ 3287229 h 7291226"/>
              <a:gd name="connsiteX24-673" fmla="*/ 7106560 w 9397013"/>
              <a:gd name="connsiteY24-674" fmla="*/ 7291226 h 7291226"/>
              <a:gd name="connsiteX25-675" fmla="*/ 7777211 w 9397013"/>
              <a:gd name="connsiteY25-676" fmla="*/ 7124972 h 7291226"/>
              <a:gd name="connsiteX26-677" fmla="*/ 7324729 w 9397013"/>
              <a:gd name="connsiteY26-678" fmla="*/ 7124972 h 7291226"/>
              <a:gd name="connsiteX27-679" fmla="*/ 4245793 w 9397013"/>
              <a:gd name="connsiteY27-680" fmla="*/ 3078214 h 7291226"/>
              <a:gd name="connsiteX28-681" fmla="*/ 4490696 w 9397013"/>
              <a:gd name="connsiteY28-682" fmla="*/ 2757469 h 7291226"/>
              <a:gd name="connsiteX29-683" fmla="*/ 7777211 w 9397013"/>
              <a:gd name="connsiteY29-684" fmla="*/ 7124972 h 7291226"/>
              <a:gd name="connsiteX30-685" fmla="*/ 8567691 w 9397013"/>
              <a:gd name="connsiteY30-686" fmla="*/ 7124971 h 7291226"/>
              <a:gd name="connsiteX31-687" fmla="*/ 8159389 w 9397013"/>
              <a:gd name="connsiteY31-688" fmla="*/ 7134208 h 7291226"/>
              <a:gd name="connsiteX32-689" fmla="*/ 4650570 w 9397013"/>
              <a:gd name="connsiteY32-690" fmla="*/ 2548084 h 7291226"/>
              <a:gd name="connsiteX33-691" fmla="*/ 4869244 w 9397013"/>
              <a:gd name="connsiteY33-692" fmla="*/ 2261689 h 7291226"/>
              <a:gd name="connsiteX34-693" fmla="*/ 8567691 w 9397013"/>
              <a:gd name="connsiteY34-694" fmla="*/ 7124971 h 7291226"/>
              <a:gd name="connsiteX35-695" fmla="*/ 9397013 w 9397013"/>
              <a:gd name="connsiteY35-696" fmla="*/ 7134207 h 7291226"/>
              <a:gd name="connsiteX36-697" fmla="*/ 8921338 w 9397013"/>
              <a:gd name="connsiteY36-698" fmla="*/ 7115735 h 7291226"/>
              <a:gd name="connsiteX37-699" fmla="*/ 5045299 w 9397013"/>
              <a:gd name="connsiteY37-700" fmla="*/ 2031113 h 7291226"/>
              <a:gd name="connsiteX38-701" fmla="*/ 5273037 w 9397013"/>
              <a:gd name="connsiteY38-702" fmla="*/ 1732846 h 7291226"/>
              <a:gd name="connsiteX39-703" fmla="*/ 9397013 w 9397013"/>
              <a:gd name="connsiteY39-704" fmla="*/ 7134207 h 7291226"/>
              <a:gd name="connsiteX0-705" fmla="*/ 168369 w 9397013"/>
              <a:gd name="connsiteY0-706" fmla="*/ 4779933 h 7291226"/>
              <a:gd name="connsiteX1-707" fmla="*/ 0 w 9397013"/>
              <a:gd name="connsiteY1-708" fmla="*/ 4409146 h 7291226"/>
              <a:gd name="connsiteX2-709" fmla="*/ 3332806 w 9397013"/>
              <a:gd name="connsiteY2-710" fmla="*/ 0 h 7291226"/>
              <a:gd name="connsiteX3-711" fmla="*/ 3794560 w 9397013"/>
              <a:gd name="connsiteY3-712" fmla="*/ 32861 h 7291226"/>
              <a:gd name="connsiteX4-713" fmla="*/ 168369 w 9397013"/>
              <a:gd name="connsiteY4-714" fmla="*/ 4779933 h 7291226"/>
              <a:gd name="connsiteX5-715" fmla="*/ 488220 w 9397013"/>
              <a:gd name="connsiteY5-716" fmla="*/ 5484315 h 7291226"/>
              <a:gd name="connsiteX6-717" fmla="*/ 299082 w 9397013"/>
              <a:gd name="connsiteY6-718" fmla="*/ 5067791 h 7291226"/>
              <a:gd name="connsiteX7-719" fmla="*/ 4106456 w 9397013"/>
              <a:gd name="connsiteY7-720" fmla="*/ 55057 h 7291226"/>
              <a:gd name="connsiteX8-721" fmla="*/ 4585079 w 9397013"/>
              <a:gd name="connsiteY8-722" fmla="*/ 89119 h 7291226"/>
              <a:gd name="connsiteX9-723" fmla="*/ 488220 w 9397013"/>
              <a:gd name="connsiteY9-724" fmla="*/ 5484315 h 7291226"/>
              <a:gd name="connsiteX10-725" fmla="*/ 779421 w 9397013"/>
              <a:gd name="connsiteY10-726" fmla="*/ 6125606 h 7291226"/>
              <a:gd name="connsiteX11-727" fmla="*/ 618065 w 9397013"/>
              <a:gd name="connsiteY11-728" fmla="*/ 5770263 h 7291226"/>
              <a:gd name="connsiteX12-729" fmla="*/ 4897528 w 9397013"/>
              <a:gd name="connsiteY12-730" fmla="*/ 111354 h 7291226"/>
              <a:gd name="connsiteX13-731" fmla="*/ 5324893 w 9397013"/>
              <a:gd name="connsiteY13-732" fmla="*/ 141768 h 7291226"/>
              <a:gd name="connsiteX14-733" fmla="*/ 779421 w 9397013"/>
              <a:gd name="connsiteY14-734" fmla="*/ 6125606 h 7291226"/>
              <a:gd name="connsiteX15-735" fmla="*/ 1099910 w 9397013"/>
              <a:gd name="connsiteY15-736" fmla="*/ 6831395 h 7291226"/>
              <a:gd name="connsiteX16-737" fmla="*/ 919656 w 9397013"/>
              <a:gd name="connsiteY16-738" fmla="*/ 6434435 h 7291226"/>
              <a:gd name="connsiteX17-739" fmla="*/ 5668965 w 9397013"/>
              <a:gd name="connsiteY17-740" fmla="*/ 166254 h 7291226"/>
              <a:gd name="connsiteX18-741" fmla="*/ 6114044 w 9397013"/>
              <a:gd name="connsiteY18-742" fmla="*/ 197929 h 7291226"/>
              <a:gd name="connsiteX19-743" fmla="*/ 1099910 w 9397013"/>
              <a:gd name="connsiteY19-744" fmla="*/ 6831395 h 7291226"/>
              <a:gd name="connsiteX20-745" fmla="*/ 6968015 w 9397013"/>
              <a:gd name="connsiteY20-746" fmla="*/ 7143444 h 7291226"/>
              <a:gd name="connsiteX21-747" fmla="*/ 6670875 w 9397013"/>
              <a:gd name="connsiteY21-748" fmla="*/ 7291226 h 7291226"/>
              <a:gd name="connsiteX22-749" fmla="*/ 3849932 w 9397013"/>
              <a:gd name="connsiteY22-750" fmla="*/ 3596670 h 7291226"/>
              <a:gd name="connsiteX23-751" fmla="*/ 4086202 w 9397013"/>
              <a:gd name="connsiteY23-752" fmla="*/ 3287229 h 7291226"/>
              <a:gd name="connsiteX24-753" fmla="*/ 6968015 w 9397013"/>
              <a:gd name="connsiteY24-754" fmla="*/ 7143444 h 7291226"/>
              <a:gd name="connsiteX25-755" fmla="*/ 7777211 w 9397013"/>
              <a:gd name="connsiteY25-756" fmla="*/ 7124972 h 7291226"/>
              <a:gd name="connsiteX26-757" fmla="*/ 7324729 w 9397013"/>
              <a:gd name="connsiteY26-758" fmla="*/ 7124972 h 7291226"/>
              <a:gd name="connsiteX27-759" fmla="*/ 4245793 w 9397013"/>
              <a:gd name="connsiteY27-760" fmla="*/ 3078214 h 7291226"/>
              <a:gd name="connsiteX28-761" fmla="*/ 4490696 w 9397013"/>
              <a:gd name="connsiteY28-762" fmla="*/ 2757469 h 7291226"/>
              <a:gd name="connsiteX29-763" fmla="*/ 7777211 w 9397013"/>
              <a:gd name="connsiteY29-764" fmla="*/ 7124972 h 7291226"/>
              <a:gd name="connsiteX30-765" fmla="*/ 8567691 w 9397013"/>
              <a:gd name="connsiteY30-766" fmla="*/ 7124971 h 7291226"/>
              <a:gd name="connsiteX31-767" fmla="*/ 8159389 w 9397013"/>
              <a:gd name="connsiteY31-768" fmla="*/ 7134208 h 7291226"/>
              <a:gd name="connsiteX32-769" fmla="*/ 4650570 w 9397013"/>
              <a:gd name="connsiteY32-770" fmla="*/ 2548084 h 7291226"/>
              <a:gd name="connsiteX33-771" fmla="*/ 4869244 w 9397013"/>
              <a:gd name="connsiteY33-772" fmla="*/ 2261689 h 7291226"/>
              <a:gd name="connsiteX34-773" fmla="*/ 8567691 w 9397013"/>
              <a:gd name="connsiteY34-774" fmla="*/ 7124971 h 7291226"/>
              <a:gd name="connsiteX35-775" fmla="*/ 9397013 w 9397013"/>
              <a:gd name="connsiteY35-776" fmla="*/ 7134207 h 7291226"/>
              <a:gd name="connsiteX36-777" fmla="*/ 8921338 w 9397013"/>
              <a:gd name="connsiteY36-778" fmla="*/ 7115735 h 7291226"/>
              <a:gd name="connsiteX37-779" fmla="*/ 5045299 w 9397013"/>
              <a:gd name="connsiteY37-780" fmla="*/ 2031113 h 7291226"/>
              <a:gd name="connsiteX38-781" fmla="*/ 5273037 w 9397013"/>
              <a:gd name="connsiteY38-782" fmla="*/ 1732846 h 7291226"/>
              <a:gd name="connsiteX39-783" fmla="*/ 9397013 w 9397013"/>
              <a:gd name="connsiteY39-784" fmla="*/ 7134207 h 7291226"/>
              <a:gd name="connsiteX0-785" fmla="*/ 168369 w 9397013"/>
              <a:gd name="connsiteY0-786" fmla="*/ 4779933 h 7143444"/>
              <a:gd name="connsiteX1-787" fmla="*/ 0 w 9397013"/>
              <a:gd name="connsiteY1-788" fmla="*/ 4409146 h 7143444"/>
              <a:gd name="connsiteX2-789" fmla="*/ 3332806 w 9397013"/>
              <a:gd name="connsiteY2-790" fmla="*/ 0 h 7143444"/>
              <a:gd name="connsiteX3-791" fmla="*/ 3794560 w 9397013"/>
              <a:gd name="connsiteY3-792" fmla="*/ 32861 h 7143444"/>
              <a:gd name="connsiteX4-793" fmla="*/ 168369 w 9397013"/>
              <a:gd name="connsiteY4-794" fmla="*/ 4779933 h 7143444"/>
              <a:gd name="connsiteX5-795" fmla="*/ 488220 w 9397013"/>
              <a:gd name="connsiteY5-796" fmla="*/ 5484315 h 7143444"/>
              <a:gd name="connsiteX6-797" fmla="*/ 299082 w 9397013"/>
              <a:gd name="connsiteY6-798" fmla="*/ 5067791 h 7143444"/>
              <a:gd name="connsiteX7-799" fmla="*/ 4106456 w 9397013"/>
              <a:gd name="connsiteY7-800" fmla="*/ 55057 h 7143444"/>
              <a:gd name="connsiteX8-801" fmla="*/ 4585079 w 9397013"/>
              <a:gd name="connsiteY8-802" fmla="*/ 89119 h 7143444"/>
              <a:gd name="connsiteX9-803" fmla="*/ 488220 w 9397013"/>
              <a:gd name="connsiteY9-804" fmla="*/ 5484315 h 7143444"/>
              <a:gd name="connsiteX10-805" fmla="*/ 779421 w 9397013"/>
              <a:gd name="connsiteY10-806" fmla="*/ 6125606 h 7143444"/>
              <a:gd name="connsiteX11-807" fmla="*/ 618065 w 9397013"/>
              <a:gd name="connsiteY11-808" fmla="*/ 5770263 h 7143444"/>
              <a:gd name="connsiteX12-809" fmla="*/ 4897528 w 9397013"/>
              <a:gd name="connsiteY12-810" fmla="*/ 111354 h 7143444"/>
              <a:gd name="connsiteX13-811" fmla="*/ 5324893 w 9397013"/>
              <a:gd name="connsiteY13-812" fmla="*/ 141768 h 7143444"/>
              <a:gd name="connsiteX14-813" fmla="*/ 779421 w 9397013"/>
              <a:gd name="connsiteY14-814" fmla="*/ 6125606 h 7143444"/>
              <a:gd name="connsiteX15-815" fmla="*/ 1099910 w 9397013"/>
              <a:gd name="connsiteY15-816" fmla="*/ 6831395 h 7143444"/>
              <a:gd name="connsiteX16-817" fmla="*/ 919656 w 9397013"/>
              <a:gd name="connsiteY16-818" fmla="*/ 6434435 h 7143444"/>
              <a:gd name="connsiteX17-819" fmla="*/ 5668965 w 9397013"/>
              <a:gd name="connsiteY17-820" fmla="*/ 166254 h 7143444"/>
              <a:gd name="connsiteX18-821" fmla="*/ 6114044 w 9397013"/>
              <a:gd name="connsiteY18-822" fmla="*/ 197929 h 7143444"/>
              <a:gd name="connsiteX19-823" fmla="*/ 1099910 w 9397013"/>
              <a:gd name="connsiteY19-824" fmla="*/ 6831395 h 7143444"/>
              <a:gd name="connsiteX20-825" fmla="*/ 6968015 w 9397013"/>
              <a:gd name="connsiteY20-826" fmla="*/ 7143444 h 7143444"/>
              <a:gd name="connsiteX21-827" fmla="*/ 6550802 w 9397013"/>
              <a:gd name="connsiteY21-828" fmla="*/ 7143444 h 7143444"/>
              <a:gd name="connsiteX22-829" fmla="*/ 3849932 w 9397013"/>
              <a:gd name="connsiteY22-830" fmla="*/ 3596670 h 7143444"/>
              <a:gd name="connsiteX23-831" fmla="*/ 4086202 w 9397013"/>
              <a:gd name="connsiteY23-832" fmla="*/ 3287229 h 7143444"/>
              <a:gd name="connsiteX24-833" fmla="*/ 6968015 w 9397013"/>
              <a:gd name="connsiteY24-834" fmla="*/ 7143444 h 7143444"/>
              <a:gd name="connsiteX25-835" fmla="*/ 7777211 w 9397013"/>
              <a:gd name="connsiteY25-836" fmla="*/ 7124972 h 7143444"/>
              <a:gd name="connsiteX26-837" fmla="*/ 7324729 w 9397013"/>
              <a:gd name="connsiteY26-838" fmla="*/ 7124972 h 7143444"/>
              <a:gd name="connsiteX27-839" fmla="*/ 4245793 w 9397013"/>
              <a:gd name="connsiteY27-840" fmla="*/ 3078214 h 7143444"/>
              <a:gd name="connsiteX28-841" fmla="*/ 4490696 w 9397013"/>
              <a:gd name="connsiteY28-842" fmla="*/ 2757469 h 7143444"/>
              <a:gd name="connsiteX29-843" fmla="*/ 7777211 w 9397013"/>
              <a:gd name="connsiteY29-844" fmla="*/ 7124972 h 7143444"/>
              <a:gd name="connsiteX30-845" fmla="*/ 8567691 w 9397013"/>
              <a:gd name="connsiteY30-846" fmla="*/ 7124971 h 7143444"/>
              <a:gd name="connsiteX31-847" fmla="*/ 8159389 w 9397013"/>
              <a:gd name="connsiteY31-848" fmla="*/ 7134208 h 7143444"/>
              <a:gd name="connsiteX32-849" fmla="*/ 4650570 w 9397013"/>
              <a:gd name="connsiteY32-850" fmla="*/ 2548084 h 7143444"/>
              <a:gd name="connsiteX33-851" fmla="*/ 4869244 w 9397013"/>
              <a:gd name="connsiteY33-852" fmla="*/ 2261689 h 7143444"/>
              <a:gd name="connsiteX34-853" fmla="*/ 8567691 w 9397013"/>
              <a:gd name="connsiteY34-854" fmla="*/ 7124971 h 7143444"/>
              <a:gd name="connsiteX35-855" fmla="*/ 9397013 w 9397013"/>
              <a:gd name="connsiteY35-856" fmla="*/ 7134207 h 7143444"/>
              <a:gd name="connsiteX36-857" fmla="*/ 8921338 w 9397013"/>
              <a:gd name="connsiteY36-858" fmla="*/ 7115735 h 7143444"/>
              <a:gd name="connsiteX37-859" fmla="*/ 5045299 w 9397013"/>
              <a:gd name="connsiteY37-860" fmla="*/ 2031113 h 7143444"/>
              <a:gd name="connsiteX38-861" fmla="*/ 5273037 w 9397013"/>
              <a:gd name="connsiteY38-862" fmla="*/ 1732846 h 7143444"/>
              <a:gd name="connsiteX39-863" fmla="*/ 9397013 w 9397013"/>
              <a:gd name="connsiteY39-864" fmla="*/ 7134207 h 7143444"/>
              <a:gd name="connsiteX0-865" fmla="*/ 168369 w 9397013"/>
              <a:gd name="connsiteY0-866" fmla="*/ 4779933 h 7143444"/>
              <a:gd name="connsiteX1-867" fmla="*/ 0 w 9397013"/>
              <a:gd name="connsiteY1-868" fmla="*/ 4409146 h 7143444"/>
              <a:gd name="connsiteX2-869" fmla="*/ 3332806 w 9397013"/>
              <a:gd name="connsiteY2-870" fmla="*/ 0 h 7143444"/>
              <a:gd name="connsiteX3-871" fmla="*/ 3794560 w 9397013"/>
              <a:gd name="connsiteY3-872" fmla="*/ 32861 h 7143444"/>
              <a:gd name="connsiteX4-873" fmla="*/ 168369 w 9397013"/>
              <a:gd name="connsiteY4-874" fmla="*/ 4779933 h 7143444"/>
              <a:gd name="connsiteX5-875" fmla="*/ 488220 w 9397013"/>
              <a:gd name="connsiteY5-876" fmla="*/ 5484315 h 7143444"/>
              <a:gd name="connsiteX6-877" fmla="*/ 299082 w 9397013"/>
              <a:gd name="connsiteY6-878" fmla="*/ 5067791 h 7143444"/>
              <a:gd name="connsiteX7-879" fmla="*/ 4106456 w 9397013"/>
              <a:gd name="connsiteY7-880" fmla="*/ 55057 h 7143444"/>
              <a:gd name="connsiteX8-881" fmla="*/ 4585079 w 9397013"/>
              <a:gd name="connsiteY8-882" fmla="*/ 89119 h 7143444"/>
              <a:gd name="connsiteX9-883" fmla="*/ 488220 w 9397013"/>
              <a:gd name="connsiteY9-884" fmla="*/ 5484315 h 7143444"/>
              <a:gd name="connsiteX10-885" fmla="*/ 779421 w 9397013"/>
              <a:gd name="connsiteY10-886" fmla="*/ 6125606 h 7143444"/>
              <a:gd name="connsiteX11-887" fmla="*/ 618065 w 9397013"/>
              <a:gd name="connsiteY11-888" fmla="*/ 5770263 h 7143444"/>
              <a:gd name="connsiteX12-889" fmla="*/ 4897528 w 9397013"/>
              <a:gd name="connsiteY12-890" fmla="*/ 111354 h 7143444"/>
              <a:gd name="connsiteX13-891" fmla="*/ 5324893 w 9397013"/>
              <a:gd name="connsiteY13-892" fmla="*/ 141768 h 7143444"/>
              <a:gd name="connsiteX14-893" fmla="*/ 779421 w 9397013"/>
              <a:gd name="connsiteY14-894" fmla="*/ 6125606 h 7143444"/>
              <a:gd name="connsiteX15-895" fmla="*/ 1099910 w 9397013"/>
              <a:gd name="connsiteY15-896" fmla="*/ 6831395 h 7143444"/>
              <a:gd name="connsiteX16-897" fmla="*/ 919656 w 9397013"/>
              <a:gd name="connsiteY16-898" fmla="*/ 6434435 h 7143444"/>
              <a:gd name="connsiteX17-899" fmla="*/ 5668965 w 9397013"/>
              <a:gd name="connsiteY17-900" fmla="*/ 166254 h 7143444"/>
              <a:gd name="connsiteX18-901" fmla="*/ 6114044 w 9397013"/>
              <a:gd name="connsiteY18-902" fmla="*/ 197929 h 7143444"/>
              <a:gd name="connsiteX19-903" fmla="*/ 1099910 w 9397013"/>
              <a:gd name="connsiteY19-904" fmla="*/ 6831395 h 7143444"/>
              <a:gd name="connsiteX20-905" fmla="*/ 6958778 w 9397013"/>
              <a:gd name="connsiteY20-906" fmla="*/ 7124971 h 7143444"/>
              <a:gd name="connsiteX21-907" fmla="*/ 6550802 w 9397013"/>
              <a:gd name="connsiteY21-908" fmla="*/ 7143444 h 7143444"/>
              <a:gd name="connsiteX22-909" fmla="*/ 3849932 w 9397013"/>
              <a:gd name="connsiteY22-910" fmla="*/ 3596670 h 7143444"/>
              <a:gd name="connsiteX23-911" fmla="*/ 4086202 w 9397013"/>
              <a:gd name="connsiteY23-912" fmla="*/ 3287229 h 7143444"/>
              <a:gd name="connsiteX24-913" fmla="*/ 6958778 w 9397013"/>
              <a:gd name="connsiteY24-914" fmla="*/ 7124971 h 7143444"/>
              <a:gd name="connsiteX25-915" fmla="*/ 7777211 w 9397013"/>
              <a:gd name="connsiteY25-916" fmla="*/ 7124972 h 7143444"/>
              <a:gd name="connsiteX26-917" fmla="*/ 7324729 w 9397013"/>
              <a:gd name="connsiteY26-918" fmla="*/ 7124972 h 7143444"/>
              <a:gd name="connsiteX27-919" fmla="*/ 4245793 w 9397013"/>
              <a:gd name="connsiteY27-920" fmla="*/ 3078214 h 7143444"/>
              <a:gd name="connsiteX28-921" fmla="*/ 4490696 w 9397013"/>
              <a:gd name="connsiteY28-922" fmla="*/ 2757469 h 7143444"/>
              <a:gd name="connsiteX29-923" fmla="*/ 7777211 w 9397013"/>
              <a:gd name="connsiteY29-924" fmla="*/ 7124972 h 7143444"/>
              <a:gd name="connsiteX30-925" fmla="*/ 8567691 w 9397013"/>
              <a:gd name="connsiteY30-926" fmla="*/ 7124971 h 7143444"/>
              <a:gd name="connsiteX31-927" fmla="*/ 8159389 w 9397013"/>
              <a:gd name="connsiteY31-928" fmla="*/ 7134208 h 7143444"/>
              <a:gd name="connsiteX32-929" fmla="*/ 4650570 w 9397013"/>
              <a:gd name="connsiteY32-930" fmla="*/ 2548084 h 7143444"/>
              <a:gd name="connsiteX33-931" fmla="*/ 4869244 w 9397013"/>
              <a:gd name="connsiteY33-932" fmla="*/ 2261689 h 7143444"/>
              <a:gd name="connsiteX34-933" fmla="*/ 8567691 w 9397013"/>
              <a:gd name="connsiteY34-934" fmla="*/ 7124971 h 7143444"/>
              <a:gd name="connsiteX35-935" fmla="*/ 9397013 w 9397013"/>
              <a:gd name="connsiteY35-936" fmla="*/ 7134207 h 7143444"/>
              <a:gd name="connsiteX36-937" fmla="*/ 8921338 w 9397013"/>
              <a:gd name="connsiteY36-938" fmla="*/ 7115735 h 7143444"/>
              <a:gd name="connsiteX37-939" fmla="*/ 5045299 w 9397013"/>
              <a:gd name="connsiteY37-940" fmla="*/ 2031113 h 7143444"/>
              <a:gd name="connsiteX38-941" fmla="*/ 5273037 w 9397013"/>
              <a:gd name="connsiteY38-942" fmla="*/ 1732846 h 7143444"/>
              <a:gd name="connsiteX39-943" fmla="*/ 9397013 w 9397013"/>
              <a:gd name="connsiteY39-944" fmla="*/ 7134207 h 7143444"/>
              <a:gd name="connsiteX0-945" fmla="*/ 168369 w 9397013"/>
              <a:gd name="connsiteY0-946" fmla="*/ 4779933 h 7134208"/>
              <a:gd name="connsiteX1-947" fmla="*/ 0 w 9397013"/>
              <a:gd name="connsiteY1-948" fmla="*/ 4409146 h 7134208"/>
              <a:gd name="connsiteX2-949" fmla="*/ 3332806 w 9397013"/>
              <a:gd name="connsiteY2-950" fmla="*/ 0 h 7134208"/>
              <a:gd name="connsiteX3-951" fmla="*/ 3794560 w 9397013"/>
              <a:gd name="connsiteY3-952" fmla="*/ 32861 h 7134208"/>
              <a:gd name="connsiteX4-953" fmla="*/ 168369 w 9397013"/>
              <a:gd name="connsiteY4-954" fmla="*/ 4779933 h 7134208"/>
              <a:gd name="connsiteX5-955" fmla="*/ 488220 w 9397013"/>
              <a:gd name="connsiteY5-956" fmla="*/ 5484315 h 7134208"/>
              <a:gd name="connsiteX6-957" fmla="*/ 299082 w 9397013"/>
              <a:gd name="connsiteY6-958" fmla="*/ 5067791 h 7134208"/>
              <a:gd name="connsiteX7-959" fmla="*/ 4106456 w 9397013"/>
              <a:gd name="connsiteY7-960" fmla="*/ 55057 h 7134208"/>
              <a:gd name="connsiteX8-961" fmla="*/ 4585079 w 9397013"/>
              <a:gd name="connsiteY8-962" fmla="*/ 89119 h 7134208"/>
              <a:gd name="connsiteX9-963" fmla="*/ 488220 w 9397013"/>
              <a:gd name="connsiteY9-964" fmla="*/ 5484315 h 7134208"/>
              <a:gd name="connsiteX10-965" fmla="*/ 779421 w 9397013"/>
              <a:gd name="connsiteY10-966" fmla="*/ 6125606 h 7134208"/>
              <a:gd name="connsiteX11-967" fmla="*/ 618065 w 9397013"/>
              <a:gd name="connsiteY11-968" fmla="*/ 5770263 h 7134208"/>
              <a:gd name="connsiteX12-969" fmla="*/ 4897528 w 9397013"/>
              <a:gd name="connsiteY12-970" fmla="*/ 111354 h 7134208"/>
              <a:gd name="connsiteX13-971" fmla="*/ 5324893 w 9397013"/>
              <a:gd name="connsiteY13-972" fmla="*/ 141768 h 7134208"/>
              <a:gd name="connsiteX14-973" fmla="*/ 779421 w 9397013"/>
              <a:gd name="connsiteY14-974" fmla="*/ 6125606 h 7134208"/>
              <a:gd name="connsiteX15-975" fmla="*/ 1099910 w 9397013"/>
              <a:gd name="connsiteY15-976" fmla="*/ 6831395 h 7134208"/>
              <a:gd name="connsiteX16-977" fmla="*/ 919656 w 9397013"/>
              <a:gd name="connsiteY16-978" fmla="*/ 6434435 h 7134208"/>
              <a:gd name="connsiteX17-979" fmla="*/ 5668965 w 9397013"/>
              <a:gd name="connsiteY17-980" fmla="*/ 166254 h 7134208"/>
              <a:gd name="connsiteX18-981" fmla="*/ 6114044 w 9397013"/>
              <a:gd name="connsiteY18-982" fmla="*/ 197929 h 7134208"/>
              <a:gd name="connsiteX19-983" fmla="*/ 1099910 w 9397013"/>
              <a:gd name="connsiteY19-984" fmla="*/ 6831395 h 7134208"/>
              <a:gd name="connsiteX20-985" fmla="*/ 6958778 w 9397013"/>
              <a:gd name="connsiteY20-986" fmla="*/ 7124971 h 7134208"/>
              <a:gd name="connsiteX21-987" fmla="*/ 6541566 w 9397013"/>
              <a:gd name="connsiteY21-988" fmla="*/ 7115735 h 7134208"/>
              <a:gd name="connsiteX22-989" fmla="*/ 3849932 w 9397013"/>
              <a:gd name="connsiteY22-990" fmla="*/ 3596670 h 7134208"/>
              <a:gd name="connsiteX23-991" fmla="*/ 4086202 w 9397013"/>
              <a:gd name="connsiteY23-992" fmla="*/ 3287229 h 7134208"/>
              <a:gd name="connsiteX24-993" fmla="*/ 6958778 w 9397013"/>
              <a:gd name="connsiteY24-994" fmla="*/ 7124971 h 7134208"/>
              <a:gd name="connsiteX25-995" fmla="*/ 7777211 w 9397013"/>
              <a:gd name="connsiteY25-996" fmla="*/ 7124972 h 7134208"/>
              <a:gd name="connsiteX26-997" fmla="*/ 7324729 w 9397013"/>
              <a:gd name="connsiteY26-998" fmla="*/ 7124972 h 7134208"/>
              <a:gd name="connsiteX27-999" fmla="*/ 4245793 w 9397013"/>
              <a:gd name="connsiteY27-1000" fmla="*/ 3078214 h 7134208"/>
              <a:gd name="connsiteX28-1001" fmla="*/ 4490696 w 9397013"/>
              <a:gd name="connsiteY28-1002" fmla="*/ 2757469 h 7134208"/>
              <a:gd name="connsiteX29-1003" fmla="*/ 7777211 w 9397013"/>
              <a:gd name="connsiteY29-1004" fmla="*/ 7124972 h 7134208"/>
              <a:gd name="connsiteX30-1005" fmla="*/ 8567691 w 9397013"/>
              <a:gd name="connsiteY30-1006" fmla="*/ 7124971 h 7134208"/>
              <a:gd name="connsiteX31-1007" fmla="*/ 8159389 w 9397013"/>
              <a:gd name="connsiteY31-1008" fmla="*/ 7134208 h 7134208"/>
              <a:gd name="connsiteX32-1009" fmla="*/ 4650570 w 9397013"/>
              <a:gd name="connsiteY32-1010" fmla="*/ 2548084 h 7134208"/>
              <a:gd name="connsiteX33-1011" fmla="*/ 4869244 w 9397013"/>
              <a:gd name="connsiteY33-1012" fmla="*/ 2261689 h 7134208"/>
              <a:gd name="connsiteX34-1013" fmla="*/ 8567691 w 9397013"/>
              <a:gd name="connsiteY34-1014" fmla="*/ 7124971 h 7134208"/>
              <a:gd name="connsiteX35-1015" fmla="*/ 9397013 w 9397013"/>
              <a:gd name="connsiteY35-1016" fmla="*/ 7134207 h 7134208"/>
              <a:gd name="connsiteX36-1017" fmla="*/ 8921338 w 9397013"/>
              <a:gd name="connsiteY36-1018" fmla="*/ 7115735 h 7134208"/>
              <a:gd name="connsiteX37-1019" fmla="*/ 5045299 w 9397013"/>
              <a:gd name="connsiteY37-1020" fmla="*/ 2031113 h 7134208"/>
              <a:gd name="connsiteX38-1021" fmla="*/ 5273037 w 9397013"/>
              <a:gd name="connsiteY38-1022" fmla="*/ 1732846 h 7134208"/>
              <a:gd name="connsiteX39-1023" fmla="*/ 9397013 w 9397013"/>
              <a:gd name="connsiteY39-1024" fmla="*/ 7134207 h 7134208"/>
              <a:gd name="connsiteX0-1025" fmla="*/ 168369 w 9397013"/>
              <a:gd name="connsiteY0-1026" fmla="*/ 4779933 h 7134208"/>
              <a:gd name="connsiteX1-1027" fmla="*/ 0 w 9397013"/>
              <a:gd name="connsiteY1-1028" fmla="*/ 4409146 h 7134208"/>
              <a:gd name="connsiteX2-1029" fmla="*/ 3332806 w 9397013"/>
              <a:gd name="connsiteY2-1030" fmla="*/ 0 h 7134208"/>
              <a:gd name="connsiteX3-1031" fmla="*/ 3794560 w 9397013"/>
              <a:gd name="connsiteY3-1032" fmla="*/ 32861 h 7134208"/>
              <a:gd name="connsiteX4-1033" fmla="*/ 168369 w 9397013"/>
              <a:gd name="connsiteY4-1034" fmla="*/ 4779933 h 7134208"/>
              <a:gd name="connsiteX5-1035" fmla="*/ 488220 w 9397013"/>
              <a:gd name="connsiteY5-1036" fmla="*/ 5484315 h 7134208"/>
              <a:gd name="connsiteX6-1037" fmla="*/ 299082 w 9397013"/>
              <a:gd name="connsiteY6-1038" fmla="*/ 5067791 h 7134208"/>
              <a:gd name="connsiteX7-1039" fmla="*/ 4106456 w 9397013"/>
              <a:gd name="connsiteY7-1040" fmla="*/ 55057 h 7134208"/>
              <a:gd name="connsiteX8-1041" fmla="*/ 4585079 w 9397013"/>
              <a:gd name="connsiteY8-1042" fmla="*/ 89119 h 7134208"/>
              <a:gd name="connsiteX9-1043" fmla="*/ 488220 w 9397013"/>
              <a:gd name="connsiteY9-1044" fmla="*/ 5484315 h 7134208"/>
              <a:gd name="connsiteX10-1045" fmla="*/ 779421 w 9397013"/>
              <a:gd name="connsiteY10-1046" fmla="*/ 6125606 h 7134208"/>
              <a:gd name="connsiteX11-1047" fmla="*/ 618065 w 9397013"/>
              <a:gd name="connsiteY11-1048" fmla="*/ 5770263 h 7134208"/>
              <a:gd name="connsiteX12-1049" fmla="*/ 4897528 w 9397013"/>
              <a:gd name="connsiteY12-1050" fmla="*/ 111354 h 7134208"/>
              <a:gd name="connsiteX13-1051" fmla="*/ 5324893 w 9397013"/>
              <a:gd name="connsiteY13-1052" fmla="*/ 141768 h 7134208"/>
              <a:gd name="connsiteX14-1053" fmla="*/ 779421 w 9397013"/>
              <a:gd name="connsiteY14-1054" fmla="*/ 6125606 h 7134208"/>
              <a:gd name="connsiteX15-1055" fmla="*/ 1099910 w 9397013"/>
              <a:gd name="connsiteY15-1056" fmla="*/ 6831395 h 7134208"/>
              <a:gd name="connsiteX16-1057" fmla="*/ 919656 w 9397013"/>
              <a:gd name="connsiteY16-1058" fmla="*/ 6434435 h 7134208"/>
              <a:gd name="connsiteX17-1059" fmla="*/ 5668965 w 9397013"/>
              <a:gd name="connsiteY17-1060" fmla="*/ 166254 h 7134208"/>
              <a:gd name="connsiteX18-1061" fmla="*/ 6114044 w 9397013"/>
              <a:gd name="connsiteY18-1062" fmla="*/ 197929 h 7134208"/>
              <a:gd name="connsiteX19-1063" fmla="*/ 1099910 w 9397013"/>
              <a:gd name="connsiteY19-1064" fmla="*/ 6831395 h 7134208"/>
              <a:gd name="connsiteX20-1065" fmla="*/ 6958778 w 9397013"/>
              <a:gd name="connsiteY20-1066" fmla="*/ 7124971 h 7134208"/>
              <a:gd name="connsiteX21-1067" fmla="*/ 6560038 w 9397013"/>
              <a:gd name="connsiteY21-1068" fmla="*/ 7134207 h 7134208"/>
              <a:gd name="connsiteX22-1069" fmla="*/ 3849932 w 9397013"/>
              <a:gd name="connsiteY22-1070" fmla="*/ 3596670 h 7134208"/>
              <a:gd name="connsiteX23-1071" fmla="*/ 4086202 w 9397013"/>
              <a:gd name="connsiteY23-1072" fmla="*/ 3287229 h 7134208"/>
              <a:gd name="connsiteX24-1073" fmla="*/ 6958778 w 9397013"/>
              <a:gd name="connsiteY24-1074" fmla="*/ 7124971 h 7134208"/>
              <a:gd name="connsiteX25-1075" fmla="*/ 7777211 w 9397013"/>
              <a:gd name="connsiteY25-1076" fmla="*/ 7124972 h 7134208"/>
              <a:gd name="connsiteX26-1077" fmla="*/ 7324729 w 9397013"/>
              <a:gd name="connsiteY26-1078" fmla="*/ 7124972 h 7134208"/>
              <a:gd name="connsiteX27-1079" fmla="*/ 4245793 w 9397013"/>
              <a:gd name="connsiteY27-1080" fmla="*/ 3078214 h 7134208"/>
              <a:gd name="connsiteX28-1081" fmla="*/ 4490696 w 9397013"/>
              <a:gd name="connsiteY28-1082" fmla="*/ 2757469 h 7134208"/>
              <a:gd name="connsiteX29-1083" fmla="*/ 7777211 w 9397013"/>
              <a:gd name="connsiteY29-1084" fmla="*/ 7124972 h 7134208"/>
              <a:gd name="connsiteX30-1085" fmla="*/ 8567691 w 9397013"/>
              <a:gd name="connsiteY30-1086" fmla="*/ 7124971 h 7134208"/>
              <a:gd name="connsiteX31-1087" fmla="*/ 8159389 w 9397013"/>
              <a:gd name="connsiteY31-1088" fmla="*/ 7134208 h 7134208"/>
              <a:gd name="connsiteX32-1089" fmla="*/ 4650570 w 9397013"/>
              <a:gd name="connsiteY32-1090" fmla="*/ 2548084 h 7134208"/>
              <a:gd name="connsiteX33-1091" fmla="*/ 4869244 w 9397013"/>
              <a:gd name="connsiteY33-1092" fmla="*/ 2261689 h 7134208"/>
              <a:gd name="connsiteX34-1093" fmla="*/ 8567691 w 9397013"/>
              <a:gd name="connsiteY34-1094" fmla="*/ 7124971 h 7134208"/>
              <a:gd name="connsiteX35-1095" fmla="*/ 9397013 w 9397013"/>
              <a:gd name="connsiteY35-1096" fmla="*/ 7134207 h 7134208"/>
              <a:gd name="connsiteX36-1097" fmla="*/ 8921338 w 9397013"/>
              <a:gd name="connsiteY36-1098" fmla="*/ 7115735 h 7134208"/>
              <a:gd name="connsiteX37-1099" fmla="*/ 5045299 w 9397013"/>
              <a:gd name="connsiteY37-1100" fmla="*/ 2031113 h 7134208"/>
              <a:gd name="connsiteX38-1101" fmla="*/ 5273037 w 9397013"/>
              <a:gd name="connsiteY38-1102" fmla="*/ 1732846 h 7134208"/>
              <a:gd name="connsiteX39-1103" fmla="*/ 9397013 w 9397013"/>
              <a:gd name="connsiteY39-1104" fmla="*/ 7134207 h 7134208"/>
              <a:gd name="connsiteX0-1105" fmla="*/ 168369 w 9397013"/>
              <a:gd name="connsiteY0-1106" fmla="*/ 4779933 h 7134208"/>
              <a:gd name="connsiteX1-1107" fmla="*/ 0 w 9397013"/>
              <a:gd name="connsiteY1-1108" fmla="*/ 4409146 h 7134208"/>
              <a:gd name="connsiteX2-1109" fmla="*/ 3332806 w 9397013"/>
              <a:gd name="connsiteY2-1110" fmla="*/ 0 h 7134208"/>
              <a:gd name="connsiteX3-1111" fmla="*/ 3794560 w 9397013"/>
              <a:gd name="connsiteY3-1112" fmla="*/ 32861 h 7134208"/>
              <a:gd name="connsiteX4-1113" fmla="*/ 168369 w 9397013"/>
              <a:gd name="connsiteY4-1114" fmla="*/ 4779933 h 7134208"/>
              <a:gd name="connsiteX5-1115" fmla="*/ 488220 w 9397013"/>
              <a:gd name="connsiteY5-1116" fmla="*/ 5484315 h 7134208"/>
              <a:gd name="connsiteX6-1117" fmla="*/ 299082 w 9397013"/>
              <a:gd name="connsiteY6-1118" fmla="*/ 5067791 h 7134208"/>
              <a:gd name="connsiteX7-1119" fmla="*/ 4106456 w 9397013"/>
              <a:gd name="connsiteY7-1120" fmla="*/ 55057 h 7134208"/>
              <a:gd name="connsiteX8-1121" fmla="*/ 4585079 w 9397013"/>
              <a:gd name="connsiteY8-1122" fmla="*/ 89119 h 7134208"/>
              <a:gd name="connsiteX9-1123" fmla="*/ 488220 w 9397013"/>
              <a:gd name="connsiteY9-1124" fmla="*/ 5484315 h 7134208"/>
              <a:gd name="connsiteX10-1125" fmla="*/ 779421 w 9397013"/>
              <a:gd name="connsiteY10-1126" fmla="*/ 6125606 h 7134208"/>
              <a:gd name="connsiteX11-1127" fmla="*/ 618065 w 9397013"/>
              <a:gd name="connsiteY11-1128" fmla="*/ 5770263 h 7134208"/>
              <a:gd name="connsiteX12-1129" fmla="*/ 4897528 w 9397013"/>
              <a:gd name="connsiteY12-1130" fmla="*/ 111354 h 7134208"/>
              <a:gd name="connsiteX13-1131" fmla="*/ 5324893 w 9397013"/>
              <a:gd name="connsiteY13-1132" fmla="*/ 141768 h 7134208"/>
              <a:gd name="connsiteX14-1133" fmla="*/ 779421 w 9397013"/>
              <a:gd name="connsiteY14-1134" fmla="*/ 6125606 h 7134208"/>
              <a:gd name="connsiteX15-1135" fmla="*/ 1099910 w 9397013"/>
              <a:gd name="connsiteY15-1136" fmla="*/ 6831395 h 7134208"/>
              <a:gd name="connsiteX16-1137" fmla="*/ 919656 w 9397013"/>
              <a:gd name="connsiteY16-1138" fmla="*/ 6434435 h 7134208"/>
              <a:gd name="connsiteX17-1139" fmla="*/ 5668965 w 9397013"/>
              <a:gd name="connsiteY17-1140" fmla="*/ 166254 h 7134208"/>
              <a:gd name="connsiteX18-1141" fmla="*/ 6077099 w 9397013"/>
              <a:gd name="connsiteY18-1142" fmla="*/ 225638 h 7134208"/>
              <a:gd name="connsiteX19-1143" fmla="*/ 1099910 w 9397013"/>
              <a:gd name="connsiteY19-1144" fmla="*/ 6831395 h 7134208"/>
              <a:gd name="connsiteX20-1145" fmla="*/ 6958778 w 9397013"/>
              <a:gd name="connsiteY20-1146" fmla="*/ 7124971 h 7134208"/>
              <a:gd name="connsiteX21-1147" fmla="*/ 6560038 w 9397013"/>
              <a:gd name="connsiteY21-1148" fmla="*/ 7134207 h 7134208"/>
              <a:gd name="connsiteX22-1149" fmla="*/ 3849932 w 9397013"/>
              <a:gd name="connsiteY22-1150" fmla="*/ 3596670 h 7134208"/>
              <a:gd name="connsiteX23-1151" fmla="*/ 4086202 w 9397013"/>
              <a:gd name="connsiteY23-1152" fmla="*/ 3287229 h 7134208"/>
              <a:gd name="connsiteX24-1153" fmla="*/ 6958778 w 9397013"/>
              <a:gd name="connsiteY24-1154" fmla="*/ 7124971 h 7134208"/>
              <a:gd name="connsiteX25-1155" fmla="*/ 7777211 w 9397013"/>
              <a:gd name="connsiteY25-1156" fmla="*/ 7124972 h 7134208"/>
              <a:gd name="connsiteX26-1157" fmla="*/ 7324729 w 9397013"/>
              <a:gd name="connsiteY26-1158" fmla="*/ 7124972 h 7134208"/>
              <a:gd name="connsiteX27-1159" fmla="*/ 4245793 w 9397013"/>
              <a:gd name="connsiteY27-1160" fmla="*/ 3078214 h 7134208"/>
              <a:gd name="connsiteX28-1161" fmla="*/ 4490696 w 9397013"/>
              <a:gd name="connsiteY28-1162" fmla="*/ 2757469 h 7134208"/>
              <a:gd name="connsiteX29-1163" fmla="*/ 7777211 w 9397013"/>
              <a:gd name="connsiteY29-1164" fmla="*/ 7124972 h 7134208"/>
              <a:gd name="connsiteX30-1165" fmla="*/ 8567691 w 9397013"/>
              <a:gd name="connsiteY30-1166" fmla="*/ 7124971 h 7134208"/>
              <a:gd name="connsiteX31-1167" fmla="*/ 8159389 w 9397013"/>
              <a:gd name="connsiteY31-1168" fmla="*/ 7134208 h 7134208"/>
              <a:gd name="connsiteX32-1169" fmla="*/ 4650570 w 9397013"/>
              <a:gd name="connsiteY32-1170" fmla="*/ 2548084 h 7134208"/>
              <a:gd name="connsiteX33-1171" fmla="*/ 4869244 w 9397013"/>
              <a:gd name="connsiteY33-1172" fmla="*/ 2261689 h 7134208"/>
              <a:gd name="connsiteX34-1173" fmla="*/ 8567691 w 9397013"/>
              <a:gd name="connsiteY34-1174" fmla="*/ 7124971 h 7134208"/>
              <a:gd name="connsiteX35-1175" fmla="*/ 9397013 w 9397013"/>
              <a:gd name="connsiteY35-1176" fmla="*/ 7134207 h 7134208"/>
              <a:gd name="connsiteX36-1177" fmla="*/ 8921338 w 9397013"/>
              <a:gd name="connsiteY36-1178" fmla="*/ 7115735 h 7134208"/>
              <a:gd name="connsiteX37-1179" fmla="*/ 5045299 w 9397013"/>
              <a:gd name="connsiteY37-1180" fmla="*/ 2031113 h 7134208"/>
              <a:gd name="connsiteX38-1181" fmla="*/ 5273037 w 9397013"/>
              <a:gd name="connsiteY38-1182" fmla="*/ 1732846 h 7134208"/>
              <a:gd name="connsiteX39-1183" fmla="*/ 9397013 w 9397013"/>
              <a:gd name="connsiteY39-1184" fmla="*/ 7134207 h 7134208"/>
              <a:gd name="connsiteX0-1185" fmla="*/ 168369 w 9397013"/>
              <a:gd name="connsiteY0-1186" fmla="*/ 4779933 h 7134208"/>
              <a:gd name="connsiteX1-1187" fmla="*/ 0 w 9397013"/>
              <a:gd name="connsiteY1-1188" fmla="*/ 4409146 h 7134208"/>
              <a:gd name="connsiteX2-1189" fmla="*/ 3332806 w 9397013"/>
              <a:gd name="connsiteY2-1190" fmla="*/ 0 h 7134208"/>
              <a:gd name="connsiteX3-1191" fmla="*/ 3794560 w 9397013"/>
              <a:gd name="connsiteY3-1192" fmla="*/ 32861 h 7134208"/>
              <a:gd name="connsiteX4-1193" fmla="*/ 168369 w 9397013"/>
              <a:gd name="connsiteY4-1194" fmla="*/ 4779933 h 7134208"/>
              <a:gd name="connsiteX5-1195" fmla="*/ 488220 w 9397013"/>
              <a:gd name="connsiteY5-1196" fmla="*/ 5484315 h 7134208"/>
              <a:gd name="connsiteX6-1197" fmla="*/ 299082 w 9397013"/>
              <a:gd name="connsiteY6-1198" fmla="*/ 5067791 h 7134208"/>
              <a:gd name="connsiteX7-1199" fmla="*/ 4106456 w 9397013"/>
              <a:gd name="connsiteY7-1200" fmla="*/ 55057 h 7134208"/>
              <a:gd name="connsiteX8-1201" fmla="*/ 4585079 w 9397013"/>
              <a:gd name="connsiteY8-1202" fmla="*/ 89119 h 7134208"/>
              <a:gd name="connsiteX9-1203" fmla="*/ 488220 w 9397013"/>
              <a:gd name="connsiteY9-1204" fmla="*/ 5484315 h 7134208"/>
              <a:gd name="connsiteX10-1205" fmla="*/ 779421 w 9397013"/>
              <a:gd name="connsiteY10-1206" fmla="*/ 6125606 h 7134208"/>
              <a:gd name="connsiteX11-1207" fmla="*/ 618065 w 9397013"/>
              <a:gd name="connsiteY11-1208" fmla="*/ 5770263 h 7134208"/>
              <a:gd name="connsiteX12-1209" fmla="*/ 4897528 w 9397013"/>
              <a:gd name="connsiteY12-1210" fmla="*/ 111354 h 7134208"/>
              <a:gd name="connsiteX13-1211" fmla="*/ 5324893 w 9397013"/>
              <a:gd name="connsiteY13-1212" fmla="*/ 141768 h 7134208"/>
              <a:gd name="connsiteX14-1213" fmla="*/ 779421 w 9397013"/>
              <a:gd name="connsiteY14-1214" fmla="*/ 6125606 h 7134208"/>
              <a:gd name="connsiteX15-1215" fmla="*/ 1099910 w 9397013"/>
              <a:gd name="connsiteY15-1216" fmla="*/ 6831395 h 7134208"/>
              <a:gd name="connsiteX16-1217" fmla="*/ 919656 w 9397013"/>
              <a:gd name="connsiteY16-1218" fmla="*/ 6434435 h 7134208"/>
              <a:gd name="connsiteX17-1219" fmla="*/ 5613547 w 9397013"/>
              <a:gd name="connsiteY17-1220" fmla="*/ 240145 h 7134208"/>
              <a:gd name="connsiteX18-1221" fmla="*/ 6077099 w 9397013"/>
              <a:gd name="connsiteY18-1222" fmla="*/ 225638 h 7134208"/>
              <a:gd name="connsiteX19-1223" fmla="*/ 1099910 w 9397013"/>
              <a:gd name="connsiteY19-1224" fmla="*/ 6831395 h 7134208"/>
              <a:gd name="connsiteX20-1225" fmla="*/ 6958778 w 9397013"/>
              <a:gd name="connsiteY20-1226" fmla="*/ 7124971 h 7134208"/>
              <a:gd name="connsiteX21-1227" fmla="*/ 6560038 w 9397013"/>
              <a:gd name="connsiteY21-1228" fmla="*/ 7134207 h 7134208"/>
              <a:gd name="connsiteX22-1229" fmla="*/ 3849932 w 9397013"/>
              <a:gd name="connsiteY22-1230" fmla="*/ 3596670 h 7134208"/>
              <a:gd name="connsiteX23-1231" fmla="*/ 4086202 w 9397013"/>
              <a:gd name="connsiteY23-1232" fmla="*/ 3287229 h 7134208"/>
              <a:gd name="connsiteX24-1233" fmla="*/ 6958778 w 9397013"/>
              <a:gd name="connsiteY24-1234" fmla="*/ 7124971 h 7134208"/>
              <a:gd name="connsiteX25-1235" fmla="*/ 7777211 w 9397013"/>
              <a:gd name="connsiteY25-1236" fmla="*/ 7124972 h 7134208"/>
              <a:gd name="connsiteX26-1237" fmla="*/ 7324729 w 9397013"/>
              <a:gd name="connsiteY26-1238" fmla="*/ 7124972 h 7134208"/>
              <a:gd name="connsiteX27-1239" fmla="*/ 4245793 w 9397013"/>
              <a:gd name="connsiteY27-1240" fmla="*/ 3078214 h 7134208"/>
              <a:gd name="connsiteX28-1241" fmla="*/ 4490696 w 9397013"/>
              <a:gd name="connsiteY28-1242" fmla="*/ 2757469 h 7134208"/>
              <a:gd name="connsiteX29-1243" fmla="*/ 7777211 w 9397013"/>
              <a:gd name="connsiteY29-1244" fmla="*/ 7124972 h 7134208"/>
              <a:gd name="connsiteX30-1245" fmla="*/ 8567691 w 9397013"/>
              <a:gd name="connsiteY30-1246" fmla="*/ 7124971 h 7134208"/>
              <a:gd name="connsiteX31-1247" fmla="*/ 8159389 w 9397013"/>
              <a:gd name="connsiteY31-1248" fmla="*/ 7134208 h 7134208"/>
              <a:gd name="connsiteX32-1249" fmla="*/ 4650570 w 9397013"/>
              <a:gd name="connsiteY32-1250" fmla="*/ 2548084 h 7134208"/>
              <a:gd name="connsiteX33-1251" fmla="*/ 4869244 w 9397013"/>
              <a:gd name="connsiteY33-1252" fmla="*/ 2261689 h 7134208"/>
              <a:gd name="connsiteX34-1253" fmla="*/ 8567691 w 9397013"/>
              <a:gd name="connsiteY34-1254" fmla="*/ 7124971 h 7134208"/>
              <a:gd name="connsiteX35-1255" fmla="*/ 9397013 w 9397013"/>
              <a:gd name="connsiteY35-1256" fmla="*/ 7134207 h 7134208"/>
              <a:gd name="connsiteX36-1257" fmla="*/ 8921338 w 9397013"/>
              <a:gd name="connsiteY36-1258" fmla="*/ 7115735 h 7134208"/>
              <a:gd name="connsiteX37-1259" fmla="*/ 5045299 w 9397013"/>
              <a:gd name="connsiteY37-1260" fmla="*/ 2031113 h 7134208"/>
              <a:gd name="connsiteX38-1261" fmla="*/ 5273037 w 9397013"/>
              <a:gd name="connsiteY38-1262" fmla="*/ 1732846 h 7134208"/>
              <a:gd name="connsiteX39-1263" fmla="*/ 9397013 w 9397013"/>
              <a:gd name="connsiteY39-1264" fmla="*/ 7134207 h 7134208"/>
              <a:gd name="connsiteX0-1265" fmla="*/ 168369 w 9397013"/>
              <a:gd name="connsiteY0-1266" fmla="*/ 4779933 h 7134208"/>
              <a:gd name="connsiteX1-1267" fmla="*/ 0 w 9397013"/>
              <a:gd name="connsiteY1-1268" fmla="*/ 4409146 h 7134208"/>
              <a:gd name="connsiteX2-1269" fmla="*/ 3332806 w 9397013"/>
              <a:gd name="connsiteY2-1270" fmla="*/ 0 h 7134208"/>
              <a:gd name="connsiteX3-1271" fmla="*/ 3794560 w 9397013"/>
              <a:gd name="connsiteY3-1272" fmla="*/ 32861 h 7134208"/>
              <a:gd name="connsiteX4-1273" fmla="*/ 168369 w 9397013"/>
              <a:gd name="connsiteY4-1274" fmla="*/ 4779933 h 7134208"/>
              <a:gd name="connsiteX5-1275" fmla="*/ 488220 w 9397013"/>
              <a:gd name="connsiteY5-1276" fmla="*/ 5484315 h 7134208"/>
              <a:gd name="connsiteX6-1277" fmla="*/ 299082 w 9397013"/>
              <a:gd name="connsiteY6-1278" fmla="*/ 5067791 h 7134208"/>
              <a:gd name="connsiteX7-1279" fmla="*/ 4106456 w 9397013"/>
              <a:gd name="connsiteY7-1280" fmla="*/ 55057 h 7134208"/>
              <a:gd name="connsiteX8-1281" fmla="*/ 4585079 w 9397013"/>
              <a:gd name="connsiteY8-1282" fmla="*/ 89119 h 7134208"/>
              <a:gd name="connsiteX9-1283" fmla="*/ 488220 w 9397013"/>
              <a:gd name="connsiteY9-1284" fmla="*/ 5484315 h 7134208"/>
              <a:gd name="connsiteX10-1285" fmla="*/ 779421 w 9397013"/>
              <a:gd name="connsiteY10-1286" fmla="*/ 6125606 h 7134208"/>
              <a:gd name="connsiteX11-1287" fmla="*/ 618065 w 9397013"/>
              <a:gd name="connsiteY11-1288" fmla="*/ 5770263 h 7134208"/>
              <a:gd name="connsiteX12-1289" fmla="*/ 4897528 w 9397013"/>
              <a:gd name="connsiteY12-1290" fmla="*/ 111354 h 7134208"/>
              <a:gd name="connsiteX13-1291" fmla="*/ 5324893 w 9397013"/>
              <a:gd name="connsiteY13-1292" fmla="*/ 141768 h 7134208"/>
              <a:gd name="connsiteX14-1293" fmla="*/ 779421 w 9397013"/>
              <a:gd name="connsiteY14-1294" fmla="*/ 6125606 h 7134208"/>
              <a:gd name="connsiteX15-1295" fmla="*/ 1099910 w 9397013"/>
              <a:gd name="connsiteY15-1296" fmla="*/ 6831395 h 7134208"/>
              <a:gd name="connsiteX16-1297" fmla="*/ 919656 w 9397013"/>
              <a:gd name="connsiteY16-1298" fmla="*/ 6434435 h 7134208"/>
              <a:gd name="connsiteX17-1299" fmla="*/ 5641256 w 9397013"/>
              <a:gd name="connsiteY17-1300" fmla="*/ 212436 h 7134208"/>
              <a:gd name="connsiteX18-1301" fmla="*/ 6077099 w 9397013"/>
              <a:gd name="connsiteY18-1302" fmla="*/ 225638 h 7134208"/>
              <a:gd name="connsiteX19-1303" fmla="*/ 1099910 w 9397013"/>
              <a:gd name="connsiteY19-1304" fmla="*/ 6831395 h 7134208"/>
              <a:gd name="connsiteX20-1305" fmla="*/ 6958778 w 9397013"/>
              <a:gd name="connsiteY20-1306" fmla="*/ 7124971 h 7134208"/>
              <a:gd name="connsiteX21-1307" fmla="*/ 6560038 w 9397013"/>
              <a:gd name="connsiteY21-1308" fmla="*/ 7134207 h 7134208"/>
              <a:gd name="connsiteX22-1309" fmla="*/ 3849932 w 9397013"/>
              <a:gd name="connsiteY22-1310" fmla="*/ 3596670 h 7134208"/>
              <a:gd name="connsiteX23-1311" fmla="*/ 4086202 w 9397013"/>
              <a:gd name="connsiteY23-1312" fmla="*/ 3287229 h 7134208"/>
              <a:gd name="connsiteX24-1313" fmla="*/ 6958778 w 9397013"/>
              <a:gd name="connsiteY24-1314" fmla="*/ 7124971 h 7134208"/>
              <a:gd name="connsiteX25-1315" fmla="*/ 7777211 w 9397013"/>
              <a:gd name="connsiteY25-1316" fmla="*/ 7124972 h 7134208"/>
              <a:gd name="connsiteX26-1317" fmla="*/ 7324729 w 9397013"/>
              <a:gd name="connsiteY26-1318" fmla="*/ 7124972 h 7134208"/>
              <a:gd name="connsiteX27-1319" fmla="*/ 4245793 w 9397013"/>
              <a:gd name="connsiteY27-1320" fmla="*/ 3078214 h 7134208"/>
              <a:gd name="connsiteX28-1321" fmla="*/ 4490696 w 9397013"/>
              <a:gd name="connsiteY28-1322" fmla="*/ 2757469 h 7134208"/>
              <a:gd name="connsiteX29-1323" fmla="*/ 7777211 w 9397013"/>
              <a:gd name="connsiteY29-1324" fmla="*/ 7124972 h 7134208"/>
              <a:gd name="connsiteX30-1325" fmla="*/ 8567691 w 9397013"/>
              <a:gd name="connsiteY30-1326" fmla="*/ 7124971 h 7134208"/>
              <a:gd name="connsiteX31-1327" fmla="*/ 8159389 w 9397013"/>
              <a:gd name="connsiteY31-1328" fmla="*/ 7134208 h 7134208"/>
              <a:gd name="connsiteX32-1329" fmla="*/ 4650570 w 9397013"/>
              <a:gd name="connsiteY32-1330" fmla="*/ 2548084 h 7134208"/>
              <a:gd name="connsiteX33-1331" fmla="*/ 4869244 w 9397013"/>
              <a:gd name="connsiteY33-1332" fmla="*/ 2261689 h 7134208"/>
              <a:gd name="connsiteX34-1333" fmla="*/ 8567691 w 9397013"/>
              <a:gd name="connsiteY34-1334" fmla="*/ 7124971 h 7134208"/>
              <a:gd name="connsiteX35-1335" fmla="*/ 9397013 w 9397013"/>
              <a:gd name="connsiteY35-1336" fmla="*/ 7134207 h 7134208"/>
              <a:gd name="connsiteX36-1337" fmla="*/ 8921338 w 9397013"/>
              <a:gd name="connsiteY36-1338" fmla="*/ 7115735 h 7134208"/>
              <a:gd name="connsiteX37-1339" fmla="*/ 5045299 w 9397013"/>
              <a:gd name="connsiteY37-1340" fmla="*/ 2031113 h 7134208"/>
              <a:gd name="connsiteX38-1341" fmla="*/ 5273037 w 9397013"/>
              <a:gd name="connsiteY38-1342" fmla="*/ 1732846 h 7134208"/>
              <a:gd name="connsiteX39-1343" fmla="*/ 9397013 w 9397013"/>
              <a:gd name="connsiteY39-1344" fmla="*/ 7134207 h 7134208"/>
              <a:gd name="connsiteX0-1345" fmla="*/ 168369 w 9397013"/>
              <a:gd name="connsiteY0-1346" fmla="*/ 4779933 h 7134208"/>
              <a:gd name="connsiteX1-1347" fmla="*/ 0 w 9397013"/>
              <a:gd name="connsiteY1-1348" fmla="*/ 4409146 h 7134208"/>
              <a:gd name="connsiteX2-1349" fmla="*/ 3332806 w 9397013"/>
              <a:gd name="connsiteY2-1350" fmla="*/ 0 h 7134208"/>
              <a:gd name="connsiteX3-1351" fmla="*/ 3794560 w 9397013"/>
              <a:gd name="connsiteY3-1352" fmla="*/ 32861 h 7134208"/>
              <a:gd name="connsiteX4-1353" fmla="*/ 168369 w 9397013"/>
              <a:gd name="connsiteY4-1354" fmla="*/ 4779933 h 7134208"/>
              <a:gd name="connsiteX5-1355" fmla="*/ 488220 w 9397013"/>
              <a:gd name="connsiteY5-1356" fmla="*/ 5484315 h 7134208"/>
              <a:gd name="connsiteX6-1357" fmla="*/ 299082 w 9397013"/>
              <a:gd name="connsiteY6-1358" fmla="*/ 5067791 h 7134208"/>
              <a:gd name="connsiteX7-1359" fmla="*/ 4106456 w 9397013"/>
              <a:gd name="connsiteY7-1360" fmla="*/ 55057 h 7134208"/>
              <a:gd name="connsiteX8-1361" fmla="*/ 4585079 w 9397013"/>
              <a:gd name="connsiteY8-1362" fmla="*/ 89119 h 7134208"/>
              <a:gd name="connsiteX9-1363" fmla="*/ 488220 w 9397013"/>
              <a:gd name="connsiteY9-1364" fmla="*/ 5484315 h 7134208"/>
              <a:gd name="connsiteX10-1365" fmla="*/ 779421 w 9397013"/>
              <a:gd name="connsiteY10-1366" fmla="*/ 6125606 h 7134208"/>
              <a:gd name="connsiteX11-1367" fmla="*/ 618065 w 9397013"/>
              <a:gd name="connsiteY11-1368" fmla="*/ 5770263 h 7134208"/>
              <a:gd name="connsiteX12-1369" fmla="*/ 4897528 w 9397013"/>
              <a:gd name="connsiteY12-1370" fmla="*/ 111354 h 7134208"/>
              <a:gd name="connsiteX13-1371" fmla="*/ 5260238 w 9397013"/>
              <a:gd name="connsiteY13-1372" fmla="*/ 234131 h 7134208"/>
              <a:gd name="connsiteX14-1373" fmla="*/ 779421 w 9397013"/>
              <a:gd name="connsiteY14-1374" fmla="*/ 6125606 h 7134208"/>
              <a:gd name="connsiteX15-1375" fmla="*/ 1099910 w 9397013"/>
              <a:gd name="connsiteY15-1376" fmla="*/ 6831395 h 7134208"/>
              <a:gd name="connsiteX16-1377" fmla="*/ 919656 w 9397013"/>
              <a:gd name="connsiteY16-1378" fmla="*/ 6434435 h 7134208"/>
              <a:gd name="connsiteX17-1379" fmla="*/ 5641256 w 9397013"/>
              <a:gd name="connsiteY17-1380" fmla="*/ 212436 h 7134208"/>
              <a:gd name="connsiteX18-1381" fmla="*/ 6077099 w 9397013"/>
              <a:gd name="connsiteY18-1382" fmla="*/ 225638 h 7134208"/>
              <a:gd name="connsiteX19-1383" fmla="*/ 1099910 w 9397013"/>
              <a:gd name="connsiteY19-1384" fmla="*/ 6831395 h 7134208"/>
              <a:gd name="connsiteX20-1385" fmla="*/ 6958778 w 9397013"/>
              <a:gd name="connsiteY20-1386" fmla="*/ 7124971 h 7134208"/>
              <a:gd name="connsiteX21-1387" fmla="*/ 6560038 w 9397013"/>
              <a:gd name="connsiteY21-1388" fmla="*/ 7134207 h 7134208"/>
              <a:gd name="connsiteX22-1389" fmla="*/ 3849932 w 9397013"/>
              <a:gd name="connsiteY22-1390" fmla="*/ 3596670 h 7134208"/>
              <a:gd name="connsiteX23-1391" fmla="*/ 4086202 w 9397013"/>
              <a:gd name="connsiteY23-1392" fmla="*/ 3287229 h 7134208"/>
              <a:gd name="connsiteX24-1393" fmla="*/ 6958778 w 9397013"/>
              <a:gd name="connsiteY24-1394" fmla="*/ 7124971 h 7134208"/>
              <a:gd name="connsiteX25-1395" fmla="*/ 7777211 w 9397013"/>
              <a:gd name="connsiteY25-1396" fmla="*/ 7124972 h 7134208"/>
              <a:gd name="connsiteX26-1397" fmla="*/ 7324729 w 9397013"/>
              <a:gd name="connsiteY26-1398" fmla="*/ 7124972 h 7134208"/>
              <a:gd name="connsiteX27-1399" fmla="*/ 4245793 w 9397013"/>
              <a:gd name="connsiteY27-1400" fmla="*/ 3078214 h 7134208"/>
              <a:gd name="connsiteX28-1401" fmla="*/ 4490696 w 9397013"/>
              <a:gd name="connsiteY28-1402" fmla="*/ 2757469 h 7134208"/>
              <a:gd name="connsiteX29-1403" fmla="*/ 7777211 w 9397013"/>
              <a:gd name="connsiteY29-1404" fmla="*/ 7124972 h 7134208"/>
              <a:gd name="connsiteX30-1405" fmla="*/ 8567691 w 9397013"/>
              <a:gd name="connsiteY30-1406" fmla="*/ 7124971 h 7134208"/>
              <a:gd name="connsiteX31-1407" fmla="*/ 8159389 w 9397013"/>
              <a:gd name="connsiteY31-1408" fmla="*/ 7134208 h 7134208"/>
              <a:gd name="connsiteX32-1409" fmla="*/ 4650570 w 9397013"/>
              <a:gd name="connsiteY32-1410" fmla="*/ 2548084 h 7134208"/>
              <a:gd name="connsiteX33-1411" fmla="*/ 4869244 w 9397013"/>
              <a:gd name="connsiteY33-1412" fmla="*/ 2261689 h 7134208"/>
              <a:gd name="connsiteX34-1413" fmla="*/ 8567691 w 9397013"/>
              <a:gd name="connsiteY34-1414" fmla="*/ 7124971 h 7134208"/>
              <a:gd name="connsiteX35-1415" fmla="*/ 9397013 w 9397013"/>
              <a:gd name="connsiteY35-1416" fmla="*/ 7134207 h 7134208"/>
              <a:gd name="connsiteX36-1417" fmla="*/ 8921338 w 9397013"/>
              <a:gd name="connsiteY36-1418" fmla="*/ 7115735 h 7134208"/>
              <a:gd name="connsiteX37-1419" fmla="*/ 5045299 w 9397013"/>
              <a:gd name="connsiteY37-1420" fmla="*/ 2031113 h 7134208"/>
              <a:gd name="connsiteX38-1421" fmla="*/ 5273037 w 9397013"/>
              <a:gd name="connsiteY38-1422" fmla="*/ 1732846 h 7134208"/>
              <a:gd name="connsiteX39-1423" fmla="*/ 9397013 w 9397013"/>
              <a:gd name="connsiteY39-1424" fmla="*/ 7134207 h 7134208"/>
              <a:gd name="connsiteX0-1425" fmla="*/ 168369 w 9397013"/>
              <a:gd name="connsiteY0-1426" fmla="*/ 4779933 h 7134208"/>
              <a:gd name="connsiteX1-1427" fmla="*/ 0 w 9397013"/>
              <a:gd name="connsiteY1-1428" fmla="*/ 4409146 h 7134208"/>
              <a:gd name="connsiteX2-1429" fmla="*/ 3332806 w 9397013"/>
              <a:gd name="connsiteY2-1430" fmla="*/ 0 h 7134208"/>
              <a:gd name="connsiteX3-1431" fmla="*/ 3794560 w 9397013"/>
              <a:gd name="connsiteY3-1432" fmla="*/ 32861 h 7134208"/>
              <a:gd name="connsiteX4-1433" fmla="*/ 168369 w 9397013"/>
              <a:gd name="connsiteY4-1434" fmla="*/ 4779933 h 7134208"/>
              <a:gd name="connsiteX5-1435" fmla="*/ 488220 w 9397013"/>
              <a:gd name="connsiteY5-1436" fmla="*/ 5484315 h 7134208"/>
              <a:gd name="connsiteX6-1437" fmla="*/ 299082 w 9397013"/>
              <a:gd name="connsiteY6-1438" fmla="*/ 5067791 h 7134208"/>
              <a:gd name="connsiteX7-1439" fmla="*/ 4106456 w 9397013"/>
              <a:gd name="connsiteY7-1440" fmla="*/ 55057 h 7134208"/>
              <a:gd name="connsiteX8-1441" fmla="*/ 4585079 w 9397013"/>
              <a:gd name="connsiteY8-1442" fmla="*/ 89119 h 7134208"/>
              <a:gd name="connsiteX9-1443" fmla="*/ 488220 w 9397013"/>
              <a:gd name="connsiteY9-1444" fmla="*/ 5484315 h 7134208"/>
              <a:gd name="connsiteX10-1445" fmla="*/ 779421 w 9397013"/>
              <a:gd name="connsiteY10-1446" fmla="*/ 6125606 h 7134208"/>
              <a:gd name="connsiteX11-1447" fmla="*/ 618065 w 9397013"/>
              <a:gd name="connsiteY11-1448" fmla="*/ 5770263 h 7134208"/>
              <a:gd name="connsiteX12-1449" fmla="*/ 4805164 w 9397013"/>
              <a:gd name="connsiteY12-1450" fmla="*/ 212954 h 7134208"/>
              <a:gd name="connsiteX13-1451" fmla="*/ 5260238 w 9397013"/>
              <a:gd name="connsiteY13-1452" fmla="*/ 234131 h 7134208"/>
              <a:gd name="connsiteX14-1453" fmla="*/ 779421 w 9397013"/>
              <a:gd name="connsiteY14-1454" fmla="*/ 6125606 h 7134208"/>
              <a:gd name="connsiteX15-1455" fmla="*/ 1099910 w 9397013"/>
              <a:gd name="connsiteY15-1456" fmla="*/ 6831395 h 7134208"/>
              <a:gd name="connsiteX16-1457" fmla="*/ 919656 w 9397013"/>
              <a:gd name="connsiteY16-1458" fmla="*/ 6434435 h 7134208"/>
              <a:gd name="connsiteX17-1459" fmla="*/ 5641256 w 9397013"/>
              <a:gd name="connsiteY17-1460" fmla="*/ 212436 h 7134208"/>
              <a:gd name="connsiteX18-1461" fmla="*/ 6077099 w 9397013"/>
              <a:gd name="connsiteY18-1462" fmla="*/ 225638 h 7134208"/>
              <a:gd name="connsiteX19-1463" fmla="*/ 1099910 w 9397013"/>
              <a:gd name="connsiteY19-1464" fmla="*/ 6831395 h 7134208"/>
              <a:gd name="connsiteX20-1465" fmla="*/ 6958778 w 9397013"/>
              <a:gd name="connsiteY20-1466" fmla="*/ 7124971 h 7134208"/>
              <a:gd name="connsiteX21-1467" fmla="*/ 6560038 w 9397013"/>
              <a:gd name="connsiteY21-1468" fmla="*/ 7134207 h 7134208"/>
              <a:gd name="connsiteX22-1469" fmla="*/ 3849932 w 9397013"/>
              <a:gd name="connsiteY22-1470" fmla="*/ 3596670 h 7134208"/>
              <a:gd name="connsiteX23-1471" fmla="*/ 4086202 w 9397013"/>
              <a:gd name="connsiteY23-1472" fmla="*/ 3287229 h 7134208"/>
              <a:gd name="connsiteX24-1473" fmla="*/ 6958778 w 9397013"/>
              <a:gd name="connsiteY24-1474" fmla="*/ 7124971 h 7134208"/>
              <a:gd name="connsiteX25-1475" fmla="*/ 7777211 w 9397013"/>
              <a:gd name="connsiteY25-1476" fmla="*/ 7124972 h 7134208"/>
              <a:gd name="connsiteX26-1477" fmla="*/ 7324729 w 9397013"/>
              <a:gd name="connsiteY26-1478" fmla="*/ 7124972 h 7134208"/>
              <a:gd name="connsiteX27-1479" fmla="*/ 4245793 w 9397013"/>
              <a:gd name="connsiteY27-1480" fmla="*/ 3078214 h 7134208"/>
              <a:gd name="connsiteX28-1481" fmla="*/ 4490696 w 9397013"/>
              <a:gd name="connsiteY28-1482" fmla="*/ 2757469 h 7134208"/>
              <a:gd name="connsiteX29-1483" fmla="*/ 7777211 w 9397013"/>
              <a:gd name="connsiteY29-1484" fmla="*/ 7124972 h 7134208"/>
              <a:gd name="connsiteX30-1485" fmla="*/ 8567691 w 9397013"/>
              <a:gd name="connsiteY30-1486" fmla="*/ 7124971 h 7134208"/>
              <a:gd name="connsiteX31-1487" fmla="*/ 8159389 w 9397013"/>
              <a:gd name="connsiteY31-1488" fmla="*/ 7134208 h 7134208"/>
              <a:gd name="connsiteX32-1489" fmla="*/ 4650570 w 9397013"/>
              <a:gd name="connsiteY32-1490" fmla="*/ 2548084 h 7134208"/>
              <a:gd name="connsiteX33-1491" fmla="*/ 4869244 w 9397013"/>
              <a:gd name="connsiteY33-1492" fmla="*/ 2261689 h 7134208"/>
              <a:gd name="connsiteX34-1493" fmla="*/ 8567691 w 9397013"/>
              <a:gd name="connsiteY34-1494" fmla="*/ 7124971 h 7134208"/>
              <a:gd name="connsiteX35-1495" fmla="*/ 9397013 w 9397013"/>
              <a:gd name="connsiteY35-1496" fmla="*/ 7134207 h 7134208"/>
              <a:gd name="connsiteX36-1497" fmla="*/ 8921338 w 9397013"/>
              <a:gd name="connsiteY36-1498" fmla="*/ 7115735 h 7134208"/>
              <a:gd name="connsiteX37-1499" fmla="*/ 5045299 w 9397013"/>
              <a:gd name="connsiteY37-1500" fmla="*/ 2031113 h 7134208"/>
              <a:gd name="connsiteX38-1501" fmla="*/ 5273037 w 9397013"/>
              <a:gd name="connsiteY38-1502" fmla="*/ 1732846 h 7134208"/>
              <a:gd name="connsiteX39-1503" fmla="*/ 9397013 w 9397013"/>
              <a:gd name="connsiteY39-1504" fmla="*/ 7134207 h 7134208"/>
              <a:gd name="connsiteX0-1505" fmla="*/ 168369 w 9397013"/>
              <a:gd name="connsiteY0-1506" fmla="*/ 4779933 h 7134208"/>
              <a:gd name="connsiteX1-1507" fmla="*/ 0 w 9397013"/>
              <a:gd name="connsiteY1-1508" fmla="*/ 4409146 h 7134208"/>
              <a:gd name="connsiteX2-1509" fmla="*/ 3332806 w 9397013"/>
              <a:gd name="connsiteY2-1510" fmla="*/ 0 h 7134208"/>
              <a:gd name="connsiteX3-1511" fmla="*/ 3794560 w 9397013"/>
              <a:gd name="connsiteY3-1512" fmla="*/ 32861 h 7134208"/>
              <a:gd name="connsiteX4-1513" fmla="*/ 168369 w 9397013"/>
              <a:gd name="connsiteY4-1514" fmla="*/ 4779933 h 7134208"/>
              <a:gd name="connsiteX5-1515" fmla="*/ 488220 w 9397013"/>
              <a:gd name="connsiteY5-1516" fmla="*/ 5484315 h 7134208"/>
              <a:gd name="connsiteX6-1517" fmla="*/ 299082 w 9397013"/>
              <a:gd name="connsiteY6-1518" fmla="*/ 5067791 h 7134208"/>
              <a:gd name="connsiteX7-1519" fmla="*/ 4106456 w 9397013"/>
              <a:gd name="connsiteY7-1520" fmla="*/ 55057 h 7134208"/>
              <a:gd name="connsiteX8-1521" fmla="*/ 4465006 w 9397013"/>
              <a:gd name="connsiteY8-1522" fmla="*/ 209192 h 7134208"/>
              <a:gd name="connsiteX9-1523" fmla="*/ 488220 w 9397013"/>
              <a:gd name="connsiteY9-1524" fmla="*/ 5484315 h 7134208"/>
              <a:gd name="connsiteX10-1525" fmla="*/ 779421 w 9397013"/>
              <a:gd name="connsiteY10-1526" fmla="*/ 6125606 h 7134208"/>
              <a:gd name="connsiteX11-1527" fmla="*/ 618065 w 9397013"/>
              <a:gd name="connsiteY11-1528" fmla="*/ 5770263 h 7134208"/>
              <a:gd name="connsiteX12-1529" fmla="*/ 4805164 w 9397013"/>
              <a:gd name="connsiteY12-1530" fmla="*/ 212954 h 7134208"/>
              <a:gd name="connsiteX13-1531" fmla="*/ 5260238 w 9397013"/>
              <a:gd name="connsiteY13-1532" fmla="*/ 234131 h 7134208"/>
              <a:gd name="connsiteX14-1533" fmla="*/ 779421 w 9397013"/>
              <a:gd name="connsiteY14-1534" fmla="*/ 6125606 h 7134208"/>
              <a:gd name="connsiteX15-1535" fmla="*/ 1099910 w 9397013"/>
              <a:gd name="connsiteY15-1536" fmla="*/ 6831395 h 7134208"/>
              <a:gd name="connsiteX16-1537" fmla="*/ 919656 w 9397013"/>
              <a:gd name="connsiteY16-1538" fmla="*/ 6434435 h 7134208"/>
              <a:gd name="connsiteX17-1539" fmla="*/ 5641256 w 9397013"/>
              <a:gd name="connsiteY17-1540" fmla="*/ 212436 h 7134208"/>
              <a:gd name="connsiteX18-1541" fmla="*/ 6077099 w 9397013"/>
              <a:gd name="connsiteY18-1542" fmla="*/ 225638 h 7134208"/>
              <a:gd name="connsiteX19-1543" fmla="*/ 1099910 w 9397013"/>
              <a:gd name="connsiteY19-1544" fmla="*/ 6831395 h 7134208"/>
              <a:gd name="connsiteX20-1545" fmla="*/ 6958778 w 9397013"/>
              <a:gd name="connsiteY20-1546" fmla="*/ 7124971 h 7134208"/>
              <a:gd name="connsiteX21-1547" fmla="*/ 6560038 w 9397013"/>
              <a:gd name="connsiteY21-1548" fmla="*/ 7134207 h 7134208"/>
              <a:gd name="connsiteX22-1549" fmla="*/ 3849932 w 9397013"/>
              <a:gd name="connsiteY22-1550" fmla="*/ 3596670 h 7134208"/>
              <a:gd name="connsiteX23-1551" fmla="*/ 4086202 w 9397013"/>
              <a:gd name="connsiteY23-1552" fmla="*/ 3287229 h 7134208"/>
              <a:gd name="connsiteX24-1553" fmla="*/ 6958778 w 9397013"/>
              <a:gd name="connsiteY24-1554" fmla="*/ 7124971 h 7134208"/>
              <a:gd name="connsiteX25-1555" fmla="*/ 7777211 w 9397013"/>
              <a:gd name="connsiteY25-1556" fmla="*/ 7124972 h 7134208"/>
              <a:gd name="connsiteX26-1557" fmla="*/ 7324729 w 9397013"/>
              <a:gd name="connsiteY26-1558" fmla="*/ 7124972 h 7134208"/>
              <a:gd name="connsiteX27-1559" fmla="*/ 4245793 w 9397013"/>
              <a:gd name="connsiteY27-1560" fmla="*/ 3078214 h 7134208"/>
              <a:gd name="connsiteX28-1561" fmla="*/ 4490696 w 9397013"/>
              <a:gd name="connsiteY28-1562" fmla="*/ 2757469 h 7134208"/>
              <a:gd name="connsiteX29-1563" fmla="*/ 7777211 w 9397013"/>
              <a:gd name="connsiteY29-1564" fmla="*/ 7124972 h 7134208"/>
              <a:gd name="connsiteX30-1565" fmla="*/ 8567691 w 9397013"/>
              <a:gd name="connsiteY30-1566" fmla="*/ 7124971 h 7134208"/>
              <a:gd name="connsiteX31-1567" fmla="*/ 8159389 w 9397013"/>
              <a:gd name="connsiteY31-1568" fmla="*/ 7134208 h 7134208"/>
              <a:gd name="connsiteX32-1569" fmla="*/ 4650570 w 9397013"/>
              <a:gd name="connsiteY32-1570" fmla="*/ 2548084 h 7134208"/>
              <a:gd name="connsiteX33-1571" fmla="*/ 4869244 w 9397013"/>
              <a:gd name="connsiteY33-1572" fmla="*/ 2261689 h 7134208"/>
              <a:gd name="connsiteX34-1573" fmla="*/ 8567691 w 9397013"/>
              <a:gd name="connsiteY34-1574" fmla="*/ 7124971 h 7134208"/>
              <a:gd name="connsiteX35-1575" fmla="*/ 9397013 w 9397013"/>
              <a:gd name="connsiteY35-1576" fmla="*/ 7134207 h 7134208"/>
              <a:gd name="connsiteX36-1577" fmla="*/ 8921338 w 9397013"/>
              <a:gd name="connsiteY36-1578" fmla="*/ 7115735 h 7134208"/>
              <a:gd name="connsiteX37-1579" fmla="*/ 5045299 w 9397013"/>
              <a:gd name="connsiteY37-1580" fmla="*/ 2031113 h 7134208"/>
              <a:gd name="connsiteX38-1581" fmla="*/ 5273037 w 9397013"/>
              <a:gd name="connsiteY38-1582" fmla="*/ 1732846 h 7134208"/>
              <a:gd name="connsiteX39-1583" fmla="*/ 9397013 w 9397013"/>
              <a:gd name="connsiteY39-1584" fmla="*/ 7134207 h 7134208"/>
              <a:gd name="connsiteX0-1585" fmla="*/ 168369 w 9397013"/>
              <a:gd name="connsiteY0-1586" fmla="*/ 4779933 h 7134208"/>
              <a:gd name="connsiteX1-1587" fmla="*/ 0 w 9397013"/>
              <a:gd name="connsiteY1-1588" fmla="*/ 4409146 h 7134208"/>
              <a:gd name="connsiteX2-1589" fmla="*/ 3332806 w 9397013"/>
              <a:gd name="connsiteY2-1590" fmla="*/ 0 h 7134208"/>
              <a:gd name="connsiteX3-1591" fmla="*/ 3794560 w 9397013"/>
              <a:gd name="connsiteY3-1592" fmla="*/ 32861 h 7134208"/>
              <a:gd name="connsiteX4-1593" fmla="*/ 168369 w 9397013"/>
              <a:gd name="connsiteY4-1594" fmla="*/ 4779933 h 7134208"/>
              <a:gd name="connsiteX5-1595" fmla="*/ 488220 w 9397013"/>
              <a:gd name="connsiteY5-1596" fmla="*/ 5484315 h 7134208"/>
              <a:gd name="connsiteX6-1597" fmla="*/ 299082 w 9397013"/>
              <a:gd name="connsiteY6-1598" fmla="*/ 5067791 h 7134208"/>
              <a:gd name="connsiteX7-1599" fmla="*/ 3977147 w 9397013"/>
              <a:gd name="connsiteY7-1600" fmla="*/ 212075 h 7134208"/>
              <a:gd name="connsiteX8-1601" fmla="*/ 4465006 w 9397013"/>
              <a:gd name="connsiteY8-1602" fmla="*/ 209192 h 7134208"/>
              <a:gd name="connsiteX9-1603" fmla="*/ 488220 w 9397013"/>
              <a:gd name="connsiteY9-1604" fmla="*/ 5484315 h 7134208"/>
              <a:gd name="connsiteX10-1605" fmla="*/ 779421 w 9397013"/>
              <a:gd name="connsiteY10-1606" fmla="*/ 6125606 h 7134208"/>
              <a:gd name="connsiteX11-1607" fmla="*/ 618065 w 9397013"/>
              <a:gd name="connsiteY11-1608" fmla="*/ 5770263 h 7134208"/>
              <a:gd name="connsiteX12-1609" fmla="*/ 4805164 w 9397013"/>
              <a:gd name="connsiteY12-1610" fmla="*/ 212954 h 7134208"/>
              <a:gd name="connsiteX13-1611" fmla="*/ 5260238 w 9397013"/>
              <a:gd name="connsiteY13-1612" fmla="*/ 234131 h 7134208"/>
              <a:gd name="connsiteX14-1613" fmla="*/ 779421 w 9397013"/>
              <a:gd name="connsiteY14-1614" fmla="*/ 6125606 h 7134208"/>
              <a:gd name="connsiteX15-1615" fmla="*/ 1099910 w 9397013"/>
              <a:gd name="connsiteY15-1616" fmla="*/ 6831395 h 7134208"/>
              <a:gd name="connsiteX16-1617" fmla="*/ 919656 w 9397013"/>
              <a:gd name="connsiteY16-1618" fmla="*/ 6434435 h 7134208"/>
              <a:gd name="connsiteX17-1619" fmla="*/ 5641256 w 9397013"/>
              <a:gd name="connsiteY17-1620" fmla="*/ 212436 h 7134208"/>
              <a:gd name="connsiteX18-1621" fmla="*/ 6077099 w 9397013"/>
              <a:gd name="connsiteY18-1622" fmla="*/ 225638 h 7134208"/>
              <a:gd name="connsiteX19-1623" fmla="*/ 1099910 w 9397013"/>
              <a:gd name="connsiteY19-1624" fmla="*/ 6831395 h 7134208"/>
              <a:gd name="connsiteX20-1625" fmla="*/ 6958778 w 9397013"/>
              <a:gd name="connsiteY20-1626" fmla="*/ 7124971 h 7134208"/>
              <a:gd name="connsiteX21-1627" fmla="*/ 6560038 w 9397013"/>
              <a:gd name="connsiteY21-1628" fmla="*/ 7134207 h 7134208"/>
              <a:gd name="connsiteX22-1629" fmla="*/ 3849932 w 9397013"/>
              <a:gd name="connsiteY22-1630" fmla="*/ 3596670 h 7134208"/>
              <a:gd name="connsiteX23-1631" fmla="*/ 4086202 w 9397013"/>
              <a:gd name="connsiteY23-1632" fmla="*/ 3287229 h 7134208"/>
              <a:gd name="connsiteX24-1633" fmla="*/ 6958778 w 9397013"/>
              <a:gd name="connsiteY24-1634" fmla="*/ 7124971 h 7134208"/>
              <a:gd name="connsiteX25-1635" fmla="*/ 7777211 w 9397013"/>
              <a:gd name="connsiteY25-1636" fmla="*/ 7124972 h 7134208"/>
              <a:gd name="connsiteX26-1637" fmla="*/ 7324729 w 9397013"/>
              <a:gd name="connsiteY26-1638" fmla="*/ 7124972 h 7134208"/>
              <a:gd name="connsiteX27-1639" fmla="*/ 4245793 w 9397013"/>
              <a:gd name="connsiteY27-1640" fmla="*/ 3078214 h 7134208"/>
              <a:gd name="connsiteX28-1641" fmla="*/ 4490696 w 9397013"/>
              <a:gd name="connsiteY28-1642" fmla="*/ 2757469 h 7134208"/>
              <a:gd name="connsiteX29-1643" fmla="*/ 7777211 w 9397013"/>
              <a:gd name="connsiteY29-1644" fmla="*/ 7124972 h 7134208"/>
              <a:gd name="connsiteX30-1645" fmla="*/ 8567691 w 9397013"/>
              <a:gd name="connsiteY30-1646" fmla="*/ 7124971 h 7134208"/>
              <a:gd name="connsiteX31-1647" fmla="*/ 8159389 w 9397013"/>
              <a:gd name="connsiteY31-1648" fmla="*/ 7134208 h 7134208"/>
              <a:gd name="connsiteX32-1649" fmla="*/ 4650570 w 9397013"/>
              <a:gd name="connsiteY32-1650" fmla="*/ 2548084 h 7134208"/>
              <a:gd name="connsiteX33-1651" fmla="*/ 4869244 w 9397013"/>
              <a:gd name="connsiteY33-1652" fmla="*/ 2261689 h 7134208"/>
              <a:gd name="connsiteX34-1653" fmla="*/ 8567691 w 9397013"/>
              <a:gd name="connsiteY34-1654" fmla="*/ 7124971 h 7134208"/>
              <a:gd name="connsiteX35-1655" fmla="*/ 9397013 w 9397013"/>
              <a:gd name="connsiteY35-1656" fmla="*/ 7134207 h 7134208"/>
              <a:gd name="connsiteX36-1657" fmla="*/ 8921338 w 9397013"/>
              <a:gd name="connsiteY36-1658" fmla="*/ 7115735 h 7134208"/>
              <a:gd name="connsiteX37-1659" fmla="*/ 5045299 w 9397013"/>
              <a:gd name="connsiteY37-1660" fmla="*/ 2031113 h 7134208"/>
              <a:gd name="connsiteX38-1661" fmla="*/ 5273037 w 9397013"/>
              <a:gd name="connsiteY38-1662" fmla="*/ 1732846 h 7134208"/>
              <a:gd name="connsiteX39-1663" fmla="*/ 9397013 w 9397013"/>
              <a:gd name="connsiteY39-1664" fmla="*/ 7134207 h 7134208"/>
              <a:gd name="connsiteX0-1665" fmla="*/ 168369 w 9397013"/>
              <a:gd name="connsiteY0-1666" fmla="*/ 4779933 h 7134208"/>
              <a:gd name="connsiteX1-1667" fmla="*/ 0 w 9397013"/>
              <a:gd name="connsiteY1-1668" fmla="*/ 4409146 h 7134208"/>
              <a:gd name="connsiteX2-1669" fmla="*/ 3332806 w 9397013"/>
              <a:gd name="connsiteY2-1670" fmla="*/ 0 h 7134208"/>
              <a:gd name="connsiteX3-1671" fmla="*/ 3628305 w 9397013"/>
              <a:gd name="connsiteY3-1672" fmla="*/ 208352 h 7134208"/>
              <a:gd name="connsiteX4-1673" fmla="*/ 168369 w 9397013"/>
              <a:gd name="connsiteY4-1674" fmla="*/ 4779933 h 7134208"/>
              <a:gd name="connsiteX5-1675" fmla="*/ 488220 w 9397013"/>
              <a:gd name="connsiteY5-1676" fmla="*/ 5484315 h 7134208"/>
              <a:gd name="connsiteX6-1677" fmla="*/ 299082 w 9397013"/>
              <a:gd name="connsiteY6-1678" fmla="*/ 5067791 h 7134208"/>
              <a:gd name="connsiteX7-1679" fmla="*/ 3977147 w 9397013"/>
              <a:gd name="connsiteY7-1680" fmla="*/ 212075 h 7134208"/>
              <a:gd name="connsiteX8-1681" fmla="*/ 4465006 w 9397013"/>
              <a:gd name="connsiteY8-1682" fmla="*/ 209192 h 7134208"/>
              <a:gd name="connsiteX9-1683" fmla="*/ 488220 w 9397013"/>
              <a:gd name="connsiteY9-1684" fmla="*/ 5484315 h 7134208"/>
              <a:gd name="connsiteX10-1685" fmla="*/ 779421 w 9397013"/>
              <a:gd name="connsiteY10-1686" fmla="*/ 6125606 h 7134208"/>
              <a:gd name="connsiteX11-1687" fmla="*/ 618065 w 9397013"/>
              <a:gd name="connsiteY11-1688" fmla="*/ 5770263 h 7134208"/>
              <a:gd name="connsiteX12-1689" fmla="*/ 4805164 w 9397013"/>
              <a:gd name="connsiteY12-1690" fmla="*/ 212954 h 7134208"/>
              <a:gd name="connsiteX13-1691" fmla="*/ 5260238 w 9397013"/>
              <a:gd name="connsiteY13-1692" fmla="*/ 234131 h 7134208"/>
              <a:gd name="connsiteX14-1693" fmla="*/ 779421 w 9397013"/>
              <a:gd name="connsiteY14-1694" fmla="*/ 6125606 h 7134208"/>
              <a:gd name="connsiteX15-1695" fmla="*/ 1099910 w 9397013"/>
              <a:gd name="connsiteY15-1696" fmla="*/ 6831395 h 7134208"/>
              <a:gd name="connsiteX16-1697" fmla="*/ 919656 w 9397013"/>
              <a:gd name="connsiteY16-1698" fmla="*/ 6434435 h 7134208"/>
              <a:gd name="connsiteX17-1699" fmla="*/ 5641256 w 9397013"/>
              <a:gd name="connsiteY17-1700" fmla="*/ 212436 h 7134208"/>
              <a:gd name="connsiteX18-1701" fmla="*/ 6077099 w 9397013"/>
              <a:gd name="connsiteY18-1702" fmla="*/ 225638 h 7134208"/>
              <a:gd name="connsiteX19-1703" fmla="*/ 1099910 w 9397013"/>
              <a:gd name="connsiteY19-1704" fmla="*/ 6831395 h 7134208"/>
              <a:gd name="connsiteX20-1705" fmla="*/ 6958778 w 9397013"/>
              <a:gd name="connsiteY20-1706" fmla="*/ 7124971 h 7134208"/>
              <a:gd name="connsiteX21-1707" fmla="*/ 6560038 w 9397013"/>
              <a:gd name="connsiteY21-1708" fmla="*/ 7134207 h 7134208"/>
              <a:gd name="connsiteX22-1709" fmla="*/ 3849932 w 9397013"/>
              <a:gd name="connsiteY22-1710" fmla="*/ 3596670 h 7134208"/>
              <a:gd name="connsiteX23-1711" fmla="*/ 4086202 w 9397013"/>
              <a:gd name="connsiteY23-1712" fmla="*/ 3287229 h 7134208"/>
              <a:gd name="connsiteX24-1713" fmla="*/ 6958778 w 9397013"/>
              <a:gd name="connsiteY24-1714" fmla="*/ 7124971 h 7134208"/>
              <a:gd name="connsiteX25-1715" fmla="*/ 7777211 w 9397013"/>
              <a:gd name="connsiteY25-1716" fmla="*/ 7124972 h 7134208"/>
              <a:gd name="connsiteX26-1717" fmla="*/ 7324729 w 9397013"/>
              <a:gd name="connsiteY26-1718" fmla="*/ 7124972 h 7134208"/>
              <a:gd name="connsiteX27-1719" fmla="*/ 4245793 w 9397013"/>
              <a:gd name="connsiteY27-1720" fmla="*/ 3078214 h 7134208"/>
              <a:gd name="connsiteX28-1721" fmla="*/ 4490696 w 9397013"/>
              <a:gd name="connsiteY28-1722" fmla="*/ 2757469 h 7134208"/>
              <a:gd name="connsiteX29-1723" fmla="*/ 7777211 w 9397013"/>
              <a:gd name="connsiteY29-1724" fmla="*/ 7124972 h 7134208"/>
              <a:gd name="connsiteX30-1725" fmla="*/ 8567691 w 9397013"/>
              <a:gd name="connsiteY30-1726" fmla="*/ 7124971 h 7134208"/>
              <a:gd name="connsiteX31-1727" fmla="*/ 8159389 w 9397013"/>
              <a:gd name="connsiteY31-1728" fmla="*/ 7134208 h 7134208"/>
              <a:gd name="connsiteX32-1729" fmla="*/ 4650570 w 9397013"/>
              <a:gd name="connsiteY32-1730" fmla="*/ 2548084 h 7134208"/>
              <a:gd name="connsiteX33-1731" fmla="*/ 4869244 w 9397013"/>
              <a:gd name="connsiteY33-1732" fmla="*/ 2261689 h 7134208"/>
              <a:gd name="connsiteX34-1733" fmla="*/ 8567691 w 9397013"/>
              <a:gd name="connsiteY34-1734" fmla="*/ 7124971 h 7134208"/>
              <a:gd name="connsiteX35-1735" fmla="*/ 9397013 w 9397013"/>
              <a:gd name="connsiteY35-1736" fmla="*/ 7134207 h 7134208"/>
              <a:gd name="connsiteX36-1737" fmla="*/ 8921338 w 9397013"/>
              <a:gd name="connsiteY36-1738" fmla="*/ 7115735 h 7134208"/>
              <a:gd name="connsiteX37-1739" fmla="*/ 5045299 w 9397013"/>
              <a:gd name="connsiteY37-1740" fmla="*/ 2031113 h 7134208"/>
              <a:gd name="connsiteX38-1741" fmla="*/ 5273037 w 9397013"/>
              <a:gd name="connsiteY38-1742" fmla="*/ 1732846 h 7134208"/>
              <a:gd name="connsiteX39-1743" fmla="*/ 9397013 w 9397013"/>
              <a:gd name="connsiteY39-1744" fmla="*/ 7134207 h 7134208"/>
              <a:gd name="connsiteX0-1745" fmla="*/ 168369 w 9397013"/>
              <a:gd name="connsiteY0-1746" fmla="*/ 4571581 h 6925856"/>
              <a:gd name="connsiteX1-1747" fmla="*/ 0 w 9397013"/>
              <a:gd name="connsiteY1-1748" fmla="*/ 4200794 h 6925856"/>
              <a:gd name="connsiteX2-1749" fmla="*/ 3175788 w 9397013"/>
              <a:gd name="connsiteY2-1750" fmla="*/ 4084 h 6925856"/>
              <a:gd name="connsiteX3-1751" fmla="*/ 3628305 w 9397013"/>
              <a:gd name="connsiteY3-1752" fmla="*/ 0 h 6925856"/>
              <a:gd name="connsiteX4-1753" fmla="*/ 168369 w 9397013"/>
              <a:gd name="connsiteY4-1754" fmla="*/ 4571581 h 6925856"/>
              <a:gd name="connsiteX5-1755" fmla="*/ 488220 w 9397013"/>
              <a:gd name="connsiteY5-1756" fmla="*/ 5275963 h 6925856"/>
              <a:gd name="connsiteX6-1757" fmla="*/ 299082 w 9397013"/>
              <a:gd name="connsiteY6-1758" fmla="*/ 4859439 h 6925856"/>
              <a:gd name="connsiteX7-1759" fmla="*/ 3977147 w 9397013"/>
              <a:gd name="connsiteY7-1760" fmla="*/ 3723 h 6925856"/>
              <a:gd name="connsiteX8-1761" fmla="*/ 4465006 w 9397013"/>
              <a:gd name="connsiteY8-1762" fmla="*/ 840 h 6925856"/>
              <a:gd name="connsiteX9-1763" fmla="*/ 488220 w 9397013"/>
              <a:gd name="connsiteY9-1764" fmla="*/ 5275963 h 6925856"/>
              <a:gd name="connsiteX10-1765" fmla="*/ 779421 w 9397013"/>
              <a:gd name="connsiteY10-1766" fmla="*/ 5917254 h 6925856"/>
              <a:gd name="connsiteX11-1767" fmla="*/ 618065 w 9397013"/>
              <a:gd name="connsiteY11-1768" fmla="*/ 5561911 h 6925856"/>
              <a:gd name="connsiteX12-1769" fmla="*/ 4805164 w 9397013"/>
              <a:gd name="connsiteY12-1770" fmla="*/ 4602 h 6925856"/>
              <a:gd name="connsiteX13-1771" fmla="*/ 5260238 w 9397013"/>
              <a:gd name="connsiteY13-1772" fmla="*/ 25779 h 6925856"/>
              <a:gd name="connsiteX14-1773" fmla="*/ 779421 w 9397013"/>
              <a:gd name="connsiteY14-1774" fmla="*/ 5917254 h 6925856"/>
              <a:gd name="connsiteX15-1775" fmla="*/ 1099910 w 9397013"/>
              <a:gd name="connsiteY15-1776" fmla="*/ 6623043 h 6925856"/>
              <a:gd name="connsiteX16-1777" fmla="*/ 919656 w 9397013"/>
              <a:gd name="connsiteY16-1778" fmla="*/ 6226083 h 6925856"/>
              <a:gd name="connsiteX17-1779" fmla="*/ 5641256 w 9397013"/>
              <a:gd name="connsiteY17-1780" fmla="*/ 4084 h 6925856"/>
              <a:gd name="connsiteX18-1781" fmla="*/ 6077099 w 9397013"/>
              <a:gd name="connsiteY18-1782" fmla="*/ 17286 h 6925856"/>
              <a:gd name="connsiteX19-1783" fmla="*/ 1099910 w 9397013"/>
              <a:gd name="connsiteY19-1784" fmla="*/ 6623043 h 6925856"/>
              <a:gd name="connsiteX20-1785" fmla="*/ 6958778 w 9397013"/>
              <a:gd name="connsiteY20-1786" fmla="*/ 6916619 h 6925856"/>
              <a:gd name="connsiteX21-1787" fmla="*/ 6560038 w 9397013"/>
              <a:gd name="connsiteY21-1788" fmla="*/ 6925855 h 6925856"/>
              <a:gd name="connsiteX22-1789" fmla="*/ 3849932 w 9397013"/>
              <a:gd name="connsiteY22-1790" fmla="*/ 3388318 h 6925856"/>
              <a:gd name="connsiteX23-1791" fmla="*/ 4086202 w 9397013"/>
              <a:gd name="connsiteY23-1792" fmla="*/ 3078877 h 6925856"/>
              <a:gd name="connsiteX24-1793" fmla="*/ 6958778 w 9397013"/>
              <a:gd name="connsiteY24-1794" fmla="*/ 6916619 h 6925856"/>
              <a:gd name="connsiteX25-1795" fmla="*/ 7777211 w 9397013"/>
              <a:gd name="connsiteY25-1796" fmla="*/ 6916620 h 6925856"/>
              <a:gd name="connsiteX26-1797" fmla="*/ 7324729 w 9397013"/>
              <a:gd name="connsiteY26-1798" fmla="*/ 6916620 h 6925856"/>
              <a:gd name="connsiteX27-1799" fmla="*/ 4245793 w 9397013"/>
              <a:gd name="connsiteY27-1800" fmla="*/ 2869862 h 6925856"/>
              <a:gd name="connsiteX28-1801" fmla="*/ 4490696 w 9397013"/>
              <a:gd name="connsiteY28-1802" fmla="*/ 2549117 h 6925856"/>
              <a:gd name="connsiteX29-1803" fmla="*/ 7777211 w 9397013"/>
              <a:gd name="connsiteY29-1804" fmla="*/ 6916620 h 6925856"/>
              <a:gd name="connsiteX30-1805" fmla="*/ 8567691 w 9397013"/>
              <a:gd name="connsiteY30-1806" fmla="*/ 6916619 h 6925856"/>
              <a:gd name="connsiteX31-1807" fmla="*/ 8159389 w 9397013"/>
              <a:gd name="connsiteY31-1808" fmla="*/ 6925856 h 6925856"/>
              <a:gd name="connsiteX32-1809" fmla="*/ 4650570 w 9397013"/>
              <a:gd name="connsiteY32-1810" fmla="*/ 2339732 h 6925856"/>
              <a:gd name="connsiteX33-1811" fmla="*/ 4869244 w 9397013"/>
              <a:gd name="connsiteY33-1812" fmla="*/ 2053337 h 6925856"/>
              <a:gd name="connsiteX34-1813" fmla="*/ 8567691 w 9397013"/>
              <a:gd name="connsiteY34-1814" fmla="*/ 6916619 h 6925856"/>
              <a:gd name="connsiteX35-1815" fmla="*/ 9397013 w 9397013"/>
              <a:gd name="connsiteY35-1816" fmla="*/ 6925855 h 6925856"/>
              <a:gd name="connsiteX36-1817" fmla="*/ 8921338 w 9397013"/>
              <a:gd name="connsiteY36-1818" fmla="*/ 6907383 h 6925856"/>
              <a:gd name="connsiteX37-1819" fmla="*/ 5045299 w 9397013"/>
              <a:gd name="connsiteY37-1820" fmla="*/ 1822761 h 6925856"/>
              <a:gd name="connsiteX38-1821" fmla="*/ 5273037 w 9397013"/>
              <a:gd name="connsiteY38-1822" fmla="*/ 1524494 h 6925856"/>
              <a:gd name="connsiteX39-1823" fmla="*/ 9397013 w 9397013"/>
              <a:gd name="connsiteY39-1824" fmla="*/ 6925855 h 6925856"/>
              <a:gd name="connsiteX0-1825" fmla="*/ 168369 w 9397013"/>
              <a:gd name="connsiteY0-1826" fmla="*/ 4571581 h 6925856"/>
              <a:gd name="connsiteX1-1827" fmla="*/ 0 w 9397013"/>
              <a:gd name="connsiteY1-1828" fmla="*/ 4200794 h 6925856"/>
              <a:gd name="connsiteX2-1829" fmla="*/ 3175788 w 9397013"/>
              <a:gd name="connsiteY2-1830" fmla="*/ 4084 h 6925856"/>
              <a:gd name="connsiteX3-1831" fmla="*/ 3628305 w 9397013"/>
              <a:gd name="connsiteY3-1832" fmla="*/ 0 h 6925856"/>
              <a:gd name="connsiteX4-1833" fmla="*/ 168369 w 9397013"/>
              <a:gd name="connsiteY4-1834" fmla="*/ 4571581 h 6925856"/>
              <a:gd name="connsiteX5-1835" fmla="*/ 488220 w 9397013"/>
              <a:gd name="connsiteY5-1836" fmla="*/ 5275963 h 6925856"/>
              <a:gd name="connsiteX6-1837" fmla="*/ 299082 w 9397013"/>
              <a:gd name="connsiteY6-1838" fmla="*/ 4859439 h 6925856"/>
              <a:gd name="connsiteX7-1839" fmla="*/ 3977147 w 9397013"/>
              <a:gd name="connsiteY7-1840" fmla="*/ 3723 h 6925856"/>
              <a:gd name="connsiteX8-1841" fmla="*/ 4465006 w 9397013"/>
              <a:gd name="connsiteY8-1842" fmla="*/ 840 h 6925856"/>
              <a:gd name="connsiteX9-1843" fmla="*/ 488220 w 9397013"/>
              <a:gd name="connsiteY9-1844" fmla="*/ 5275963 h 6925856"/>
              <a:gd name="connsiteX10-1845" fmla="*/ 779421 w 9397013"/>
              <a:gd name="connsiteY10-1846" fmla="*/ 5917254 h 6925856"/>
              <a:gd name="connsiteX11-1847" fmla="*/ 618065 w 9397013"/>
              <a:gd name="connsiteY11-1848" fmla="*/ 5561911 h 6925856"/>
              <a:gd name="connsiteX12-1849" fmla="*/ 4805164 w 9397013"/>
              <a:gd name="connsiteY12-1850" fmla="*/ 4602 h 6925856"/>
              <a:gd name="connsiteX13-1851" fmla="*/ 5260238 w 9397013"/>
              <a:gd name="connsiteY13-1852" fmla="*/ 25779 h 6925856"/>
              <a:gd name="connsiteX14-1853" fmla="*/ 779421 w 9397013"/>
              <a:gd name="connsiteY14-1854" fmla="*/ 5917254 h 6925856"/>
              <a:gd name="connsiteX15-1855" fmla="*/ 1598673 w 9397013"/>
              <a:gd name="connsiteY15-1856" fmla="*/ 5976498 h 6925856"/>
              <a:gd name="connsiteX16-1857" fmla="*/ 919656 w 9397013"/>
              <a:gd name="connsiteY16-1858" fmla="*/ 6226083 h 6925856"/>
              <a:gd name="connsiteX17-1859" fmla="*/ 5641256 w 9397013"/>
              <a:gd name="connsiteY17-1860" fmla="*/ 4084 h 6925856"/>
              <a:gd name="connsiteX18-1861" fmla="*/ 6077099 w 9397013"/>
              <a:gd name="connsiteY18-1862" fmla="*/ 17286 h 6925856"/>
              <a:gd name="connsiteX19-1863" fmla="*/ 1598673 w 9397013"/>
              <a:gd name="connsiteY19-1864" fmla="*/ 5976498 h 6925856"/>
              <a:gd name="connsiteX20-1865" fmla="*/ 6958778 w 9397013"/>
              <a:gd name="connsiteY20-1866" fmla="*/ 6916619 h 6925856"/>
              <a:gd name="connsiteX21-1867" fmla="*/ 6560038 w 9397013"/>
              <a:gd name="connsiteY21-1868" fmla="*/ 6925855 h 6925856"/>
              <a:gd name="connsiteX22-1869" fmla="*/ 3849932 w 9397013"/>
              <a:gd name="connsiteY22-1870" fmla="*/ 3388318 h 6925856"/>
              <a:gd name="connsiteX23-1871" fmla="*/ 4086202 w 9397013"/>
              <a:gd name="connsiteY23-1872" fmla="*/ 3078877 h 6925856"/>
              <a:gd name="connsiteX24-1873" fmla="*/ 6958778 w 9397013"/>
              <a:gd name="connsiteY24-1874" fmla="*/ 6916619 h 6925856"/>
              <a:gd name="connsiteX25-1875" fmla="*/ 7777211 w 9397013"/>
              <a:gd name="connsiteY25-1876" fmla="*/ 6916620 h 6925856"/>
              <a:gd name="connsiteX26-1877" fmla="*/ 7324729 w 9397013"/>
              <a:gd name="connsiteY26-1878" fmla="*/ 6916620 h 6925856"/>
              <a:gd name="connsiteX27-1879" fmla="*/ 4245793 w 9397013"/>
              <a:gd name="connsiteY27-1880" fmla="*/ 2869862 h 6925856"/>
              <a:gd name="connsiteX28-1881" fmla="*/ 4490696 w 9397013"/>
              <a:gd name="connsiteY28-1882" fmla="*/ 2549117 h 6925856"/>
              <a:gd name="connsiteX29-1883" fmla="*/ 7777211 w 9397013"/>
              <a:gd name="connsiteY29-1884" fmla="*/ 6916620 h 6925856"/>
              <a:gd name="connsiteX30-1885" fmla="*/ 8567691 w 9397013"/>
              <a:gd name="connsiteY30-1886" fmla="*/ 6916619 h 6925856"/>
              <a:gd name="connsiteX31-1887" fmla="*/ 8159389 w 9397013"/>
              <a:gd name="connsiteY31-1888" fmla="*/ 6925856 h 6925856"/>
              <a:gd name="connsiteX32-1889" fmla="*/ 4650570 w 9397013"/>
              <a:gd name="connsiteY32-1890" fmla="*/ 2339732 h 6925856"/>
              <a:gd name="connsiteX33-1891" fmla="*/ 4869244 w 9397013"/>
              <a:gd name="connsiteY33-1892" fmla="*/ 2053337 h 6925856"/>
              <a:gd name="connsiteX34-1893" fmla="*/ 8567691 w 9397013"/>
              <a:gd name="connsiteY34-1894" fmla="*/ 6916619 h 6925856"/>
              <a:gd name="connsiteX35-1895" fmla="*/ 9397013 w 9397013"/>
              <a:gd name="connsiteY35-1896" fmla="*/ 6925855 h 6925856"/>
              <a:gd name="connsiteX36-1897" fmla="*/ 8921338 w 9397013"/>
              <a:gd name="connsiteY36-1898" fmla="*/ 6907383 h 6925856"/>
              <a:gd name="connsiteX37-1899" fmla="*/ 5045299 w 9397013"/>
              <a:gd name="connsiteY37-1900" fmla="*/ 1822761 h 6925856"/>
              <a:gd name="connsiteX38-1901" fmla="*/ 5273037 w 9397013"/>
              <a:gd name="connsiteY38-1902" fmla="*/ 1524494 h 6925856"/>
              <a:gd name="connsiteX39-1903" fmla="*/ 9397013 w 9397013"/>
              <a:gd name="connsiteY39-1904" fmla="*/ 6925855 h 6925856"/>
              <a:gd name="connsiteX0-1905" fmla="*/ 168369 w 9397013"/>
              <a:gd name="connsiteY0-1906" fmla="*/ 4571581 h 6925856"/>
              <a:gd name="connsiteX1-1907" fmla="*/ 0 w 9397013"/>
              <a:gd name="connsiteY1-1908" fmla="*/ 4200794 h 6925856"/>
              <a:gd name="connsiteX2-1909" fmla="*/ 3175788 w 9397013"/>
              <a:gd name="connsiteY2-1910" fmla="*/ 4084 h 6925856"/>
              <a:gd name="connsiteX3-1911" fmla="*/ 3628305 w 9397013"/>
              <a:gd name="connsiteY3-1912" fmla="*/ 0 h 6925856"/>
              <a:gd name="connsiteX4-1913" fmla="*/ 168369 w 9397013"/>
              <a:gd name="connsiteY4-1914" fmla="*/ 4571581 h 6925856"/>
              <a:gd name="connsiteX5-1915" fmla="*/ 488220 w 9397013"/>
              <a:gd name="connsiteY5-1916" fmla="*/ 5275963 h 6925856"/>
              <a:gd name="connsiteX6-1917" fmla="*/ 299082 w 9397013"/>
              <a:gd name="connsiteY6-1918" fmla="*/ 4859439 h 6925856"/>
              <a:gd name="connsiteX7-1919" fmla="*/ 3977147 w 9397013"/>
              <a:gd name="connsiteY7-1920" fmla="*/ 3723 h 6925856"/>
              <a:gd name="connsiteX8-1921" fmla="*/ 4465006 w 9397013"/>
              <a:gd name="connsiteY8-1922" fmla="*/ 840 h 6925856"/>
              <a:gd name="connsiteX9-1923" fmla="*/ 488220 w 9397013"/>
              <a:gd name="connsiteY9-1924" fmla="*/ 5275963 h 6925856"/>
              <a:gd name="connsiteX10-1925" fmla="*/ 779421 w 9397013"/>
              <a:gd name="connsiteY10-1926" fmla="*/ 5917254 h 6925856"/>
              <a:gd name="connsiteX11-1927" fmla="*/ 618065 w 9397013"/>
              <a:gd name="connsiteY11-1928" fmla="*/ 5561911 h 6925856"/>
              <a:gd name="connsiteX12-1929" fmla="*/ 4805164 w 9397013"/>
              <a:gd name="connsiteY12-1930" fmla="*/ 4602 h 6925856"/>
              <a:gd name="connsiteX13-1931" fmla="*/ 5260238 w 9397013"/>
              <a:gd name="connsiteY13-1932" fmla="*/ 25779 h 6925856"/>
              <a:gd name="connsiteX14-1933" fmla="*/ 779421 w 9397013"/>
              <a:gd name="connsiteY14-1934" fmla="*/ 5917254 h 6925856"/>
              <a:gd name="connsiteX15-1935" fmla="*/ 1598673 w 9397013"/>
              <a:gd name="connsiteY15-1936" fmla="*/ 5976498 h 6925856"/>
              <a:gd name="connsiteX16-1937" fmla="*/ 1566201 w 9397013"/>
              <a:gd name="connsiteY16-1938" fmla="*/ 5394811 h 6925856"/>
              <a:gd name="connsiteX17-1939" fmla="*/ 5641256 w 9397013"/>
              <a:gd name="connsiteY17-1940" fmla="*/ 4084 h 6925856"/>
              <a:gd name="connsiteX18-1941" fmla="*/ 6077099 w 9397013"/>
              <a:gd name="connsiteY18-1942" fmla="*/ 17286 h 6925856"/>
              <a:gd name="connsiteX19-1943" fmla="*/ 1598673 w 9397013"/>
              <a:gd name="connsiteY19-1944" fmla="*/ 5976498 h 6925856"/>
              <a:gd name="connsiteX20-1945" fmla="*/ 6958778 w 9397013"/>
              <a:gd name="connsiteY20-1946" fmla="*/ 6916619 h 6925856"/>
              <a:gd name="connsiteX21-1947" fmla="*/ 6560038 w 9397013"/>
              <a:gd name="connsiteY21-1948" fmla="*/ 6925855 h 6925856"/>
              <a:gd name="connsiteX22-1949" fmla="*/ 3849932 w 9397013"/>
              <a:gd name="connsiteY22-1950" fmla="*/ 3388318 h 6925856"/>
              <a:gd name="connsiteX23-1951" fmla="*/ 4086202 w 9397013"/>
              <a:gd name="connsiteY23-1952" fmla="*/ 3078877 h 6925856"/>
              <a:gd name="connsiteX24-1953" fmla="*/ 6958778 w 9397013"/>
              <a:gd name="connsiteY24-1954" fmla="*/ 6916619 h 6925856"/>
              <a:gd name="connsiteX25-1955" fmla="*/ 7777211 w 9397013"/>
              <a:gd name="connsiteY25-1956" fmla="*/ 6916620 h 6925856"/>
              <a:gd name="connsiteX26-1957" fmla="*/ 7324729 w 9397013"/>
              <a:gd name="connsiteY26-1958" fmla="*/ 6916620 h 6925856"/>
              <a:gd name="connsiteX27-1959" fmla="*/ 4245793 w 9397013"/>
              <a:gd name="connsiteY27-1960" fmla="*/ 2869862 h 6925856"/>
              <a:gd name="connsiteX28-1961" fmla="*/ 4490696 w 9397013"/>
              <a:gd name="connsiteY28-1962" fmla="*/ 2549117 h 6925856"/>
              <a:gd name="connsiteX29-1963" fmla="*/ 7777211 w 9397013"/>
              <a:gd name="connsiteY29-1964" fmla="*/ 6916620 h 6925856"/>
              <a:gd name="connsiteX30-1965" fmla="*/ 8567691 w 9397013"/>
              <a:gd name="connsiteY30-1966" fmla="*/ 6916619 h 6925856"/>
              <a:gd name="connsiteX31-1967" fmla="*/ 8159389 w 9397013"/>
              <a:gd name="connsiteY31-1968" fmla="*/ 6925856 h 6925856"/>
              <a:gd name="connsiteX32-1969" fmla="*/ 4650570 w 9397013"/>
              <a:gd name="connsiteY32-1970" fmla="*/ 2339732 h 6925856"/>
              <a:gd name="connsiteX33-1971" fmla="*/ 4869244 w 9397013"/>
              <a:gd name="connsiteY33-1972" fmla="*/ 2053337 h 6925856"/>
              <a:gd name="connsiteX34-1973" fmla="*/ 8567691 w 9397013"/>
              <a:gd name="connsiteY34-1974" fmla="*/ 6916619 h 6925856"/>
              <a:gd name="connsiteX35-1975" fmla="*/ 9397013 w 9397013"/>
              <a:gd name="connsiteY35-1976" fmla="*/ 6925855 h 6925856"/>
              <a:gd name="connsiteX36-1977" fmla="*/ 8921338 w 9397013"/>
              <a:gd name="connsiteY36-1978" fmla="*/ 6907383 h 6925856"/>
              <a:gd name="connsiteX37-1979" fmla="*/ 5045299 w 9397013"/>
              <a:gd name="connsiteY37-1980" fmla="*/ 1822761 h 6925856"/>
              <a:gd name="connsiteX38-1981" fmla="*/ 5273037 w 9397013"/>
              <a:gd name="connsiteY38-1982" fmla="*/ 1524494 h 6925856"/>
              <a:gd name="connsiteX39-1983" fmla="*/ 9397013 w 9397013"/>
              <a:gd name="connsiteY39-1984" fmla="*/ 6925855 h 6925856"/>
              <a:gd name="connsiteX0-1985" fmla="*/ 168369 w 9397013"/>
              <a:gd name="connsiteY0-1986" fmla="*/ 4571581 h 6925856"/>
              <a:gd name="connsiteX1-1987" fmla="*/ 0 w 9397013"/>
              <a:gd name="connsiteY1-1988" fmla="*/ 4200794 h 6925856"/>
              <a:gd name="connsiteX2-1989" fmla="*/ 3175788 w 9397013"/>
              <a:gd name="connsiteY2-1990" fmla="*/ 4084 h 6925856"/>
              <a:gd name="connsiteX3-1991" fmla="*/ 3628305 w 9397013"/>
              <a:gd name="connsiteY3-1992" fmla="*/ 0 h 6925856"/>
              <a:gd name="connsiteX4-1993" fmla="*/ 168369 w 9397013"/>
              <a:gd name="connsiteY4-1994" fmla="*/ 4571581 h 6925856"/>
              <a:gd name="connsiteX5-1995" fmla="*/ 488220 w 9397013"/>
              <a:gd name="connsiteY5-1996" fmla="*/ 5275963 h 6925856"/>
              <a:gd name="connsiteX6-1997" fmla="*/ 299082 w 9397013"/>
              <a:gd name="connsiteY6-1998" fmla="*/ 4859439 h 6925856"/>
              <a:gd name="connsiteX7-1999" fmla="*/ 3977147 w 9397013"/>
              <a:gd name="connsiteY7-2000" fmla="*/ 3723 h 6925856"/>
              <a:gd name="connsiteX8-2001" fmla="*/ 4465006 w 9397013"/>
              <a:gd name="connsiteY8-2002" fmla="*/ 840 h 6925856"/>
              <a:gd name="connsiteX9-2003" fmla="*/ 488220 w 9397013"/>
              <a:gd name="connsiteY9-2004" fmla="*/ 5275963 h 6925856"/>
              <a:gd name="connsiteX10-2005" fmla="*/ 779421 w 9397013"/>
              <a:gd name="connsiteY10-2006" fmla="*/ 5917254 h 6925856"/>
              <a:gd name="connsiteX11-2007" fmla="*/ 618065 w 9397013"/>
              <a:gd name="connsiteY11-2008" fmla="*/ 5561911 h 6925856"/>
              <a:gd name="connsiteX12-2009" fmla="*/ 4805164 w 9397013"/>
              <a:gd name="connsiteY12-2010" fmla="*/ 4602 h 6925856"/>
              <a:gd name="connsiteX13-2011" fmla="*/ 5260238 w 9397013"/>
              <a:gd name="connsiteY13-2012" fmla="*/ 25779 h 6925856"/>
              <a:gd name="connsiteX14-2013" fmla="*/ 779421 w 9397013"/>
              <a:gd name="connsiteY14-2014" fmla="*/ 5917254 h 6925856"/>
              <a:gd name="connsiteX15-2015" fmla="*/ 1580200 w 9397013"/>
              <a:gd name="connsiteY15-2016" fmla="*/ 5985735 h 6925856"/>
              <a:gd name="connsiteX16-2017" fmla="*/ 1566201 w 9397013"/>
              <a:gd name="connsiteY16-2018" fmla="*/ 5394811 h 6925856"/>
              <a:gd name="connsiteX17-2019" fmla="*/ 5641256 w 9397013"/>
              <a:gd name="connsiteY17-2020" fmla="*/ 4084 h 6925856"/>
              <a:gd name="connsiteX18-2021" fmla="*/ 6077099 w 9397013"/>
              <a:gd name="connsiteY18-2022" fmla="*/ 17286 h 6925856"/>
              <a:gd name="connsiteX19-2023" fmla="*/ 1580200 w 9397013"/>
              <a:gd name="connsiteY19-2024" fmla="*/ 5985735 h 6925856"/>
              <a:gd name="connsiteX20-2025" fmla="*/ 6958778 w 9397013"/>
              <a:gd name="connsiteY20-2026" fmla="*/ 6916619 h 6925856"/>
              <a:gd name="connsiteX21-2027" fmla="*/ 6560038 w 9397013"/>
              <a:gd name="connsiteY21-2028" fmla="*/ 6925855 h 6925856"/>
              <a:gd name="connsiteX22-2029" fmla="*/ 3849932 w 9397013"/>
              <a:gd name="connsiteY22-2030" fmla="*/ 3388318 h 6925856"/>
              <a:gd name="connsiteX23-2031" fmla="*/ 4086202 w 9397013"/>
              <a:gd name="connsiteY23-2032" fmla="*/ 3078877 h 6925856"/>
              <a:gd name="connsiteX24-2033" fmla="*/ 6958778 w 9397013"/>
              <a:gd name="connsiteY24-2034" fmla="*/ 6916619 h 6925856"/>
              <a:gd name="connsiteX25-2035" fmla="*/ 7777211 w 9397013"/>
              <a:gd name="connsiteY25-2036" fmla="*/ 6916620 h 6925856"/>
              <a:gd name="connsiteX26-2037" fmla="*/ 7324729 w 9397013"/>
              <a:gd name="connsiteY26-2038" fmla="*/ 6916620 h 6925856"/>
              <a:gd name="connsiteX27-2039" fmla="*/ 4245793 w 9397013"/>
              <a:gd name="connsiteY27-2040" fmla="*/ 2869862 h 6925856"/>
              <a:gd name="connsiteX28-2041" fmla="*/ 4490696 w 9397013"/>
              <a:gd name="connsiteY28-2042" fmla="*/ 2549117 h 6925856"/>
              <a:gd name="connsiteX29-2043" fmla="*/ 7777211 w 9397013"/>
              <a:gd name="connsiteY29-2044" fmla="*/ 6916620 h 6925856"/>
              <a:gd name="connsiteX30-2045" fmla="*/ 8567691 w 9397013"/>
              <a:gd name="connsiteY30-2046" fmla="*/ 6916619 h 6925856"/>
              <a:gd name="connsiteX31-2047" fmla="*/ 8159389 w 9397013"/>
              <a:gd name="connsiteY31-2048" fmla="*/ 6925856 h 6925856"/>
              <a:gd name="connsiteX32-2049" fmla="*/ 4650570 w 9397013"/>
              <a:gd name="connsiteY32-2050" fmla="*/ 2339732 h 6925856"/>
              <a:gd name="connsiteX33-2051" fmla="*/ 4869244 w 9397013"/>
              <a:gd name="connsiteY33-2052" fmla="*/ 2053337 h 6925856"/>
              <a:gd name="connsiteX34-2053" fmla="*/ 8567691 w 9397013"/>
              <a:gd name="connsiteY34-2054" fmla="*/ 6916619 h 6925856"/>
              <a:gd name="connsiteX35-2055" fmla="*/ 9397013 w 9397013"/>
              <a:gd name="connsiteY35-2056" fmla="*/ 6925855 h 6925856"/>
              <a:gd name="connsiteX36-2057" fmla="*/ 8921338 w 9397013"/>
              <a:gd name="connsiteY36-2058" fmla="*/ 6907383 h 6925856"/>
              <a:gd name="connsiteX37-2059" fmla="*/ 5045299 w 9397013"/>
              <a:gd name="connsiteY37-2060" fmla="*/ 1822761 h 6925856"/>
              <a:gd name="connsiteX38-2061" fmla="*/ 5273037 w 9397013"/>
              <a:gd name="connsiteY38-2062" fmla="*/ 1524494 h 6925856"/>
              <a:gd name="connsiteX39-2063" fmla="*/ 9397013 w 9397013"/>
              <a:gd name="connsiteY39-2064" fmla="*/ 6925855 h 6925856"/>
              <a:gd name="connsiteX0-2065" fmla="*/ 168369 w 9397013"/>
              <a:gd name="connsiteY0-2066" fmla="*/ 4571581 h 6925856"/>
              <a:gd name="connsiteX1-2067" fmla="*/ 0 w 9397013"/>
              <a:gd name="connsiteY1-2068" fmla="*/ 4200794 h 6925856"/>
              <a:gd name="connsiteX2-2069" fmla="*/ 3175788 w 9397013"/>
              <a:gd name="connsiteY2-2070" fmla="*/ 4084 h 6925856"/>
              <a:gd name="connsiteX3-2071" fmla="*/ 3628305 w 9397013"/>
              <a:gd name="connsiteY3-2072" fmla="*/ 0 h 6925856"/>
              <a:gd name="connsiteX4-2073" fmla="*/ 168369 w 9397013"/>
              <a:gd name="connsiteY4-2074" fmla="*/ 4571581 h 6925856"/>
              <a:gd name="connsiteX5-2075" fmla="*/ 488220 w 9397013"/>
              <a:gd name="connsiteY5-2076" fmla="*/ 5275963 h 6925856"/>
              <a:gd name="connsiteX6-2077" fmla="*/ 299082 w 9397013"/>
              <a:gd name="connsiteY6-2078" fmla="*/ 4859439 h 6925856"/>
              <a:gd name="connsiteX7-2079" fmla="*/ 3977147 w 9397013"/>
              <a:gd name="connsiteY7-2080" fmla="*/ 3723 h 6925856"/>
              <a:gd name="connsiteX8-2081" fmla="*/ 4465006 w 9397013"/>
              <a:gd name="connsiteY8-2082" fmla="*/ 840 h 6925856"/>
              <a:gd name="connsiteX9-2083" fmla="*/ 488220 w 9397013"/>
              <a:gd name="connsiteY9-2084" fmla="*/ 5275963 h 6925856"/>
              <a:gd name="connsiteX10-2085" fmla="*/ 1601458 w 9397013"/>
              <a:gd name="connsiteY10-2086" fmla="*/ 4845836 h 6925856"/>
              <a:gd name="connsiteX11-2087" fmla="*/ 618065 w 9397013"/>
              <a:gd name="connsiteY11-2088" fmla="*/ 5561911 h 6925856"/>
              <a:gd name="connsiteX12-2089" fmla="*/ 4805164 w 9397013"/>
              <a:gd name="connsiteY12-2090" fmla="*/ 4602 h 6925856"/>
              <a:gd name="connsiteX13-2091" fmla="*/ 5260238 w 9397013"/>
              <a:gd name="connsiteY13-2092" fmla="*/ 25779 h 6925856"/>
              <a:gd name="connsiteX14-2093" fmla="*/ 1601458 w 9397013"/>
              <a:gd name="connsiteY14-2094" fmla="*/ 4845836 h 6925856"/>
              <a:gd name="connsiteX15-2095" fmla="*/ 1580200 w 9397013"/>
              <a:gd name="connsiteY15-2096" fmla="*/ 5985735 h 6925856"/>
              <a:gd name="connsiteX16-2097" fmla="*/ 1566201 w 9397013"/>
              <a:gd name="connsiteY16-2098" fmla="*/ 5394811 h 6925856"/>
              <a:gd name="connsiteX17-2099" fmla="*/ 5641256 w 9397013"/>
              <a:gd name="connsiteY17-2100" fmla="*/ 4084 h 6925856"/>
              <a:gd name="connsiteX18-2101" fmla="*/ 6077099 w 9397013"/>
              <a:gd name="connsiteY18-2102" fmla="*/ 17286 h 6925856"/>
              <a:gd name="connsiteX19-2103" fmla="*/ 1580200 w 9397013"/>
              <a:gd name="connsiteY19-2104" fmla="*/ 5985735 h 6925856"/>
              <a:gd name="connsiteX20-2105" fmla="*/ 6958778 w 9397013"/>
              <a:gd name="connsiteY20-2106" fmla="*/ 6916619 h 6925856"/>
              <a:gd name="connsiteX21-2107" fmla="*/ 6560038 w 9397013"/>
              <a:gd name="connsiteY21-2108" fmla="*/ 6925855 h 6925856"/>
              <a:gd name="connsiteX22-2109" fmla="*/ 3849932 w 9397013"/>
              <a:gd name="connsiteY22-2110" fmla="*/ 3388318 h 6925856"/>
              <a:gd name="connsiteX23-2111" fmla="*/ 4086202 w 9397013"/>
              <a:gd name="connsiteY23-2112" fmla="*/ 3078877 h 6925856"/>
              <a:gd name="connsiteX24-2113" fmla="*/ 6958778 w 9397013"/>
              <a:gd name="connsiteY24-2114" fmla="*/ 6916619 h 6925856"/>
              <a:gd name="connsiteX25-2115" fmla="*/ 7777211 w 9397013"/>
              <a:gd name="connsiteY25-2116" fmla="*/ 6916620 h 6925856"/>
              <a:gd name="connsiteX26-2117" fmla="*/ 7324729 w 9397013"/>
              <a:gd name="connsiteY26-2118" fmla="*/ 6916620 h 6925856"/>
              <a:gd name="connsiteX27-2119" fmla="*/ 4245793 w 9397013"/>
              <a:gd name="connsiteY27-2120" fmla="*/ 2869862 h 6925856"/>
              <a:gd name="connsiteX28-2121" fmla="*/ 4490696 w 9397013"/>
              <a:gd name="connsiteY28-2122" fmla="*/ 2549117 h 6925856"/>
              <a:gd name="connsiteX29-2123" fmla="*/ 7777211 w 9397013"/>
              <a:gd name="connsiteY29-2124" fmla="*/ 6916620 h 6925856"/>
              <a:gd name="connsiteX30-2125" fmla="*/ 8567691 w 9397013"/>
              <a:gd name="connsiteY30-2126" fmla="*/ 6916619 h 6925856"/>
              <a:gd name="connsiteX31-2127" fmla="*/ 8159389 w 9397013"/>
              <a:gd name="connsiteY31-2128" fmla="*/ 6925856 h 6925856"/>
              <a:gd name="connsiteX32-2129" fmla="*/ 4650570 w 9397013"/>
              <a:gd name="connsiteY32-2130" fmla="*/ 2339732 h 6925856"/>
              <a:gd name="connsiteX33-2131" fmla="*/ 4869244 w 9397013"/>
              <a:gd name="connsiteY33-2132" fmla="*/ 2053337 h 6925856"/>
              <a:gd name="connsiteX34-2133" fmla="*/ 8567691 w 9397013"/>
              <a:gd name="connsiteY34-2134" fmla="*/ 6916619 h 6925856"/>
              <a:gd name="connsiteX35-2135" fmla="*/ 9397013 w 9397013"/>
              <a:gd name="connsiteY35-2136" fmla="*/ 6925855 h 6925856"/>
              <a:gd name="connsiteX36-2137" fmla="*/ 8921338 w 9397013"/>
              <a:gd name="connsiteY36-2138" fmla="*/ 6907383 h 6925856"/>
              <a:gd name="connsiteX37-2139" fmla="*/ 5045299 w 9397013"/>
              <a:gd name="connsiteY37-2140" fmla="*/ 1822761 h 6925856"/>
              <a:gd name="connsiteX38-2141" fmla="*/ 5273037 w 9397013"/>
              <a:gd name="connsiteY38-2142" fmla="*/ 1524494 h 6925856"/>
              <a:gd name="connsiteX39-2143" fmla="*/ 9397013 w 9397013"/>
              <a:gd name="connsiteY39-2144" fmla="*/ 6925855 h 6925856"/>
              <a:gd name="connsiteX0-2145" fmla="*/ 168369 w 9397013"/>
              <a:gd name="connsiteY0-2146" fmla="*/ 4571581 h 6925856"/>
              <a:gd name="connsiteX1-2147" fmla="*/ 0 w 9397013"/>
              <a:gd name="connsiteY1-2148" fmla="*/ 4200794 h 6925856"/>
              <a:gd name="connsiteX2-2149" fmla="*/ 3175788 w 9397013"/>
              <a:gd name="connsiteY2-2150" fmla="*/ 4084 h 6925856"/>
              <a:gd name="connsiteX3-2151" fmla="*/ 3628305 w 9397013"/>
              <a:gd name="connsiteY3-2152" fmla="*/ 0 h 6925856"/>
              <a:gd name="connsiteX4-2153" fmla="*/ 168369 w 9397013"/>
              <a:gd name="connsiteY4-2154" fmla="*/ 4571581 h 6925856"/>
              <a:gd name="connsiteX5-2155" fmla="*/ 488220 w 9397013"/>
              <a:gd name="connsiteY5-2156" fmla="*/ 5275963 h 6925856"/>
              <a:gd name="connsiteX6-2157" fmla="*/ 299082 w 9397013"/>
              <a:gd name="connsiteY6-2158" fmla="*/ 4859439 h 6925856"/>
              <a:gd name="connsiteX7-2159" fmla="*/ 3977147 w 9397013"/>
              <a:gd name="connsiteY7-2160" fmla="*/ 3723 h 6925856"/>
              <a:gd name="connsiteX8-2161" fmla="*/ 4465006 w 9397013"/>
              <a:gd name="connsiteY8-2162" fmla="*/ 840 h 6925856"/>
              <a:gd name="connsiteX9-2163" fmla="*/ 488220 w 9397013"/>
              <a:gd name="connsiteY9-2164" fmla="*/ 5275963 h 6925856"/>
              <a:gd name="connsiteX10-2165" fmla="*/ 1601458 w 9397013"/>
              <a:gd name="connsiteY10-2166" fmla="*/ 4845836 h 6925856"/>
              <a:gd name="connsiteX11-2167" fmla="*/ 1550937 w 9397013"/>
              <a:gd name="connsiteY11-2168" fmla="*/ 4315002 h 6925856"/>
              <a:gd name="connsiteX12-2169" fmla="*/ 4805164 w 9397013"/>
              <a:gd name="connsiteY12-2170" fmla="*/ 4602 h 6925856"/>
              <a:gd name="connsiteX13-2171" fmla="*/ 5260238 w 9397013"/>
              <a:gd name="connsiteY13-2172" fmla="*/ 25779 h 6925856"/>
              <a:gd name="connsiteX14-2173" fmla="*/ 1601458 w 9397013"/>
              <a:gd name="connsiteY14-2174" fmla="*/ 4845836 h 6925856"/>
              <a:gd name="connsiteX15-2175" fmla="*/ 1580200 w 9397013"/>
              <a:gd name="connsiteY15-2176" fmla="*/ 5985735 h 6925856"/>
              <a:gd name="connsiteX16-2177" fmla="*/ 1566201 w 9397013"/>
              <a:gd name="connsiteY16-2178" fmla="*/ 5394811 h 6925856"/>
              <a:gd name="connsiteX17-2179" fmla="*/ 5641256 w 9397013"/>
              <a:gd name="connsiteY17-2180" fmla="*/ 4084 h 6925856"/>
              <a:gd name="connsiteX18-2181" fmla="*/ 6077099 w 9397013"/>
              <a:gd name="connsiteY18-2182" fmla="*/ 17286 h 6925856"/>
              <a:gd name="connsiteX19-2183" fmla="*/ 1580200 w 9397013"/>
              <a:gd name="connsiteY19-2184" fmla="*/ 5985735 h 6925856"/>
              <a:gd name="connsiteX20-2185" fmla="*/ 6958778 w 9397013"/>
              <a:gd name="connsiteY20-2186" fmla="*/ 6916619 h 6925856"/>
              <a:gd name="connsiteX21-2187" fmla="*/ 6560038 w 9397013"/>
              <a:gd name="connsiteY21-2188" fmla="*/ 6925855 h 6925856"/>
              <a:gd name="connsiteX22-2189" fmla="*/ 3849932 w 9397013"/>
              <a:gd name="connsiteY22-2190" fmla="*/ 3388318 h 6925856"/>
              <a:gd name="connsiteX23-2191" fmla="*/ 4086202 w 9397013"/>
              <a:gd name="connsiteY23-2192" fmla="*/ 3078877 h 6925856"/>
              <a:gd name="connsiteX24-2193" fmla="*/ 6958778 w 9397013"/>
              <a:gd name="connsiteY24-2194" fmla="*/ 6916619 h 6925856"/>
              <a:gd name="connsiteX25-2195" fmla="*/ 7777211 w 9397013"/>
              <a:gd name="connsiteY25-2196" fmla="*/ 6916620 h 6925856"/>
              <a:gd name="connsiteX26-2197" fmla="*/ 7324729 w 9397013"/>
              <a:gd name="connsiteY26-2198" fmla="*/ 6916620 h 6925856"/>
              <a:gd name="connsiteX27-2199" fmla="*/ 4245793 w 9397013"/>
              <a:gd name="connsiteY27-2200" fmla="*/ 2869862 h 6925856"/>
              <a:gd name="connsiteX28-2201" fmla="*/ 4490696 w 9397013"/>
              <a:gd name="connsiteY28-2202" fmla="*/ 2549117 h 6925856"/>
              <a:gd name="connsiteX29-2203" fmla="*/ 7777211 w 9397013"/>
              <a:gd name="connsiteY29-2204" fmla="*/ 6916620 h 6925856"/>
              <a:gd name="connsiteX30-2205" fmla="*/ 8567691 w 9397013"/>
              <a:gd name="connsiteY30-2206" fmla="*/ 6916619 h 6925856"/>
              <a:gd name="connsiteX31-2207" fmla="*/ 8159389 w 9397013"/>
              <a:gd name="connsiteY31-2208" fmla="*/ 6925856 h 6925856"/>
              <a:gd name="connsiteX32-2209" fmla="*/ 4650570 w 9397013"/>
              <a:gd name="connsiteY32-2210" fmla="*/ 2339732 h 6925856"/>
              <a:gd name="connsiteX33-2211" fmla="*/ 4869244 w 9397013"/>
              <a:gd name="connsiteY33-2212" fmla="*/ 2053337 h 6925856"/>
              <a:gd name="connsiteX34-2213" fmla="*/ 8567691 w 9397013"/>
              <a:gd name="connsiteY34-2214" fmla="*/ 6916619 h 6925856"/>
              <a:gd name="connsiteX35-2215" fmla="*/ 9397013 w 9397013"/>
              <a:gd name="connsiteY35-2216" fmla="*/ 6925855 h 6925856"/>
              <a:gd name="connsiteX36-2217" fmla="*/ 8921338 w 9397013"/>
              <a:gd name="connsiteY36-2218" fmla="*/ 6907383 h 6925856"/>
              <a:gd name="connsiteX37-2219" fmla="*/ 5045299 w 9397013"/>
              <a:gd name="connsiteY37-2220" fmla="*/ 1822761 h 6925856"/>
              <a:gd name="connsiteX38-2221" fmla="*/ 5273037 w 9397013"/>
              <a:gd name="connsiteY38-2222" fmla="*/ 1524494 h 6925856"/>
              <a:gd name="connsiteX39-2223" fmla="*/ 9397013 w 9397013"/>
              <a:gd name="connsiteY39-2224" fmla="*/ 6925855 h 6925856"/>
              <a:gd name="connsiteX0-2225" fmla="*/ 168369 w 9397013"/>
              <a:gd name="connsiteY0-2226" fmla="*/ 4571581 h 6925856"/>
              <a:gd name="connsiteX1-2227" fmla="*/ 0 w 9397013"/>
              <a:gd name="connsiteY1-2228" fmla="*/ 4200794 h 6925856"/>
              <a:gd name="connsiteX2-2229" fmla="*/ 3175788 w 9397013"/>
              <a:gd name="connsiteY2-2230" fmla="*/ 4084 h 6925856"/>
              <a:gd name="connsiteX3-2231" fmla="*/ 3628305 w 9397013"/>
              <a:gd name="connsiteY3-2232" fmla="*/ 0 h 6925856"/>
              <a:gd name="connsiteX4-2233" fmla="*/ 168369 w 9397013"/>
              <a:gd name="connsiteY4-2234" fmla="*/ 4571581 h 6925856"/>
              <a:gd name="connsiteX5-2235" fmla="*/ 488220 w 9397013"/>
              <a:gd name="connsiteY5-2236" fmla="*/ 5275963 h 6925856"/>
              <a:gd name="connsiteX6-2237" fmla="*/ 299082 w 9397013"/>
              <a:gd name="connsiteY6-2238" fmla="*/ 4859439 h 6925856"/>
              <a:gd name="connsiteX7-2239" fmla="*/ 3977147 w 9397013"/>
              <a:gd name="connsiteY7-2240" fmla="*/ 3723 h 6925856"/>
              <a:gd name="connsiteX8-2241" fmla="*/ 4465006 w 9397013"/>
              <a:gd name="connsiteY8-2242" fmla="*/ 840 h 6925856"/>
              <a:gd name="connsiteX9-2243" fmla="*/ 488220 w 9397013"/>
              <a:gd name="connsiteY9-2244" fmla="*/ 5275963 h 6925856"/>
              <a:gd name="connsiteX10-2245" fmla="*/ 1573749 w 9397013"/>
              <a:gd name="connsiteY10-2246" fmla="*/ 4882781 h 6925856"/>
              <a:gd name="connsiteX11-2247" fmla="*/ 1550937 w 9397013"/>
              <a:gd name="connsiteY11-2248" fmla="*/ 4315002 h 6925856"/>
              <a:gd name="connsiteX12-2249" fmla="*/ 4805164 w 9397013"/>
              <a:gd name="connsiteY12-2250" fmla="*/ 4602 h 6925856"/>
              <a:gd name="connsiteX13-2251" fmla="*/ 5260238 w 9397013"/>
              <a:gd name="connsiteY13-2252" fmla="*/ 25779 h 6925856"/>
              <a:gd name="connsiteX14-2253" fmla="*/ 1573749 w 9397013"/>
              <a:gd name="connsiteY14-2254" fmla="*/ 4882781 h 6925856"/>
              <a:gd name="connsiteX15-2255" fmla="*/ 1580200 w 9397013"/>
              <a:gd name="connsiteY15-2256" fmla="*/ 5985735 h 6925856"/>
              <a:gd name="connsiteX16-2257" fmla="*/ 1566201 w 9397013"/>
              <a:gd name="connsiteY16-2258" fmla="*/ 5394811 h 6925856"/>
              <a:gd name="connsiteX17-2259" fmla="*/ 5641256 w 9397013"/>
              <a:gd name="connsiteY17-2260" fmla="*/ 4084 h 6925856"/>
              <a:gd name="connsiteX18-2261" fmla="*/ 6077099 w 9397013"/>
              <a:gd name="connsiteY18-2262" fmla="*/ 17286 h 6925856"/>
              <a:gd name="connsiteX19-2263" fmla="*/ 1580200 w 9397013"/>
              <a:gd name="connsiteY19-2264" fmla="*/ 5985735 h 6925856"/>
              <a:gd name="connsiteX20-2265" fmla="*/ 6958778 w 9397013"/>
              <a:gd name="connsiteY20-2266" fmla="*/ 6916619 h 6925856"/>
              <a:gd name="connsiteX21-2267" fmla="*/ 6560038 w 9397013"/>
              <a:gd name="connsiteY21-2268" fmla="*/ 6925855 h 6925856"/>
              <a:gd name="connsiteX22-2269" fmla="*/ 3849932 w 9397013"/>
              <a:gd name="connsiteY22-2270" fmla="*/ 3388318 h 6925856"/>
              <a:gd name="connsiteX23-2271" fmla="*/ 4086202 w 9397013"/>
              <a:gd name="connsiteY23-2272" fmla="*/ 3078877 h 6925856"/>
              <a:gd name="connsiteX24-2273" fmla="*/ 6958778 w 9397013"/>
              <a:gd name="connsiteY24-2274" fmla="*/ 6916619 h 6925856"/>
              <a:gd name="connsiteX25-2275" fmla="*/ 7777211 w 9397013"/>
              <a:gd name="connsiteY25-2276" fmla="*/ 6916620 h 6925856"/>
              <a:gd name="connsiteX26-2277" fmla="*/ 7324729 w 9397013"/>
              <a:gd name="connsiteY26-2278" fmla="*/ 6916620 h 6925856"/>
              <a:gd name="connsiteX27-2279" fmla="*/ 4245793 w 9397013"/>
              <a:gd name="connsiteY27-2280" fmla="*/ 2869862 h 6925856"/>
              <a:gd name="connsiteX28-2281" fmla="*/ 4490696 w 9397013"/>
              <a:gd name="connsiteY28-2282" fmla="*/ 2549117 h 6925856"/>
              <a:gd name="connsiteX29-2283" fmla="*/ 7777211 w 9397013"/>
              <a:gd name="connsiteY29-2284" fmla="*/ 6916620 h 6925856"/>
              <a:gd name="connsiteX30-2285" fmla="*/ 8567691 w 9397013"/>
              <a:gd name="connsiteY30-2286" fmla="*/ 6916619 h 6925856"/>
              <a:gd name="connsiteX31-2287" fmla="*/ 8159389 w 9397013"/>
              <a:gd name="connsiteY31-2288" fmla="*/ 6925856 h 6925856"/>
              <a:gd name="connsiteX32-2289" fmla="*/ 4650570 w 9397013"/>
              <a:gd name="connsiteY32-2290" fmla="*/ 2339732 h 6925856"/>
              <a:gd name="connsiteX33-2291" fmla="*/ 4869244 w 9397013"/>
              <a:gd name="connsiteY33-2292" fmla="*/ 2053337 h 6925856"/>
              <a:gd name="connsiteX34-2293" fmla="*/ 8567691 w 9397013"/>
              <a:gd name="connsiteY34-2294" fmla="*/ 6916619 h 6925856"/>
              <a:gd name="connsiteX35-2295" fmla="*/ 9397013 w 9397013"/>
              <a:gd name="connsiteY35-2296" fmla="*/ 6925855 h 6925856"/>
              <a:gd name="connsiteX36-2297" fmla="*/ 8921338 w 9397013"/>
              <a:gd name="connsiteY36-2298" fmla="*/ 6907383 h 6925856"/>
              <a:gd name="connsiteX37-2299" fmla="*/ 5045299 w 9397013"/>
              <a:gd name="connsiteY37-2300" fmla="*/ 1822761 h 6925856"/>
              <a:gd name="connsiteX38-2301" fmla="*/ 5273037 w 9397013"/>
              <a:gd name="connsiteY38-2302" fmla="*/ 1524494 h 6925856"/>
              <a:gd name="connsiteX39-2303" fmla="*/ 9397013 w 9397013"/>
              <a:gd name="connsiteY39-2304" fmla="*/ 6925855 h 6925856"/>
              <a:gd name="connsiteX0-2305" fmla="*/ 168369 w 9397013"/>
              <a:gd name="connsiteY0-2306" fmla="*/ 4571581 h 6925856"/>
              <a:gd name="connsiteX1-2307" fmla="*/ 0 w 9397013"/>
              <a:gd name="connsiteY1-2308" fmla="*/ 4200794 h 6925856"/>
              <a:gd name="connsiteX2-2309" fmla="*/ 3175788 w 9397013"/>
              <a:gd name="connsiteY2-2310" fmla="*/ 4084 h 6925856"/>
              <a:gd name="connsiteX3-2311" fmla="*/ 3628305 w 9397013"/>
              <a:gd name="connsiteY3-2312" fmla="*/ 0 h 6925856"/>
              <a:gd name="connsiteX4-2313" fmla="*/ 168369 w 9397013"/>
              <a:gd name="connsiteY4-2314" fmla="*/ 4571581 h 6925856"/>
              <a:gd name="connsiteX5-2315" fmla="*/ 1578111 w 9397013"/>
              <a:gd name="connsiteY5-2316" fmla="*/ 3835090 h 6925856"/>
              <a:gd name="connsiteX6-2317" fmla="*/ 299082 w 9397013"/>
              <a:gd name="connsiteY6-2318" fmla="*/ 4859439 h 6925856"/>
              <a:gd name="connsiteX7-2319" fmla="*/ 3977147 w 9397013"/>
              <a:gd name="connsiteY7-2320" fmla="*/ 3723 h 6925856"/>
              <a:gd name="connsiteX8-2321" fmla="*/ 4465006 w 9397013"/>
              <a:gd name="connsiteY8-2322" fmla="*/ 840 h 6925856"/>
              <a:gd name="connsiteX9-2323" fmla="*/ 1578111 w 9397013"/>
              <a:gd name="connsiteY9-2324" fmla="*/ 3835090 h 6925856"/>
              <a:gd name="connsiteX10-2325" fmla="*/ 1573749 w 9397013"/>
              <a:gd name="connsiteY10-2326" fmla="*/ 4882781 h 6925856"/>
              <a:gd name="connsiteX11-2327" fmla="*/ 1550937 w 9397013"/>
              <a:gd name="connsiteY11-2328" fmla="*/ 4315002 h 6925856"/>
              <a:gd name="connsiteX12-2329" fmla="*/ 4805164 w 9397013"/>
              <a:gd name="connsiteY12-2330" fmla="*/ 4602 h 6925856"/>
              <a:gd name="connsiteX13-2331" fmla="*/ 5260238 w 9397013"/>
              <a:gd name="connsiteY13-2332" fmla="*/ 25779 h 6925856"/>
              <a:gd name="connsiteX14-2333" fmla="*/ 1573749 w 9397013"/>
              <a:gd name="connsiteY14-2334" fmla="*/ 4882781 h 6925856"/>
              <a:gd name="connsiteX15-2335" fmla="*/ 1580200 w 9397013"/>
              <a:gd name="connsiteY15-2336" fmla="*/ 5985735 h 6925856"/>
              <a:gd name="connsiteX16-2337" fmla="*/ 1566201 w 9397013"/>
              <a:gd name="connsiteY16-2338" fmla="*/ 5394811 h 6925856"/>
              <a:gd name="connsiteX17-2339" fmla="*/ 5641256 w 9397013"/>
              <a:gd name="connsiteY17-2340" fmla="*/ 4084 h 6925856"/>
              <a:gd name="connsiteX18-2341" fmla="*/ 6077099 w 9397013"/>
              <a:gd name="connsiteY18-2342" fmla="*/ 17286 h 6925856"/>
              <a:gd name="connsiteX19-2343" fmla="*/ 1580200 w 9397013"/>
              <a:gd name="connsiteY19-2344" fmla="*/ 5985735 h 6925856"/>
              <a:gd name="connsiteX20-2345" fmla="*/ 6958778 w 9397013"/>
              <a:gd name="connsiteY20-2346" fmla="*/ 6916619 h 6925856"/>
              <a:gd name="connsiteX21-2347" fmla="*/ 6560038 w 9397013"/>
              <a:gd name="connsiteY21-2348" fmla="*/ 6925855 h 6925856"/>
              <a:gd name="connsiteX22-2349" fmla="*/ 3849932 w 9397013"/>
              <a:gd name="connsiteY22-2350" fmla="*/ 3388318 h 6925856"/>
              <a:gd name="connsiteX23-2351" fmla="*/ 4086202 w 9397013"/>
              <a:gd name="connsiteY23-2352" fmla="*/ 3078877 h 6925856"/>
              <a:gd name="connsiteX24-2353" fmla="*/ 6958778 w 9397013"/>
              <a:gd name="connsiteY24-2354" fmla="*/ 6916619 h 6925856"/>
              <a:gd name="connsiteX25-2355" fmla="*/ 7777211 w 9397013"/>
              <a:gd name="connsiteY25-2356" fmla="*/ 6916620 h 6925856"/>
              <a:gd name="connsiteX26-2357" fmla="*/ 7324729 w 9397013"/>
              <a:gd name="connsiteY26-2358" fmla="*/ 6916620 h 6925856"/>
              <a:gd name="connsiteX27-2359" fmla="*/ 4245793 w 9397013"/>
              <a:gd name="connsiteY27-2360" fmla="*/ 2869862 h 6925856"/>
              <a:gd name="connsiteX28-2361" fmla="*/ 4490696 w 9397013"/>
              <a:gd name="connsiteY28-2362" fmla="*/ 2549117 h 6925856"/>
              <a:gd name="connsiteX29-2363" fmla="*/ 7777211 w 9397013"/>
              <a:gd name="connsiteY29-2364" fmla="*/ 6916620 h 6925856"/>
              <a:gd name="connsiteX30-2365" fmla="*/ 8567691 w 9397013"/>
              <a:gd name="connsiteY30-2366" fmla="*/ 6916619 h 6925856"/>
              <a:gd name="connsiteX31-2367" fmla="*/ 8159389 w 9397013"/>
              <a:gd name="connsiteY31-2368" fmla="*/ 6925856 h 6925856"/>
              <a:gd name="connsiteX32-2369" fmla="*/ 4650570 w 9397013"/>
              <a:gd name="connsiteY32-2370" fmla="*/ 2339732 h 6925856"/>
              <a:gd name="connsiteX33-2371" fmla="*/ 4869244 w 9397013"/>
              <a:gd name="connsiteY33-2372" fmla="*/ 2053337 h 6925856"/>
              <a:gd name="connsiteX34-2373" fmla="*/ 8567691 w 9397013"/>
              <a:gd name="connsiteY34-2374" fmla="*/ 6916619 h 6925856"/>
              <a:gd name="connsiteX35-2375" fmla="*/ 9397013 w 9397013"/>
              <a:gd name="connsiteY35-2376" fmla="*/ 6925855 h 6925856"/>
              <a:gd name="connsiteX36-2377" fmla="*/ 8921338 w 9397013"/>
              <a:gd name="connsiteY36-2378" fmla="*/ 6907383 h 6925856"/>
              <a:gd name="connsiteX37-2379" fmla="*/ 5045299 w 9397013"/>
              <a:gd name="connsiteY37-2380" fmla="*/ 1822761 h 6925856"/>
              <a:gd name="connsiteX38-2381" fmla="*/ 5273037 w 9397013"/>
              <a:gd name="connsiteY38-2382" fmla="*/ 1524494 h 6925856"/>
              <a:gd name="connsiteX39-2383" fmla="*/ 9397013 w 9397013"/>
              <a:gd name="connsiteY39-2384" fmla="*/ 6925855 h 6925856"/>
              <a:gd name="connsiteX0-2385" fmla="*/ 168369 w 9397013"/>
              <a:gd name="connsiteY0-2386" fmla="*/ 4571581 h 6925856"/>
              <a:gd name="connsiteX1-2387" fmla="*/ 0 w 9397013"/>
              <a:gd name="connsiteY1-2388" fmla="*/ 4200794 h 6925856"/>
              <a:gd name="connsiteX2-2389" fmla="*/ 3175788 w 9397013"/>
              <a:gd name="connsiteY2-2390" fmla="*/ 4084 h 6925856"/>
              <a:gd name="connsiteX3-2391" fmla="*/ 3628305 w 9397013"/>
              <a:gd name="connsiteY3-2392" fmla="*/ 0 h 6925856"/>
              <a:gd name="connsiteX4-2393" fmla="*/ 168369 w 9397013"/>
              <a:gd name="connsiteY4-2394" fmla="*/ 4571581 h 6925856"/>
              <a:gd name="connsiteX5-2395" fmla="*/ 1578111 w 9397013"/>
              <a:gd name="connsiteY5-2396" fmla="*/ 3835090 h 6925856"/>
              <a:gd name="connsiteX6-2397" fmla="*/ 1564463 w 9397013"/>
              <a:gd name="connsiteY6-2398" fmla="*/ 3206130 h 6925856"/>
              <a:gd name="connsiteX7-2399" fmla="*/ 3977147 w 9397013"/>
              <a:gd name="connsiteY7-2400" fmla="*/ 3723 h 6925856"/>
              <a:gd name="connsiteX8-2401" fmla="*/ 4465006 w 9397013"/>
              <a:gd name="connsiteY8-2402" fmla="*/ 840 h 6925856"/>
              <a:gd name="connsiteX9-2403" fmla="*/ 1578111 w 9397013"/>
              <a:gd name="connsiteY9-2404" fmla="*/ 3835090 h 6925856"/>
              <a:gd name="connsiteX10-2405" fmla="*/ 1573749 w 9397013"/>
              <a:gd name="connsiteY10-2406" fmla="*/ 4882781 h 6925856"/>
              <a:gd name="connsiteX11-2407" fmla="*/ 1550937 w 9397013"/>
              <a:gd name="connsiteY11-2408" fmla="*/ 4315002 h 6925856"/>
              <a:gd name="connsiteX12-2409" fmla="*/ 4805164 w 9397013"/>
              <a:gd name="connsiteY12-2410" fmla="*/ 4602 h 6925856"/>
              <a:gd name="connsiteX13-2411" fmla="*/ 5260238 w 9397013"/>
              <a:gd name="connsiteY13-2412" fmla="*/ 25779 h 6925856"/>
              <a:gd name="connsiteX14-2413" fmla="*/ 1573749 w 9397013"/>
              <a:gd name="connsiteY14-2414" fmla="*/ 4882781 h 6925856"/>
              <a:gd name="connsiteX15-2415" fmla="*/ 1580200 w 9397013"/>
              <a:gd name="connsiteY15-2416" fmla="*/ 5985735 h 6925856"/>
              <a:gd name="connsiteX16-2417" fmla="*/ 1566201 w 9397013"/>
              <a:gd name="connsiteY16-2418" fmla="*/ 5394811 h 6925856"/>
              <a:gd name="connsiteX17-2419" fmla="*/ 5641256 w 9397013"/>
              <a:gd name="connsiteY17-2420" fmla="*/ 4084 h 6925856"/>
              <a:gd name="connsiteX18-2421" fmla="*/ 6077099 w 9397013"/>
              <a:gd name="connsiteY18-2422" fmla="*/ 17286 h 6925856"/>
              <a:gd name="connsiteX19-2423" fmla="*/ 1580200 w 9397013"/>
              <a:gd name="connsiteY19-2424" fmla="*/ 5985735 h 6925856"/>
              <a:gd name="connsiteX20-2425" fmla="*/ 6958778 w 9397013"/>
              <a:gd name="connsiteY20-2426" fmla="*/ 6916619 h 6925856"/>
              <a:gd name="connsiteX21-2427" fmla="*/ 6560038 w 9397013"/>
              <a:gd name="connsiteY21-2428" fmla="*/ 6925855 h 6925856"/>
              <a:gd name="connsiteX22-2429" fmla="*/ 3849932 w 9397013"/>
              <a:gd name="connsiteY22-2430" fmla="*/ 3388318 h 6925856"/>
              <a:gd name="connsiteX23-2431" fmla="*/ 4086202 w 9397013"/>
              <a:gd name="connsiteY23-2432" fmla="*/ 3078877 h 6925856"/>
              <a:gd name="connsiteX24-2433" fmla="*/ 6958778 w 9397013"/>
              <a:gd name="connsiteY24-2434" fmla="*/ 6916619 h 6925856"/>
              <a:gd name="connsiteX25-2435" fmla="*/ 7777211 w 9397013"/>
              <a:gd name="connsiteY25-2436" fmla="*/ 6916620 h 6925856"/>
              <a:gd name="connsiteX26-2437" fmla="*/ 7324729 w 9397013"/>
              <a:gd name="connsiteY26-2438" fmla="*/ 6916620 h 6925856"/>
              <a:gd name="connsiteX27-2439" fmla="*/ 4245793 w 9397013"/>
              <a:gd name="connsiteY27-2440" fmla="*/ 2869862 h 6925856"/>
              <a:gd name="connsiteX28-2441" fmla="*/ 4490696 w 9397013"/>
              <a:gd name="connsiteY28-2442" fmla="*/ 2549117 h 6925856"/>
              <a:gd name="connsiteX29-2443" fmla="*/ 7777211 w 9397013"/>
              <a:gd name="connsiteY29-2444" fmla="*/ 6916620 h 6925856"/>
              <a:gd name="connsiteX30-2445" fmla="*/ 8567691 w 9397013"/>
              <a:gd name="connsiteY30-2446" fmla="*/ 6916619 h 6925856"/>
              <a:gd name="connsiteX31-2447" fmla="*/ 8159389 w 9397013"/>
              <a:gd name="connsiteY31-2448" fmla="*/ 6925856 h 6925856"/>
              <a:gd name="connsiteX32-2449" fmla="*/ 4650570 w 9397013"/>
              <a:gd name="connsiteY32-2450" fmla="*/ 2339732 h 6925856"/>
              <a:gd name="connsiteX33-2451" fmla="*/ 4869244 w 9397013"/>
              <a:gd name="connsiteY33-2452" fmla="*/ 2053337 h 6925856"/>
              <a:gd name="connsiteX34-2453" fmla="*/ 8567691 w 9397013"/>
              <a:gd name="connsiteY34-2454" fmla="*/ 6916619 h 6925856"/>
              <a:gd name="connsiteX35-2455" fmla="*/ 9397013 w 9397013"/>
              <a:gd name="connsiteY35-2456" fmla="*/ 6925855 h 6925856"/>
              <a:gd name="connsiteX36-2457" fmla="*/ 8921338 w 9397013"/>
              <a:gd name="connsiteY36-2458" fmla="*/ 6907383 h 6925856"/>
              <a:gd name="connsiteX37-2459" fmla="*/ 5045299 w 9397013"/>
              <a:gd name="connsiteY37-2460" fmla="*/ 1822761 h 6925856"/>
              <a:gd name="connsiteX38-2461" fmla="*/ 5273037 w 9397013"/>
              <a:gd name="connsiteY38-2462" fmla="*/ 1524494 h 6925856"/>
              <a:gd name="connsiteX39-2463" fmla="*/ 9397013 w 9397013"/>
              <a:gd name="connsiteY39-2464" fmla="*/ 6925855 h 6925856"/>
              <a:gd name="connsiteX0-2465" fmla="*/ 1572296 w 9397013"/>
              <a:gd name="connsiteY0-2466" fmla="*/ 2715072 h 6925856"/>
              <a:gd name="connsiteX1-2467" fmla="*/ 0 w 9397013"/>
              <a:gd name="connsiteY1-2468" fmla="*/ 4200794 h 6925856"/>
              <a:gd name="connsiteX2-2469" fmla="*/ 3175788 w 9397013"/>
              <a:gd name="connsiteY2-2470" fmla="*/ 4084 h 6925856"/>
              <a:gd name="connsiteX3-2471" fmla="*/ 3628305 w 9397013"/>
              <a:gd name="connsiteY3-2472" fmla="*/ 0 h 6925856"/>
              <a:gd name="connsiteX4-2473" fmla="*/ 1572296 w 9397013"/>
              <a:gd name="connsiteY4-2474" fmla="*/ 2715072 h 6925856"/>
              <a:gd name="connsiteX5-2475" fmla="*/ 1578111 w 9397013"/>
              <a:gd name="connsiteY5-2476" fmla="*/ 3835090 h 6925856"/>
              <a:gd name="connsiteX6-2477" fmla="*/ 1564463 w 9397013"/>
              <a:gd name="connsiteY6-2478" fmla="*/ 3206130 h 6925856"/>
              <a:gd name="connsiteX7-2479" fmla="*/ 3977147 w 9397013"/>
              <a:gd name="connsiteY7-2480" fmla="*/ 3723 h 6925856"/>
              <a:gd name="connsiteX8-2481" fmla="*/ 4465006 w 9397013"/>
              <a:gd name="connsiteY8-2482" fmla="*/ 840 h 6925856"/>
              <a:gd name="connsiteX9-2483" fmla="*/ 1578111 w 9397013"/>
              <a:gd name="connsiteY9-2484" fmla="*/ 3835090 h 6925856"/>
              <a:gd name="connsiteX10-2485" fmla="*/ 1573749 w 9397013"/>
              <a:gd name="connsiteY10-2486" fmla="*/ 4882781 h 6925856"/>
              <a:gd name="connsiteX11-2487" fmla="*/ 1550937 w 9397013"/>
              <a:gd name="connsiteY11-2488" fmla="*/ 4315002 h 6925856"/>
              <a:gd name="connsiteX12-2489" fmla="*/ 4805164 w 9397013"/>
              <a:gd name="connsiteY12-2490" fmla="*/ 4602 h 6925856"/>
              <a:gd name="connsiteX13-2491" fmla="*/ 5260238 w 9397013"/>
              <a:gd name="connsiteY13-2492" fmla="*/ 25779 h 6925856"/>
              <a:gd name="connsiteX14-2493" fmla="*/ 1573749 w 9397013"/>
              <a:gd name="connsiteY14-2494" fmla="*/ 4882781 h 6925856"/>
              <a:gd name="connsiteX15-2495" fmla="*/ 1580200 w 9397013"/>
              <a:gd name="connsiteY15-2496" fmla="*/ 5985735 h 6925856"/>
              <a:gd name="connsiteX16-2497" fmla="*/ 1566201 w 9397013"/>
              <a:gd name="connsiteY16-2498" fmla="*/ 5394811 h 6925856"/>
              <a:gd name="connsiteX17-2499" fmla="*/ 5641256 w 9397013"/>
              <a:gd name="connsiteY17-2500" fmla="*/ 4084 h 6925856"/>
              <a:gd name="connsiteX18-2501" fmla="*/ 6077099 w 9397013"/>
              <a:gd name="connsiteY18-2502" fmla="*/ 17286 h 6925856"/>
              <a:gd name="connsiteX19-2503" fmla="*/ 1580200 w 9397013"/>
              <a:gd name="connsiteY19-2504" fmla="*/ 5985735 h 6925856"/>
              <a:gd name="connsiteX20-2505" fmla="*/ 6958778 w 9397013"/>
              <a:gd name="connsiteY20-2506" fmla="*/ 6916619 h 6925856"/>
              <a:gd name="connsiteX21-2507" fmla="*/ 6560038 w 9397013"/>
              <a:gd name="connsiteY21-2508" fmla="*/ 6925855 h 6925856"/>
              <a:gd name="connsiteX22-2509" fmla="*/ 3849932 w 9397013"/>
              <a:gd name="connsiteY22-2510" fmla="*/ 3388318 h 6925856"/>
              <a:gd name="connsiteX23-2511" fmla="*/ 4086202 w 9397013"/>
              <a:gd name="connsiteY23-2512" fmla="*/ 3078877 h 6925856"/>
              <a:gd name="connsiteX24-2513" fmla="*/ 6958778 w 9397013"/>
              <a:gd name="connsiteY24-2514" fmla="*/ 6916619 h 6925856"/>
              <a:gd name="connsiteX25-2515" fmla="*/ 7777211 w 9397013"/>
              <a:gd name="connsiteY25-2516" fmla="*/ 6916620 h 6925856"/>
              <a:gd name="connsiteX26-2517" fmla="*/ 7324729 w 9397013"/>
              <a:gd name="connsiteY26-2518" fmla="*/ 6916620 h 6925856"/>
              <a:gd name="connsiteX27-2519" fmla="*/ 4245793 w 9397013"/>
              <a:gd name="connsiteY27-2520" fmla="*/ 2869862 h 6925856"/>
              <a:gd name="connsiteX28-2521" fmla="*/ 4490696 w 9397013"/>
              <a:gd name="connsiteY28-2522" fmla="*/ 2549117 h 6925856"/>
              <a:gd name="connsiteX29-2523" fmla="*/ 7777211 w 9397013"/>
              <a:gd name="connsiteY29-2524" fmla="*/ 6916620 h 6925856"/>
              <a:gd name="connsiteX30-2525" fmla="*/ 8567691 w 9397013"/>
              <a:gd name="connsiteY30-2526" fmla="*/ 6916619 h 6925856"/>
              <a:gd name="connsiteX31-2527" fmla="*/ 8159389 w 9397013"/>
              <a:gd name="connsiteY31-2528" fmla="*/ 6925856 h 6925856"/>
              <a:gd name="connsiteX32-2529" fmla="*/ 4650570 w 9397013"/>
              <a:gd name="connsiteY32-2530" fmla="*/ 2339732 h 6925856"/>
              <a:gd name="connsiteX33-2531" fmla="*/ 4869244 w 9397013"/>
              <a:gd name="connsiteY33-2532" fmla="*/ 2053337 h 6925856"/>
              <a:gd name="connsiteX34-2533" fmla="*/ 8567691 w 9397013"/>
              <a:gd name="connsiteY34-2534" fmla="*/ 6916619 h 6925856"/>
              <a:gd name="connsiteX35-2535" fmla="*/ 9397013 w 9397013"/>
              <a:gd name="connsiteY35-2536" fmla="*/ 6925855 h 6925856"/>
              <a:gd name="connsiteX36-2537" fmla="*/ 8921338 w 9397013"/>
              <a:gd name="connsiteY36-2538" fmla="*/ 6907383 h 6925856"/>
              <a:gd name="connsiteX37-2539" fmla="*/ 5045299 w 9397013"/>
              <a:gd name="connsiteY37-2540" fmla="*/ 1822761 h 6925856"/>
              <a:gd name="connsiteX38-2541" fmla="*/ 5273037 w 9397013"/>
              <a:gd name="connsiteY38-2542" fmla="*/ 1524494 h 6925856"/>
              <a:gd name="connsiteX39-2543" fmla="*/ 9397013 w 9397013"/>
              <a:gd name="connsiteY39-2544" fmla="*/ 6925855 h 6925856"/>
              <a:gd name="connsiteX0-2545" fmla="*/ 21359 w 7846076"/>
              <a:gd name="connsiteY0-2546" fmla="*/ 2715072 h 6925856"/>
              <a:gd name="connsiteX1-2547" fmla="*/ 28481 w 7846076"/>
              <a:gd name="connsiteY1-2548" fmla="*/ 2104139 h 6925856"/>
              <a:gd name="connsiteX2-2549" fmla="*/ 1624851 w 7846076"/>
              <a:gd name="connsiteY2-2550" fmla="*/ 4084 h 6925856"/>
              <a:gd name="connsiteX3-2551" fmla="*/ 2077368 w 7846076"/>
              <a:gd name="connsiteY3-2552" fmla="*/ 0 h 6925856"/>
              <a:gd name="connsiteX4-2553" fmla="*/ 21359 w 7846076"/>
              <a:gd name="connsiteY4-2554" fmla="*/ 2715072 h 6925856"/>
              <a:gd name="connsiteX5-2555" fmla="*/ 27174 w 7846076"/>
              <a:gd name="connsiteY5-2556" fmla="*/ 3835090 h 6925856"/>
              <a:gd name="connsiteX6-2557" fmla="*/ 13526 w 7846076"/>
              <a:gd name="connsiteY6-2558" fmla="*/ 3206130 h 6925856"/>
              <a:gd name="connsiteX7-2559" fmla="*/ 2426210 w 7846076"/>
              <a:gd name="connsiteY7-2560" fmla="*/ 3723 h 6925856"/>
              <a:gd name="connsiteX8-2561" fmla="*/ 2914069 w 7846076"/>
              <a:gd name="connsiteY8-2562" fmla="*/ 840 h 6925856"/>
              <a:gd name="connsiteX9-2563" fmla="*/ 27174 w 7846076"/>
              <a:gd name="connsiteY9-2564" fmla="*/ 3835090 h 6925856"/>
              <a:gd name="connsiteX10-2565" fmla="*/ 22812 w 7846076"/>
              <a:gd name="connsiteY10-2566" fmla="*/ 4882781 h 6925856"/>
              <a:gd name="connsiteX11-2567" fmla="*/ 0 w 7846076"/>
              <a:gd name="connsiteY11-2568" fmla="*/ 4315002 h 6925856"/>
              <a:gd name="connsiteX12-2569" fmla="*/ 3254227 w 7846076"/>
              <a:gd name="connsiteY12-2570" fmla="*/ 4602 h 6925856"/>
              <a:gd name="connsiteX13-2571" fmla="*/ 3709301 w 7846076"/>
              <a:gd name="connsiteY13-2572" fmla="*/ 25779 h 6925856"/>
              <a:gd name="connsiteX14-2573" fmla="*/ 22812 w 7846076"/>
              <a:gd name="connsiteY14-2574" fmla="*/ 4882781 h 6925856"/>
              <a:gd name="connsiteX15-2575" fmla="*/ 29263 w 7846076"/>
              <a:gd name="connsiteY15-2576" fmla="*/ 5985735 h 6925856"/>
              <a:gd name="connsiteX16-2577" fmla="*/ 15264 w 7846076"/>
              <a:gd name="connsiteY16-2578" fmla="*/ 5394811 h 6925856"/>
              <a:gd name="connsiteX17-2579" fmla="*/ 4090319 w 7846076"/>
              <a:gd name="connsiteY17-2580" fmla="*/ 4084 h 6925856"/>
              <a:gd name="connsiteX18-2581" fmla="*/ 4526162 w 7846076"/>
              <a:gd name="connsiteY18-2582" fmla="*/ 17286 h 6925856"/>
              <a:gd name="connsiteX19-2583" fmla="*/ 29263 w 7846076"/>
              <a:gd name="connsiteY19-2584" fmla="*/ 5985735 h 6925856"/>
              <a:gd name="connsiteX20-2585" fmla="*/ 5407841 w 7846076"/>
              <a:gd name="connsiteY20-2586" fmla="*/ 6916619 h 6925856"/>
              <a:gd name="connsiteX21-2587" fmla="*/ 5009101 w 7846076"/>
              <a:gd name="connsiteY21-2588" fmla="*/ 6925855 h 6925856"/>
              <a:gd name="connsiteX22-2589" fmla="*/ 2298995 w 7846076"/>
              <a:gd name="connsiteY22-2590" fmla="*/ 3388318 h 6925856"/>
              <a:gd name="connsiteX23-2591" fmla="*/ 2535265 w 7846076"/>
              <a:gd name="connsiteY23-2592" fmla="*/ 3078877 h 6925856"/>
              <a:gd name="connsiteX24-2593" fmla="*/ 5407841 w 7846076"/>
              <a:gd name="connsiteY24-2594" fmla="*/ 6916619 h 6925856"/>
              <a:gd name="connsiteX25-2595" fmla="*/ 6226274 w 7846076"/>
              <a:gd name="connsiteY25-2596" fmla="*/ 6916620 h 6925856"/>
              <a:gd name="connsiteX26-2597" fmla="*/ 5773792 w 7846076"/>
              <a:gd name="connsiteY26-2598" fmla="*/ 6916620 h 6925856"/>
              <a:gd name="connsiteX27-2599" fmla="*/ 2694856 w 7846076"/>
              <a:gd name="connsiteY27-2600" fmla="*/ 2869862 h 6925856"/>
              <a:gd name="connsiteX28-2601" fmla="*/ 2939759 w 7846076"/>
              <a:gd name="connsiteY28-2602" fmla="*/ 2549117 h 6925856"/>
              <a:gd name="connsiteX29-2603" fmla="*/ 6226274 w 7846076"/>
              <a:gd name="connsiteY29-2604" fmla="*/ 6916620 h 6925856"/>
              <a:gd name="connsiteX30-2605" fmla="*/ 7016754 w 7846076"/>
              <a:gd name="connsiteY30-2606" fmla="*/ 6916619 h 6925856"/>
              <a:gd name="connsiteX31-2607" fmla="*/ 6608452 w 7846076"/>
              <a:gd name="connsiteY31-2608" fmla="*/ 6925856 h 6925856"/>
              <a:gd name="connsiteX32-2609" fmla="*/ 3099633 w 7846076"/>
              <a:gd name="connsiteY32-2610" fmla="*/ 2339732 h 6925856"/>
              <a:gd name="connsiteX33-2611" fmla="*/ 3318307 w 7846076"/>
              <a:gd name="connsiteY33-2612" fmla="*/ 2053337 h 6925856"/>
              <a:gd name="connsiteX34-2613" fmla="*/ 7016754 w 7846076"/>
              <a:gd name="connsiteY34-2614" fmla="*/ 6916619 h 6925856"/>
              <a:gd name="connsiteX35-2615" fmla="*/ 7846076 w 7846076"/>
              <a:gd name="connsiteY35-2616" fmla="*/ 6925855 h 6925856"/>
              <a:gd name="connsiteX36-2617" fmla="*/ 7370401 w 7846076"/>
              <a:gd name="connsiteY36-2618" fmla="*/ 6907383 h 6925856"/>
              <a:gd name="connsiteX37-2619" fmla="*/ 3494362 w 7846076"/>
              <a:gd name="connsiteY37-2620" fmla="*/ 1822761 h 6925856"/>
              <a:gd name="connsiteX38-2621" fmla="*/ 3722100 w 7846076"/>
              <a:gd name="connsiteY38-2622" fmla="*/ 1524494 h 6925856"/>
              <a:gd name="connsiteX39-2623" fmla="*/ 7846076 w 7846076"/>
              <a:gd name="connsiteY39-2624" fmla="*/ 6925855 h 692585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129" y="connsiteY32-130"/>
              </a:cxn>
              <a:cxn ang="0">
                <a:pos x="connsiteX33-131" y="connsiteY33-132"/>
              </a:cxn>
              <a:cxn ang="0">
                <a:pos x="connsiteX34-133" y="connsiteY34-134"/>
              </a:cxn>
              <a:cxn ang="0">
                <a:pos x="connsiteX35-135" y="connsiteY35-136"/>
              </a:cxn>
              <a:cxn ang="0">
                <a:pos x="connsiteX36-137" y="connsiteY36-138"/>
              </a:cxn>
              <a:cxn ang="0">
                <a:pos x="connsiteX37-139" y="connsiteY37-140"/>
              </a:cxn>
              <a:cxn ang="0">
                <a:pos x="connsiteX38-141" y="connsiteY38-142"/>
              </a:cxn>
              <a:cxn ang="0">
                <a:pos x="connsiteX39-143" y="connsiteY39-144"/>
              </a:cxn>
            </a:cxnLst>
            <a:rect l="l" t="t" r="r" b="b"/>
            <a:pathLst>
              <a:path w="7846076" h="6925856">
                <a:moveTo>
                  <a:pt x="21359" y="2715072"/>
                </a:moveTo>
                <a:lnTo>
                  <a:pt x="28481" y="2104139"/>
                </a:lnTo>
                <a:lnTo>
                  <a:pt x="1624851" y="4084"/>
                </a:lnTo>
                <a:lnTo>
                  <a:pt x="2077368" y="0"/>
                </a:lnTo>
                <a:lnTo>
                  <a:pt x="21359" y="2715072"/>
                </a:lnTo>
                <a:close/>
                <a:moveTo>
                  <a:pt x="27174" y="3835090"/>
                </a:moveTo>
                <a:lnTo>
                  <a:pt x="13526" y="3206130"/>
                </a:lnTo>
                <a:lnTo>
                  <a:pt x="2426210" y="3723"/>
                </a:lnTo>
                <a:lnTo>
                  <a:pt x="2914069" y="840"/>
                </a:lnTo>
                <a:lnTo>
                  <a:pt x="27174" y="3835090"/>
                </a:lnTo>
                <a:close/>
                <a:moveTo>
                  <a:pt x="22812" y="4882781"/>
                </a:moveTo>
                <a:lnTo>
                  <a:pt x="0" y="4315002"/>
                </a:lnTo>
                <a:lnTo>
                  <a:pt x="3254227" y="4602"/>
                </a:lnTo>
                <a:lnTo>
                  <a:pt x="3709301" y="25779"/>
                </a:lnTo>
                <a:lnTo>
                  <a:pt x="22812" y="4882781"/>
                </a:lnTo>
                <a:close/>
                <a:moveTo>
                  <a:pt x="29263" y="5985735"/>
                </a:moveTo>
                <a:lnTo>
                  <a:pt x="15264" y="5394811"/>
                </a:lnTo>
                <a:lnTo>
                  <a:pt x="4090319" y="4084"/>
                </a:lnTo>
                <a:lnTo>
                  <a:pt x="4526162" y="17286"/>
                </a:lnTo>
                <a:lnTo>
                  <a:pt x="29263" y="5985735"/>
                </a:lnTo>
                <a:close/>
                <a:moveTo>
                  <a:pt x="5407841" y="6916619"/>
                </a:moveTo>
                <a:lnTo>
                  <a:pt x="5009101" y="6925855"/>
                </a:lnTo>
                <a:lnTo>
                  <a:pt x="2298995" y="3388318"/>
                </a:lnTo>
                <a:lnTo>
                  <a:pt x="2535265" y="3078877"/>
                </a:lnTo>
                <a:lnTo>
                  <a:pt x="5407841" y="6916619"/>
                </a:lnTo>
                <a:close/>
                <a:moveTo>
                  <a:pt x="6226274" y="6916620"/>
                </a:moveTo>
                <a:lnTo>
                  <a:pt x="5773792" y="6916620"/>
                </a:lnTo>
                <a:lnTo>
                  <a:pt x="2694856" y="2869862"/>
                </a:lnTo>
                <a:lnTo>
                  <a:pt x="2939759" y="2549117"/>
                </a:lnTo>
                <a:lnTo>
                  <a:pt x="6226274" y="6916620"/>
                </a:lnTo>
                <a:close/>
                <a:moveTo>
                  <a:pt x="7016754" y="6916619"/>
                </a:moveTo>
                <a:lnTo>
                  <a:pt x="6608452" y="6925856"/>
                </a:lnTo>
                <a:lnTo>
                  <a:pt x="3099633" y="2339732"/>
                </a:lnTo>
                <a:lnTo>
                  <a:pt x="3318307" y="2053337"/>
                </a:lnTo>
                <a:lnTo>
                  <a:pt x="7016754" y="6916619"/>
                </a:lnTo>
                <a:close/>
                <a:moveTo>
                  <a:pt x="7846076" y="6925855"/>
                </a:moveTo>
                <a:lnTo>
                  <a:pt x="7370401" y="6907383"/>
                </a:lnTo>
                <a:lnTo>
                  <a:pt x="3494362" y="1822761"/>
                </a:lnTo>
                <a:lnTo>
                  <a:pt x="3722100" y="1524494"/>
                </a:lnTo>
                <a:lnTo>
                  <a:pt x="7846076" y="6925855"/>
                </a:lnTo>
                <a:close/>
              </a:path>
            </a:pathLst>
          </a:custGeom>
          <a:solidFill>
            <a:schemeClr val="bg1">
              <a:lumMod val="9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5" name="文本框 4"/>
          <p:cNvSpPr txBox="1"/>
          <p:nvPr/>
        </p:nvSpPr>
        <p:spPr>
          <a:xfrm>
            <a:off x="602079" y="1143211"/>
            <a:ext cx="10918408" cy="1287532"/>
          </a:xfrm>
          <a:prstGeom prst="rect">
            <a:avLst/>
          </a:prstGeom>
          <a:noFill/>
        </p:spPr>
        <p:txBody>
          <a:bodyPr wrap="square" rtlCol="0">
            <a:spAutoFit/>
          </a:bodyPr>
          <a:lstStyle/>
          <a:p>
            <a:pPr>
              <a:lnSpc>
                <a:spcPct val="150000"/>
              </a:lnSpc>
            </a:pPr>
            <a:r>
              <a:rPr lang="zh-CN" altLang="en-US" dirty="0"/>
              <a:t>基于控制变量对高、低创新性两组论文进行匹配并比较加权的投录时间差异，</a:t>
            </a:r>
            <a:endParaRPr lang="en-US" altLang="zh-CN" dirty="0"/>
          </a:p>
          <a:p>
            <a:pPr>
              <a:lnSpc>
                <a:spcPct val="150000"/>
              </a:lnSpc>
            </a:pPr>
            <a:r>
              <a:rPr lang="zh-CN" altLang="en-US" dirty="0"/>
              <a:t>结果表明，高创新性论文在投录时间上要显著长于低创新性论文，且差异随高</a:t>
            </a:r>
            <a:r>
              <a:rPr lang="en-US" altLang="zh-CN" dirty="0"/>
              <a:t>/</a:t>
            </a:r>
            <a:r>
              <a:rPr lang="zh-CN" altLang="en-US" dirty="0"/>
              <a:t>低创新性的定义严格程度提升而增加</a:t>
            </a:r>
            <a:endParaRPr lang="en-US" altLang="zh-CN" dirty="0"/>
          </a:p>
        </p:txBody>
      </p:sp>
      <p:pic>
        <p:nvPicPr>
          <p:cNvPr id="6" name="图片 5"/>
          <p:cNvPicPr>
            <a:picLocks noChangeAspect="1"/>
          </p:cNvPicPr>
          <p:nvPr/>
        </p:nvPicPr>
        <p:blipFill>
          <a:blip r:embed="rId1"/>
          <a:stretch>
            <a:fillRect/>
          </a:stretch>
        </p:blipFill>
        <p:spPr>
          <a:xfrm>
            <a:off x="1509962" y="2430743"/>
            <a:ext cx="9102642" cy="4122097"/>
          </a:xfrm>
          <a:prstGeom prst="rect">
            <a:avLst/>
          </a:prstGeom>
        </p:spPr>
      </p:pic>
      <p:sp>
        <p:nvSpPr>
          <p:cNvPr id="2" name="íšľîḓê"/>
          <p:cNvSpPr>
            <a:spLocks noGrp="1"/>
          </p:cNvSpPr>
          <p:nvPr>
            <p:ph type="title"/>
          </p:nvPr>
        </p:nvSpPr>
        <p:spPr/>
        <p:txBody>
          <a:bodyPr/>
          <a:lstStyle/>
          <a:p>
            <a:r>
              <a:rPr lang="en-US" altLang="zh-CN" dirty="0"/>
              <a:t>3. </a:t>
            </a:r>
            <a:r>
              <a:rPr lang="zh-CN" altLang="en-US" dirty="0"/>
              <a:t>研究结果 </a:t>
            </a:r>
            <a:r>
              <a:rPr lang="en-US" altLang="zh-CN" dirty="0"/>
              <a:t>– CEM</a:t>
            </a:r>
            <a:r>
              <a:rPr lang="zh-CN" altLang="en-US" dirty="0"/>
              <a:t>匹配分析</a:t>
            </a:r>
            <a:endParaRPr lang="zh-CN" altLang="en-US" dirty="0"/>
          </a:p>
        </p:txBody>
      </p:sp>
    </p:spTree>
    <p:custDataLst>
      <p:tags r:id="rId2"/>
    </p:custData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iṣlide"/>
        <p:cNvGrpSpPr/>
        <p:nvPr/>
      </p:nvGrpSpPr>
      <p:grpSpPr>
        <a:xfrm>
          <a:off x="0" y="0"/>
          <a:ext cx="0" cy="0"/>
          <a:chOff x="0" y="0"/>
          <a:chExt cx="0" cy="0"/>
        </a:xfrm>
      </p:grpSpPr>
      <p:sp>
        <p:nvSpPr>
          <p:cNvPr id="4" name="ïṣḷide"/>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110" name="íṥļîďè"/>
          <p:cNvSpPr/>
          <p:nvPr/>
        </p:nvSpPr>
        <p:spPr>
          <a:xfrm rot="10800000">
            <a:off x="4396104" y="0"/>
            <a:ext cx="7846076" cy="6857999"/>
          </a:xfrm>
          <a:custGeom>
            <a:avLst/>
            <a:gdLst>
              <a:gd name="connsiteX0" fmla="*/ 168369 w 9517086"/>
              <a:gd name="connsiteY0" fmla="*/ 4779933 h 7291226"/>
              <a:gd name="connsiteX1" fmla="*/ 0 w 9517086"/>
              <a:gd name="connsiteY1" fmla="*/ 4409146 h 7291226"/>
              <a:gd name="connsiteX2" fmla="*/ 3332806 w 9517086"/>
              <a:gd name="connsiteY2" fmla="*/ 0 h 7291226"/>
              <a:gd name="connsiteX3" fmla="*/ 3794560 w 9517086"/>
              <a:gd name="connsiteY3" fmla="*/ 32861 h 7291226"/>
              <a:gd name="connsiteX4" fmla="*/ 488220 w 9517086"/>
              <a:gd name="connsiteY4" fmla="*/ 5484315 h 7291226"/>
              <a:gd name="connsiteX5" fmla="*/ 299082 w 9517086"/>
              <a:gd name="connsiteY5" fmla="*/ 5067791 h 7291226"/>
              <a:gd name="connsiteX6" fmla="*/ 4106456 w 9517086"/>
              <a:gd name="connsiteY6" fmla="*/ 55057 h 7291226"/>
              <a:gd name="connsiteX7" fmla="*/ 4585079 w 9517086"/>
              <a:gd name="connsiteY7" fmla="*/ 89119 h 7291226"/>
              <a:gd name="connsiteX8" fmla="*/ 779421 w 9517086"/>
              <a:gd name="connsiteY8" fmla="*/ 6125606 h 7291226"/>
              <a:gd name="connsiteX9" fmla="*/ 618065 w 9517086"/>
              <a:gd name="connsiteY9" fmla="*/ 5770263 h 7291226"/>
              <a:gd name="connsiteX10" fmla="*/ 4897528 w 9517086"/>
              <a:gd name="connsiteY10" fmla="*/ 111354 h 7291226"/>
              <a:gd name="connsiteX11" fmla="*/ 5324893 w 9517086"/>
              <a:gd name="connsiteY11" fmla="*/ 141768 h 7291226"/>
              <a:gd name="connsiteX12" fmla="*/ 1099910 w 9517086"/>
              <a:gd name="connsiteY12" fmla="*/ 6831395 h 7291226"/>
              <a:gd name="connsiteX13" fmla="*/ 919656 w 9517086"/>
              <a:gd name="connsiteY13" fmla="*/ 6434435 h 7291226"/>
              <a:gd name="connsiteX14" fmla="*/ 5668965 w 9517086"/>
              <a:gd name="connsiteY14" fmla="*/ 166254 h 7291226"/>
              <a:gd name="connsiteX15" fmla="*/ 6114044 w 9517086"/>
              <a:gd name="connsiteY15" fmla="*/ 197929 h 7291226"/>
              <a:gd name="connsiteX16" fmla="*/ 7106560 w 9517086"/>
              <a:gd name="connsiteY16" fmla="*/ 7291226 h 7291226"/>
              <a:gd name="connsiteX17" fmla="*/ 6670875 w 9517086"/>
              <a:gd name="connsiteY17" fmla="*/ 7291226 h 7291226"/>
              <a:gd name="connsiteX18" fmla="*/ 3849932 w 9517086"/>
              <a:gd name="connsiteY18" fmla="*/ 3596670 h 7291226"/>
              <a:gd name="connsiteX19" fmla="*/ 4086202 w 9517086"/>
              <a:gd name="connsiteY19" fmla="*/ 3287229 h 7291226"/>
              <a:gd name="connsiteX20" fmla="*/ 7934229 w 9517086"/>
              <a:gd name="connsiteY20" fmla="*/ 7291226 h 7291226"/>
              <a:gd name="connsiteX21" fmla="*/ 7444802 w 9517086"/>
              <a:gd name="connsiteY21" fmla="*/ 7291226 h 7291226"/>
              <a:gd name="connsiteX22" fmla="*/ 4245793 w 9517086"/>
              <a:gd name="connsiteY22" fmla="*/ 3078214 h 7291226"/>
              <a:gd name="connsiteX23" fmla="*/ 4490696 w 9517086"/>
              <a:gd name="connsiteY23" fmla="*/ 2757469 h 7291226"/>
              <a:gd name="connsiteX24" fmla="*/ 8687764 w 9517086"/>
              <a:gd name="connsiteY24" fmla="*/ 7291226 h 7291226"/>
              <a:gd name="connsiteX25" fmla="*/ 8270226 w 9517086"/>
              <a:gd name="connsiteY25" fmla="*/ 7291226 h 7291226"/>
              <a:gd name="connsiteX26" fmla="*/ 4650570 w 9517086"/>
              <a:gd name="connsiteY26" fmla="*/ 2548084 h 7291226"/>
              <a:gd name="connsiteX27" fmla="*/ 4869244 w 9517086"/>
              <a:gd name="connsiteY27" fmla="*/ 2261689 h 7291226"/>
              <a:gd name="connsiteX28" fmla="*/ 9517086 w 9517086"/>
              <a:gd name="connsiteY28" fmla="*/ 7291226 h 7291226"/>
              <a:gd name="connsiteX29" fmla="*/ 9050647 w 9517086"/>
              <a:gd name="connsiteY29" fmla="*/ 7291226 h 7291226"/>
              <a:gd name="connsiteX30" fmla="*/ 5045299 w 9517086"/>
              <a:gd name="connsiteY30" fmla="*/ 2031113 h 7291226"/>
              <a:gd name="connsiteX31" fmla="*/ 5273037 w 9517086"/>
              <a:gd name="connsiteY31" fmla="*/ 1732846 h 7291226"/>
              <a:gd name="connsiteX0-1" fmla="*/ 168369 w 9378540"/>
              <a:gd name="connsiteY0-2" fmla="*/ 4779933 h 7291226"/>
              <a:gd name="connsiteX1-3" fmla="*/ 0 w 9378540"/>
              <a:gd name="connsiteY1-4" fmla="*/ 4409146 h 7291226"/>
              <a:gd name="connsiteX2-5" fmla="*/ 3332806 w 9378540"/>
              <a:gd name="connsiteY2-6" fmla="*/ 0 h 7291226"/>
              <a:gd name="connsiteX3-7" fmla="*/ 3794560 w 9378540"/>
              <a:gd name="connsiteY3-8" fmla="*/ 32861 h 7291226"/>
              <a:gd name="connsiteX4-9" fmla="*/ 168369 w 9378540"/>
              <a:gd name="connsiteY4-10" fmla="*/ 4779933 h 7291226"/>
              <a:gd name="connsiteX5-11" fmla="*/ 488220 w 9378540"/>
              <a:gd name="connsiteY5-12" fmla="*/ 5484315 h 7291226"/>
              <a:gd name="connsiteX6-13" fmla="*/ 299082 w 9378540"/>
              <a:gd name="connsiteY6-14" fmla="*/ 5067791 h 7291226"/>
              <a:gd name="connsiteX7-15" fmla="*/ 4106456 w 9378540"/>
              <a:gd name="connsiteY7-16" fmla="*/ 55057 h 7291226"/>
              <a:gd name="connsiteX8-17" fmla="*/ 4585079 w 9378540"/>
              <a:gd name="connsiteY8-18" fmla="*/ 89119 h 7291226"/>
              <a:gd name="connsiteX9-19" fmla="*/ 488220 w 9378540"/>
              <a:gd name="connsiteY9-20" fmla="*/ 5484315 h 7291226"/>
              <a:gd name="connsiteX10-21" fmla="*/ 779421 w 9378540"/>
              <a:gd name="connsiteY10-22" fmla="*/ 6125606 h 7291226"/>
              <a:gd name="connsiteX11-23" fmla="*/ 618065 w 9378540"/>
              <a:gd name="connsiteY11-24" fmla="*/ 5770263 h 7291226"/>
              <a:gd name="connsiteX12-25" fmla="*/ 4897528 w 9378540"/>
              <a:gd name="connsiteY12-26" fmla="*/ 111354 h 7291226"/>
              <a:gd name="connsiteX13-27" fmla="*/ 5324893 w 9378540"/>
              <a:gd name="connsiteY13-28" fmla="*/ 141768 h 7291226"/>
              <a:gd name="connsiteX14-29" fmla="*/ 779421 w 9378540"/>
              <a:gd name="connsiteY14-30" fmla="*/ 6125606 h 7291226"/>
              <a:gd name="connsiteX15-31" fmla="*/ 1099910 w 9378540"/>
              <a:gd name="connsiteY15-32" fmla="*/ 6831395 h 7291226"/>
              <a:gd name="connsiteX16-33" fmla="*/ 919656 w 9378540"/>
              <a:gd name="connsiteY16-34" fmla="*/ 6434435 h 7291226"/>
              <a:gd name="connsiteX17-35" fmla="*/ 5668965 w 9378540"/>
              <a:gd name="connsiteY17-36" fmla="*/ 166254 h 7291226"/>
              <a:gd name="connsiteX18-37" fmla="*/ 6114044 w 9378540"/>
              <a:gd name="connsiteY18-38" fmla="*/ 197929 h 7291226"/>
              <a:gd name="connsiteX19-39" fmla="*/ 1099910 w 9378540"/>
              <a:gd name="connsiteY19-40" fmla="*/ 6831395 h 7291226"/>
              <a:gd name="connsiteX20-41" fmla="*/ 7106560 w 9378540"/>
              <a:gd name="connsiteY20-42" fmla="*/ 7291226 h 7291226"/>
              <a:gd name="connsiteX21-43" fmla="*/ 6670875 w 9378540"/>
              <a:gd name="connsiteY21-44" fmla="*/ 7291226 h 7291226"/>
              <a:gd name="connsiteX22-45" fmla="*/ 3849932 w 9378540"/>
              <a:gd name="connsiteY22-46" fmla="*/ 3596670 h 7291226"/>
              <a:gd name="connsiteX23-47" fmla="*/ 4086202 w 9378540"/>
              <a:gd name="connsiteY23-48" fmla="*/ 3287229 h 7291226"/>
              <a:gd name="connsiteX24-49" fmla="*/ 7106560 w 9378540"/>
              <a:gd name="connsiteY24-50" fmla="*/ 7291226 h 7291226"/>
              <a:gd name="connsiteX25-51" fmla="*/ 7934229 w 9378540"/>
              <a:gd name="connsiteY25-52" fmla="*/ 7291226 h 7291226"/>
              <a:gd name="connsiteX26-53" fmla="*/ 7444802 w 9378540"/>
              <a:gd name="connsiteY26-54" fmla="*/ 7291226 h 7291226"/>
              <a:gd name="connsiteX27-55" fmla="*/ 4245793 w 9378540"/>
              <a:gd name="connsiteY27-56" fmla="*/ 3078214 h 7291226"/>
              <a:gd name="connsiteX28-57" fmla="*/ 4490696 w 9378540"/>
              <a:gd name="connsiteY28-58" fmla="*/ 2757469 h 7291226"/>
              <a:gd name="connsiteX29-59" fmla="*/ 7934229 w 9378540"/>
              <a:gd name="connsiteY29-60" fmla="*/ 7291226 h 7291226"/>
              <a:gd name="connsiteX30-61" fmla="*/ 8687764 w 9378540"/>
              <a:gd name="connsiteY30-62" fmla="*/ 7291226 h 7291226"/>
              <a:gd name="connsiteX31-63" fmla="*/ 8270226 w 9378540"/>
              <a:gd name="connsiteY31-64" fmla="*/ 7291226 h 7291226"/>
              <a:gd name="connsiteX32" fmla="*/ 4650570 w 9378540"/>
              <a:gd name="connsiteY32" fmla="*/ 2548084 h 7291226"/>
              <a:gd name="connsiteX33" fmla="*/ 4869244 w 9378540"/>
              <a:gd name="connsiteY33" fmla="*/ 2261689 h 7291226"/>
              <a:gd name="connsiteX34" fmla="*/ 8687764 w 9378540"/>
              <a:gd name="connsiteY34" fmla="*/ 7291226 h 7291226"/>
              <a:gd name="connsiteX35" fmla="*/ 9378540 w 9378540"/>
              <a:gd name="connsiteY35" fmla="*/ 7097262 h 7291226"/>
              <a:gd name="connsiteX36" fmla="*/ 9050647 w 9378540"/>
              <a:gd name="connsiteY36" fmla="*/ 7291226 h 7291226"/>
              <a:gd name="connsiteX37" fmla="*/ 5045299 w 9378540"/>
              <a:gd name="connsiteY37" fmla="*/ 2031113 h 7291226"/>
              <a:gd name="connsiteX38" fmla="*/ 5273037 w 9378540"/>
              <a:gd name="connsiteY38" fmla="*/ 1732846 h 7291226"/>
              <a:gd name="connsiteX39" fmla="*/ 9378540 w 9378540"/>
              <a:gd name="connsiteY39" fmla="*/ 7097262 h 7291226"/>
              <a:gd name="connsiteX0-65" fmla="*/ 168369 w 9378540"/>
              <a:gd name="connsiteY0-66" fmla="*/ 4779933 h 7291226"/>
              <a:gd name="connsiteX1-67" fmla="*/ 0 w 9378540"/>
              <a:gd name="connsiteY1-68" fmla="*/ 4409146 h 7291226"/>
              <a:gd name="connsiteX2-69" fmla="*/ 3332806 w 9378540"/>
              <a:gd name="connsiteY2-70" fmla="*/ 0 h 7291226"/>
              <a:gd name="connsiteX3-71" fmla="*/ 3794560 w 9378540"/>
              <a:gd name="connsiteY3-72" fmla="*/ 32861 h 7291226"/>
              <a:gd name="connsiteX4-73" fmla="*/ 168369 w 9378540"/>
              <a:gd name="connsiteY4-74" fmla="*/ 4779933 h 7291226"/>
              <a:gd name="connsiteX5-75" fmla="*/ 488220 w 9378540"/>
              <a:gd name="connsiteY5-76" fmla="*/ 5484315 h 7291226"/>
              <a:gd name="connsiteX6-77" fmla="*/ 299082 w 9378540"/>
              <a:gd name="connsiteY6-78" fmla="*/ 5067791 h 7291226"/>
              <a:gd name="connsiteX7-79" fmla="*/ 4106456 w 9378540"/>
              <a:gd name="connsiteY7-80" fmla="*/ 55057 h 7291226"/>
              <a:gd name="connsiteX8-81" fmla="*/ 4585079 w 9378540"/>
              <a:gd name="connsiteY8-82" fmla="*/ 89119 h 7291226"/>
              <a:gd name="connsiteX9-83" fmla="*/ 488220 w 9378540"/>
              <a:gd name="connsiteY9-84" fmla="*/ 5484315 h 7291226"/>
              <a:gd name="connsiteX10-85" fmla="*/ 779421 w 9378540"/>
              <a:gd name="connsiteY10-86" fmla="*/ 6125606 h 7291226"/>
              <a:gd name="connsiteX11-87" fmla="*/ 618065 w 9378540"/>
              <a:gd name="connsiteY11-88" fmla="*/ 5770263 h 7291226"/>
              <a:gd name="connsiteX12-89" fmla="*/ 4897528 w 9378540"/>
              <a:gd name="connsiteY12-90" fmla="*/ 111354 h 7291226"/>
              <a:gd name="connsiteX13-91" fmla="*/ 5324893 w 9378540"/>
              <a:gd name="connsiteY13-92" fmla="*/ 141768 h 7291226"/>
              <a:gd name="connsiteX14-93" fmla="*/ 779421 w 9378540"/>
              <a:gd name="connsiteY14-94" fmla="*/ 6125606 h 7291226"/>
              <a:gd name="connsiteX15-95" fmla="*/ 1099910 w 9378540"/>
              <a:gd name="connsiteY15-96" fmla="*/ 6831395 h 7291226"/>
              <a:gd name="connsiteX16-97" fmla="*/ 919656 w 9378540"/>
              <a:gd name="connsiteY16-98" fmla="*/ 6434435 h 7291226"/>
              <a:gd name="connsiteX17-99" fmla="*/ 5668965 w 9378540"/>
              <a:gd name="connsiteY17-100" fmla="*/ 166254 h 7291226"/>
              <a:gd name="connsiteX18-101" fmla="*/ 6114044 w 9378540"/>
              <a:gd name="connsiteY18-102" fmla="*/ 197929 h 7291226"/>
              <a:gd name="connsiteX19-103" fmla="*/ 1099910 w 9378540"/>
              <a:gd name="connsiteY19-104" fmla="*/ 6831395 h 7291226"/>
              <a:gd name="connsiteX20-105" fmla="*/ 7106560 w 9378540"/>
              <a:gd name="connsiteY20-106" fmla="*/ 7291226 h 7291226"/>
              <a:gd name="connsiteX21-107" fmla="*/ 6670875 w 9378540"/>
              <a:gd name="connsiteY21-108" fmla="*/ 7291226 h 7291226"/>
              <a:gd name="connsiteX22-109" fmla="*/ 3849932 w 9378540"/>
              <a:gd name="connsiteY22-110" fmla="*/ 3596670 h 7291226"/>
              <a:gd name="connsiteX23-111" fmla="*/ 4086202 w 9378540"/>
              <a:gd name="connsiteY23-112" fmla="*/ 3287229 h 7291226"/>
              <a:gd name="connsiteX24-113" fmla="*/ 7106560 w 9378540"/>
              <a:gd name="connsiteY24-114" fmla="*/ 7291226 h 7291226"/>
              <a:gd name="connsiteX25-115" fmla="*/ 7934229 w 9378540"/>
              <a:gd name="connsiteY25-116" fmla="*/ 7291226 h 7291226"/>
              <a:gd name="connsiteX26-117" fmla="*/ 7444802 w 9378540"/>
              <a:gd name="connsiteY26-118" fmla="*/ 7291226 h 7291226"/>
              <a:gd name="connsiteX27-119" fmla="*/ 4245793 w 9378540"/>
              <a:gd name="connsiteY27-120" fmla="*/ 3078214 h 7291226"/>
              <a:gd name="connsiteX28-121" fmla="*/ 4490696 w 9378540"/>
              <a:gd name="connsiteY28-122" fmla="*/ 2757469 h 7291226"/>
              <a:gd name="connsiteX29-123" fmla="*/ 7934229 w 9378540"/>
              <a:gd name="connsiteY29-124" fmla="*/ 7291226 h 7291226"/>
              <a:gd name="connsiteX30-125" fmla="*/ 8687764 w 9378540"/>
              <a:gd name="connsiteY30-126" fmla="*/ 7291226 h 7291226"/>
              <a:gd name="connsiteX31-127" fmla="*/ 8270226 w 9378540"/>
              <a:gd name="connsiteY31-128" fmla="*/ 7291226 h 7291226"/>
              <a:gd name="connsiteX32-129" fmla="*/ 4650570 w 9378540"/>
              <a:gd name="connsiteY32-130" fmla="*/ 2548084 h 7291226"/>
              <a:gd name="connsiteX33-131" fmla="*/ 4869244 w 9378540"/>
              <a:gd name="connsiteY33-132" fmla="*/ 2261689 h 7291226"/>
              <a:gd name="connsiteX34-133" fmla="*/ 8687764 w 9378540"/>
              <a:gd name="connsiteY34-134" fmla="*/ 7291226 h 7291226"/>
              <a:gd name="connsiteX35-135" fmla="*/ 9378540 w 9378540"/>
              <a:gd name="connsiteY35-136" fmla="*/ 7097262 h 7291226"/>
              <a:gd name="connsiteX36-137" fmla="*/ 8921338 w 9378540"/>
              <a:gd name="connsiteY36-138" fmla="*/ 7115735 h 7291226"/>
              <a:gd name="connsiteX37-139" fmla="*/ 5045299 w 9378540"/>
              <a:gd name="connsiteY37-140" fmla="*/ 2031113 h 7291226"/>
              <a:gd name="connsiteX38-141" fmla="*/ 5273037 w 9378540"/>
              <a:gd name="connsiteY38-142" fmla="*/ 1732846 h 7291226"/>
              <a:gd name="connsiteX39-143" fmla="*/ 9378540 w 9378540"/>
              <a:gd name="connsiteY39-144" fmla="*/ 7097262 h 7291226"/>
              <a:gd name="connsiteX0-145" fmla="*/ 168369 w 9397013"/>
              <a:gd name="connsiteY0-146" fmla="*/ 4779933 h 7291226"/>
              <a:gd name="connsiteX1-147" fmla="*/ 0 w 9397013"/>
              <a:gd name="connsiteY1-148" fmla="*/ 4409146 h 7291226"/>
              <a:gd name="connsiteX2-149" fmla="*/ 3332806 w 9397013"/>
              <a:gd name="connsiteY2-150" fmla="*/ 0 h 7291226"/>
              <a:gd name="connsiteX3-151" fmla="*/ 3794560 w 9397013"/>
              <a:gd name="connsiteY3-152" fmla="*/ 32861 h 7291226"/>
              <a:gd name="connsiteX4-153" fmla="*/ 168369 w 9397013"/>
              <a:gd name="connsiteY4-154" fmla="*/ 4779933 h 7291226"/>
              <a:gd name="connsiteX5-155" fmla="*/ 488220 w 9397013"/>
              <a:gd name="connsiteY5-156" fmla="*/ 5484315 h 7291226"/>
              <a:gd name="connsiteX6-157" fmla="*/ 299082 w 9397013"/>
              <a:gd name="connsiteY6-158" fmla="*/ 5067791 h 7291226"/>
              <a:gd name="connsiteX7-159" fmla="*/ 4106456 w 9397013"/>
              <a:gd name="connsiteY7-160" fmla="*/ 55057 h 7291226"/>
              <a:gd name="connsiteX8-161" fmla="*/ 4585079 w 9397013"/>
              <a:gd name="connsiteY8-162" fmla="*/ 89119 h 7291226"/>
              <a:gd name="connsiteX9-163" fmla="*/ 488220 w 9397013"/>
              <a:gd name="connsiteY9-164" fmla="*/ 5484315 h 7291226"/>
              <a:gd name="connsiteX10-165" fmla="*/ 779421 w 9397013"/>
              <a:gd name="connsiteY10-166" fmla="*/ 6125606 h 7291226"/>
              <a:gd name="connsiteX11-167" fmla="*/ 618065 w 9397013"/>
              <a:gd name="connsiteY11-168" fmla="*/ 5770263 h 7291226"/>
              <a:gd name="connsiteX12-169" fmla="*/ 4897528 w 9397013"/>
              <a:gd name="connsiteY12-170" fmla="*/ 111354 h 7291226"/>
              <a:gd name="connsiteX13-171" fmla="*/ 5324893 w 9397013"/>
              <a:gd name="connsiteY13-172" fmla="*/ 141768 h 7291226"/>
              <a:gd name="connsiteX14-173" fmla="*/ 779421 w 9397013"/>
              <a:gd name="connsiteY14-174" fmla="*/ 6125606 h 7291226"/>
              <a:gd name="connsiteX15-175" fmla="*/ 1099910 w 9397013"/>
              <a:gd name="connsiteY15-176" fmla="*/ 6831395 h 7291226"/>
              <a:gd name="connsiteX16-177" fmla="*/ 919656 w 9397013"/>
              <a:gd name="connsiteY16-178" fmla="*/ 6434435 h 7291226"/>
              <a:gd name="connsiteX17-179" fmla="*/ 5668965 w 9397013"/>
              <a:gd name="connsiteY17-180" fmla="*/ 166254 h 7291226"/>
              <a:gd name="connsiteX18-181" fmla="*/ 6114044 w 9397013"/>
              <a:gd name="connsiteY18-182" fmla="*/ 197929 h 7291226"/>
              <a:gd name="connsiteX19-183" fmla="*/ 1099910 w 9397013"/>
              <a:gd name="connsiteY19-184" fmla="*/ 6831395 h 7291226"/>
              <a:gd name="connsiteX20-185" fmla="*/ 7106560 w 9397013"/>
              <a:gd name="connsiteY20-186" fmla="*/ 7291226 h 7291226"/>
              <a:gd name="connsiteX21-187" fmla="*/ 6670875 w 9397013"/>
              <a:gd name="connsiteY21-188" fmla="*/ 7291226 h 7291226"/>
              <a:gd name="connsiteX22-189" fmla="*/ 3849932 w 9397013"/>
              <a:gd name="connsiteY22-190" fmla="*/ 3596670 h 7291226"/>
              <a:gd name="connsiteX23-191" fmla="*/ 4086202 w 9397013"/>
              <a:gd name="connsiteY23-192" fmla="*/ 3287229 h 7291226"/>
              <a:gd name="connsiteX24-193" fmla="*/ 7106560 w 9397013"/>
              <a:gd name="connsiteY24-194" fmla="*/ 7291226 h 7291226"/>
              <a:gd name="connsiteX25-195" fmla="*/ 7934229 w 9397013"/>
              <a:gd name="connsiteY25-196" fmla="*/ 7291226 h 7291226"/>
              <a:gd name="connsiteX26-197" fmla="*/ 7444802 w 9397013"/>
              <a:gd name="connsiteY26-198" fmla="*/ 7291226 h 7291226"/>
              <a:gd name="connsiteX27-199" fmla="*/ 4245793 w 9397013"/>
              <a:gd name="connsiteY27-200" fmla="*/ 3078214 h 7291226"/>
              <a:gd name="connsiteX28-201" fmla="*/ 4490696 w 9397013"/>
              <a:gd name="connsiteY28-202" fmla="*/ 2757469 h 7291226"/>
              <a:gd name="connsiteX29-203" fmla="*/ 7934229 w 9397013"/>
              <a:gd name="connsiteY29-204" fmla="*/ 7291226 h 7291226"/>
              <a:gd name="connsiteX30-205" fmla="*/ 8687764 w 9397013"/>
              <a:gd name="connsiteY30-206" fmla="*/ 7291226 h 7291226"/>
              <a:gd name="connsiteX31-207" fmla="*/ 8270226 w 9397013"/>
              <a:gd name="connsiteY31-208" fmla="*/ 7291226 h 7291226"/>
              <a:gd name="connsiteX32-209" fmla="*/ 4650570 w 9397013"/>
              <a:gd name="connsiteY32-210" fmla="*/ 2548084 h 7291226"/>
              <a:gd name="connsiteX33-211" fmla="*/ 4869244 w 9397013"/>
              <a:gd name="connsiteY33-212" fmla="*/ 2261689 h 7291226"/>
              <a:gd name="connsiteX34-213" fmla="*/ 8687764 w 9397013"/>
              <a:gd name="connsiteY34-214" fmla="*/ 7291226 h 7291226"/>
              <a:gd name="connsiteX35-215" fmla="*/ 9397013 w 9397013"/>
              <a:gd name="connsiteY35-216" fmla="*/ 7134207 h 7291226"/>
              <a:gd name="connsiteX36-217" fmla="*/ 8921338 w 9397013"/>
              <a:gd name="connsiteY36-218" fmla="*/ 7115735 h 7291226"/>
              <a:gd name="connsiteX37-219" fmla="*/ 5045299 w 9397013"/>
              <a:gd name="connsiteY37-220" fmla="*/ 2031113 h 7291226"/>
              <a:gd name="connsiteX38-221" fmla="*/ 5273037 w 9397013"/>
              <a:gd name="connsiteY38-222" fmla="*/ 1732846 h 7291226"/>
              <a:gd name="connsiteX39-223" fmla="*/ 9397013 w 9397013"/>
              <a:gd name="connsiteY39-224" fmla="*/ 7134207 h 7291226"/>
              <a:gd name="connsiteX0-225" fmla="*/ 168369 w 9397013"/>
              <a:gd name="connsiteY0-226" fmla="*/ 4779933 h 7291226"/>
              <a:gd name="connsiteX1-227" fmla="*/ 0 w 9397013"/>
              <a:gd name="connsiteY1-228" fmla="*/ 4409146 h 7291226"/>
              <a:gd name="connsiteX2-229" fmla="*/ 3332806 w 9397013"/>
              <a:gd name="connsiteY2-230" fmla="*/ 0 h 7291226"/>
              <a:gd name="connsiteX3-231" fmla="*/ 3794560 w 9397013"/>
              <a:gd name="connsiteY3-232" fmla="*/ 32861 h 7291226"/>
              <a:gd name="connsiteX4-233" fmla="*/ 168369 w 9397013"/>
              <a:gd name="connsiteY4-234" fmla="*/ 4779933 h 7291226"/>
              <a:gd name="connsiteX5-235" fmla="*/ 488220 w 9397013"/>
              <a:gd name="connsiteY5-236" fmla="*/ 5484315 h 7291226"/>
              <a:gd name="connsiteX6-237" fmla="*/ 299082 w 9397013"/>
              <a:gd name="connsiteY6-238" fmla="*/ 5067791 h 7291226"/>
              <a:gd name="connsiteX7-239" fmla="*/ 4106456 w 9397013"/>
              <a:gd name="connsiteY7-240" fmla="*/ 55057 h 7291226"/>
              <a:gd name="connsiteX8-241" fmla="*/ 4585079 w 9397013"/>
              <a:gd name="connsiteY8-242" fmla="*/ 89119 h 7291226"/>
              <a:gd name="connsiteX9-243" fmla="*/ 488220 w 9397013"/>
              <a:gd name="connsiteY9-244" fmla="*/ 5484315 h 7291226"/>
              <a:gd name="connsiteX10-245" fmla="*/ 779421 w 9397013"/>
              <a:gd name="connsiteY10-246" fmla="*/ 6125606 h 7291226"/>
              <a:gd name="connsiteX11-247" fmla="*/ 618065 w 9397013"/>
              <a:gd name="connsiteY11-248" fmla="*/ 5770263 h 7291226"/>
              <a:gd name="connsiteX12-249" fmla="*/ 4897528 w 9397013"/>
              <a:gd name="connsiteY12-250" fmla="*/ 111354 h 7291226"/>
              <a:gd name="connsiteX13-251" fmla="*/ 5324893 w 9397013"/>
              <a:gd name="connsiteY13-252" fmla="*/ 141768 h 7291226"/>
              <a:gd name="connsiteX14-253" fmla="*/ 779421 w 9397013"/>
              <a:gd name="connsiteY14-254" fmla="*/ 6125606 h 7291226"/>
              <a:gd name="connsiteX15-255" fmla="*/ 1099910 w 9397013"/>
              <a:gd name="connsiteY15-256" fmla="*/ 6831395 h 7291226"/>
              <a:gd name="connsiteX16-257" fmla="*/ 919656 w 9397013"/>
              <a:gd name="connsiteY16-258" fmla="*/ 6434435 h 7291226"/>
              <a:gd name="connsiteX17-259" fmla="*/ 5668965 w 9397013"/>
              <a:gd name="connsiteY17-260" fmla="*/ 166254 h 7291226"/>
              <a:gd name="connsiteX18-261" fmla="*/ 6114044 w 9397013"/>
              <a:gd name="connsiteY18-262" fmla="*/ 197929 h 7291226"/>
              <a:gd name="connsiteX19-263" fmla="*/ 1099910 w 9397013"/>
              <a:gd name="connsiteY19-264" fmla="*/ 6831395 h 7291226"/>
              <a:gd name="connsiteX20-265" fmla="*/ 7106560 w 9397013"/>
              <a:gd name="connsiteY20-266" fmla="*/ 7291226 h 7291226"/>
              <a:gd name="connsiteX21-267" fmla="*/ 6670875 w 9397013"/>
              <a:gd name="connsiteY21-268" fmla="*/ 7291226 h 7291226"/>
              <a:gd name="connsiteX22-269" fmla="*/ 3849932 w 9397013"/>
              <a:gd name="connsiteY22-270" fmla="*/ 3596670 h 7291226"/>
              <a:gd name="connsiteX23-271" fmla="*/ 4086202 w 9397013"/>
              <a:gd name="connsiteY23-272" fmla="*/ 3287229 h 7291226"/>
              <a:gd name="connsiteX24-273" fmla="*/ 7106560 w 9397013"/>
              <a:gd name="connsiteY24-274" fmla="*/ 7291226 h 7291226"/>
              <a:gd name="connsiteX25-275" fmla="*/ 7934229 w 9397013"/>
              <a:gd name="connsiteY25-276" fmla="*/ 7291226 h 7291226"/>
              <a:gd name="connsiteX26-277" fmla="*/ 7444802 w 9397013"/>
              <a:gd name="connsiteY26-278" fmla="*/ 7291226 h 7291226"/>
              <a:gd name="connsiteX27-279" fmla="*/ 4245793 w 9397013"/>
              <a:gd name="connsiteY27-280" fmla="*/ 3078214 h 7291226"/>
              <a:gd name="connsiteX28-281" fmla="*/ 4490696 w 9397013"/>
              <a:gd name="connsiteY28-282" fmla="*/ 2757469 h 7291226"/>
              <a:gd name="connsiteX29-283" fmla="*/ 7934229 w 9397013"/>
              <a:gd name="connsiteY29-284" fmla="*/ 7291226 h 7291226"/>
              <a:gd name="connsiteX30-285" fmla="*/ 8530746 w 9397013"/>
              <a:gd name="connsiteY30-286" fmla="*/ 7088026 h 7291226"/>
              <a:gd name="connsiteX31-287" fmla="*/ 8270226 w 9397013"/>
              <a:gd name="connsiteY31-288" fmla="*/ 7291226 h 7291226"/>
              <a:gd name="connsiteX32-289" fmla="*/ 4650570 w 9397013"/>
              <a:gd name="connsiteY32-290" fmla="*/ 2548084 h 7291226"/>
              <a:gd name="connsiteX33-291" fmla="*/ 4869244 w 9397013"/>
              <a:gd name="connsiteY33-292" fmla="*/ 2261689 h 7291226"/>
              <a:gd name="connsiteX34-293" fmla="*/ 8530746 w 9397013"/>
              <a:gd name="connsiteY34-294" fmla="*/ 7088026 h 7291226"/>
              <a:gd name="connsiteX35-295" fmla="*/ 9397013 w 9397013"/>
              <a:gd name="connsiteY35-296" fmla="*/ 7134207 h 7291226"/>
              <a:gd name="connsiteX36-297" fmla="*/ 8921338 w 9397013"/>
              <a:gd name="connsiteY36-298" fmla="*/ 7115735 h 7291226"/>
              <a:gd name="connsiteX37-299" fmla="*/ 5045299 w 9397013"/>
              <a:gd name="connsiteY37-300" fmla="*/ 2031113 h 7291226"/>
              <a:gd name="connsiteX38-301" fmla="*/ 5273037 w 9397013"/>
              <a:gd name="connsiteY38-302" fmla="*/ 1732846 h 7291226"/>
              <a:gd name="connsiteX39-303" fmla="*/ 9397013 w 9397013"/>
              <a:gd name="connsiteY39-304" fmla="*/ 7134207 h 7291226"/>
              <a:gd name="connsiteX0-305" fmla="*/ 168369 w 9397013"/>
              <a:gd name="connsiteY0-306" fmla="*/ 4779933 h 7291226"/>
              <a:gd name="connsiteX1-307" fmla="*/ 0 w 9397013"/>
              <a:gd name="connsiteY1-308" fmla="*/ 4409146 h 7291226"/>
              <a:gd name="connsiteX2-309" fmla="*/ 3332806 w 9397013"/>
              <a:gd name="connsiteY2-310" fmla="*/ 0 h 7291226"/>
              <a:gd name="connsiteX3-311" fmla="*/ 3794560 w 9397013"/>
              <a:gd name="connsiteY3-312" fmla="*/ 32861 h 7291226"/>
              <a:gd name="connsiteX4-313" fmla="*/ 168369 w 9397013"/>
              <a:gd name="connsiteY4-314" fmla="*/ 4779933 h 7291226"/>
              <a:gd name="connsiteX5-315" fmla="*/ 488220 w 9397013"/>
              <a:gd name="connsiteY5-316" fmla="*/ 5484315 h 7291226"/>
              <a:gd name="connsiteX6-317" fmla="*/ 299082 w 9397013"/>
              <a:gd name="connsiteY6-318" fmla="*/ 5067791 h 7291226"/>
              <a:gd name="connsiteX7-319" fmla="*/ 4106456 w 9397013"/>
              <a:gd name="connsiteY7-320" fmla="*/ 55057 h 7291226"/>
              <a:gd name="connsiteX8-321" fmla="*/ 4585079 w 9397013"/>
              <a:gd name="connsiteY8-322" fmla="*/ 89119 h 7291226"/>
              <a:gd name="connsiteX9-323" fmla="*/ 488220 w 9397013"/>
              <a:gd name="connsiteY9-324" fmla="*/ 5484315 h 7291226"/>
              <a:gd name="connsiteX10-325" fmla="*/ 779421 w 9397013"/>
              <a:gd name="connsiteY10-326" fmla="*/ 6125606 h 7291226"/>
              <a:gd name="connsiteX11-327" fmla="*/ 618065 w 9397013"/>
              <a:gd name="connsiteY11-328" fmla="*/ 5770263 h 7291226"/>
              <a:gd name="connsiteX12-329" fmla="*/ 4897528 w 9397013"/>
              <a:gd name="connsiteY12-330" fmla="*/ 111354 h 7291226"/>
              <a:gd name="connsiteX13-331" fmla="*/ 5324893 w 9397013"/>
              <a:gd name="connsiteY13-332" fmla="*/ 141768 h 7291226"/>
              <a:gd name="connsiteX14-333" fmla="*/ 779421 w 9397013"/>
              <a:gd name="connsiteY14-334" fmla="*/ 6125606 h 7291226"/>
              <a:gd name="connsiteX15-335" fmla="*/ 1099910 w 9397013"/>
              <a:gd name="connsiteY15-336" fmla="*/ 6831395 h 7291226"/>
              <a:gd name="connsiteX16-337" fmla="*/ 919656 w 9397013"/>
              <a:gd name="connsiteY16-338" fmla="*/ 6434435 h 7291226"/>
              <a:gd name="connsiteX17-339" fmla="*/ 5668965 w 9397013"/>
              <a:gd name="connsiteY17-340" fmla="*/ 166254 h 7291226"/>
              <a:gd name="connsiteX18-341" fmla="*/ 6114044 w 9397013"/>
              <a:gd name="connsiteY18-342" fmla="*/ 197929 h 7291226"/>
              <a:gd name="connsiteX19-343" fmla="*/ 1099910 w 9397013"/>
              <a:gd name="connsiteY19-344" fmla="*/ 6831395 h 7291226"/>
              <a:gd name="connsiteX20-345" fmla="*/ 7106560 w 9397013"/>
              <a:gd name="connsiteY20-346" fmla="*/ 7291226 h 7291226"/>
              <a:gd name="connsiteX21-347" fmla="*/ 6670875 w 9397013"/>
              <a:gd name="connsiteY21-348" fmla="*/ 7291226 h 7291226"/>
              <a:gd name="connsiteX22-349" fmla="*/ 3849932 w 9397013"/>
              <a:gd name="connsiteY22-350" fmla="*/ 3596670 h 7291226"/>
              <a:gd name="connsiteX23-351" fmla="*/ 4086202 w 9397013"/>
              <a:gd name="connsiteY23-352" fmla="*/ 3287229 h 7291226"/>
              <a:gd name="connsiteX24-353" fmla="*/ 7106560 w 9397013"/>
              <a:gd name="connsiteY24-354" fmla="*/ 7291226 h 7291226"/>
              <a:gd name="connsiteX25-355" fmla="*/ 7934229 w 9397013"/>
              <a:gd name="connsiteY25-356" fmla="*/ 7291226 h 7291226"/>
              <a:gd name="connsiteX26-357" fmla="*/ 7444802 w 9397013"/>
              <a:gd name="connsiteY26-358" fmla="*/ 7291226 h 7291226"/>
              <a:gd name="connsiteX27-359" fmla="*/ 4245793 w 9397013"/>
              <a:gd name="connsiteY27-360" fmla="*/ 3078214 h 7291226"/>
              <a:gd name="connsiteX28-361" fmla="*/ 4490696 w 9397013"/>
              <a:gd name="connsiteY28-362" fmla="*/ 2757469 h 7291226"/>
              <a:gd name="connsiteX29-363" fmla="*/ 7934229 w 9397013"/>
              <a:gd name="connsiteY29-364" fmla="*/ 7291226 h 7291226"/>
              <a:gd name="connsiteX30-365" fmla="*/ 8530746 w 9397013"/>
              <a:gd name="connsiteY30-366" fmla="*/ 7088026 h 7291226"/>
              <a:gd name="connsiteX31-367" fmla="*/ 8150153 w 9397013"/>
              <a:gd name="connsiteY31-368" fmla="*/ 7097262 h 7291226"/>
              <a:gd name="connsiteX32-369" fmla="*/ 4650570 w 9397013"/>
              <a:gd name="connsiteY32-370" fmla="*/ 2548084 h 7291226"/>
              <a:gd name="connsiteX33-371" fmla="*/ 4869244 w 9397013"/>
              <a:gd name="connsiteY33-372" fmla="*/ 2261689 h 7291226"/>
              <a:gd name="connsiteX34-373" fmla="*/ 8530746 w 9397013"/>
              <a:gd name="connsiteY34-374" fmla="*/ 7088026 h 7291226"/>
              <a:gd name="connsiteX35-375" fmla="*/ 9397013 w 9397013"/>
              <a:gd name="connsiteY35-376" fmla="*/ 7134207 h 7291226"/>
              <a:gd name="connsiteX36-377" fmla="*/ 8921338 w 9397013"/>
              <a:gd name="connsiteY36-378" fmla="*/ 7115735 h 7291226"/>
              <a:gd name="connsiteX37-379" fmla="*/ 5045299 w 9397013"/>
              <a:gd name="connsiteY37-380" fmla="*/ 2031113 h 7291226"/>
              <a:gd name="connsiteX38-381" fmla="*/ 5273037 w 9397013"/>
              <a:gd name="connsiteY38-382" fmla="*/ 1732846 h 7291226"/>
              <a:gd name="connsiteX39-383" fmla="*/ 9397013 w 9397013"/>
              <a:gd name="connsiteY39-384" fmla="*/ 7134207 h 7291226"/>
              <a:gd name="connsiteX0-385" fmla="*/ 168369 w 9397013"/>
              <a:gd name="connsiteY0-386" fmla="*/ 4779933 h 7291226"/>
              <a:gd name="connsiteX1-387" fmla="*/ 0 w 9397013"/>
              <a:gd name="connsiteY1-388" fmla="*/ 4409146 h 7291226"/>
              <a:gd name="connsiteX2-389" fmla="*/ 3332806 w 9397013"/>
              <a:gd name="connsiteY2-390" fmla="*/ 0 h 7291226"/>
              <a:gd name="connsiteX3-391" fmla="*/ 3794560 w 9397013"/>
              <a:gd name="connsiteY3-392" fmla="*/ 32861 h 7291226"/>
              <a:gd name="connsiteX4-393" fmla="*/ 168369 w 9397013"/>
              <a:gd name="connsiteY4-394" fmla="*/ 4779933 h 7291226"/>
              <a:gd name="connsiteX5-395" fmla="*/ 488220 w 9397013"/>
              <a:gd name="connsiteY5-396" fmla="*/ 5484315 h 7291226"/>
              <a:gd name="connsiteX6-397" fmla="*/ 299082 w 9397013"/>
              <a:gd name="connsiteY6-398" fmla="*/ 5067791 h 7291226"/>
              <a:gd name="connsiteX7-399" fmla="*/ 4106456 w 9397013"/>
              <a:gd name="connsiteY7-400" fmla="*/ 55057 h 7291226"/>
              <a:gd name="connsiteX8-401" fmla="*/ 4585079 w 9397013"/>
              <a:gd name="connsiteY8-402" fmla="*/ 89119 h 7291226"/>
              <a:gd name="connsiteX9-403" fmla="*/ 488220 w 9397013"/>
              <a:gd name="connsiteY9-404" fmla="*/ 5484315 h 7291226"/>
              <a:gd name="connsiteX10-405" fmla="*/ 779421 w 9397013"/>
              <a:gd name="connsiteY10-406" fmla="*/ 6125606 h 7291226"/>
              <a:gd name="connsiteX11-407" fmla="*/ 618065 w 9397013"/>
              <a:gd name="connsiteY11-408" fmla="*/ 5770263 h 7291226"/>
              <a:gd name="connsiteX12-409" fmla="*/ 4897528 w 9397013"/>
              <a:gd name="connsiteY12-410" fmla="*/ 111354 h 7291226"/>
              <a:gd name="connsiteX13-411" fmla="*/ 5324893 w 9397013"/>
              <a:gd name="connsiteY13-412" fmla="*/ 141768 h 7291226"/>
              <a:gd name="connsiteX14-413" fmla="*/ 779421 w 9397013"/>
              <a:gd name="connsiteY14-414" fmla="*/ 6125606 h 7291226"/>
              <a:gd name="connsiteX15-415" fmla="*/ 1099910 w 9397013"/>
              <a:gd name="connsiteY15-416" fmla="*/ 6831395 h 7291226"/>
              <a:gd name="connsiteX16-417" fmla="*/ 919656 w 9397013"/>
              <a:gd name="connsiteY16-418" fmla="*/ 6434435 h 7291226"/>
              <a:gd name="connsiteX17-419" fmla="*/ 5668965 w 9397013"/>
              <a:gd name="connsiteY17-420" fmla="*/ 166254 h 7291226"/>
              <a:gd name="connsiteX18-421" fmla="*/ 6114044 w 9397013"/>
              <a:gd name="connsiteY18-422" fmla="*/ 197929 h 7291226"/>
              <a:gd name="connsiteX19-423" fmla="*/ 1099910 w 9397013"/>
              <a:gd name="connsiteY19-424" fmla="*/ 6831395 h 7291226"/>
              <a:gd name="connsiteX20-425" fmla="*/ 7106560 w 9397013"/>
              <a:gd name="connsiteY20-426" fmla="*/ 7291226 h 7291226"/>
              <a:gd name="connsiteX21-427" fmla="*/ 6670875 w 9397013"/>
              <a:gd name="connsiteY21-428" fmla="*/ 7291226 h 7291226"/>
              <a:gd name="connsiteX22-429" fmla="*/ 3849932 w 9397013"/>
              <a:gd name="connsiteY22-430" fmla="*/ 3596670 h 7291226"/>
              <a:gd name="connsiteX23-431" fmla="*/ 4086202 w 9397013"/>
              <a:gd name="connsiteY23-432" fmla="*/ 3287229 h 7291226"/>
              <a:gd name="connsiteX24-433" fmla="*/ 7106560 w 9397013"/>
              <a:gd name="connsiteY24-434" fmla="*/ 7291226 h 7291226"/>
              <a:gd name="connsiteX25-435" fmla="*/ 7934229 w 9397013"/>
              <a:gd name="connsiteY25-436" fmla="*/ 7291226 h 7291226"/>
              <a:gd name="connsiteX26-437" fmla="*/ 7444802 w 9397013"/>
              <a:gd name="connsiteY26-438" fmla="*/ 7291226 h 7291226"/>
              <a:gd name="connsiteX27-439" fmla="*/ 4245793 w 9397013"/>
              <a:gd name="connsiteY27-440" fmla="*/ 3078214 h 7291226"/>
              <a:gd name="connsiteX28-441" fmla="*/ 4490696 w 9397013"/>
              <a:gd name="connsiteY28-442" fmla="*/ 2757469 h 7291226"/>
              <a:gd name="connsiteX29-443" fmla="*/ 7934229 w 9397013"/>
              <a:gd name="connsiteY29-444" fmla="*/ 7291226 h 7291226"/>
              <a:gd name="connsiteX30-445" fmla="*/ 8567691 w 9397013"/>
              <a:gd name="connsiteY30-446" fmla="*/ 7124971 h 7291226"/>
              <a:gd name="connsiteX31-447" fmla="*/ 8150153 w 9397013"/>
              <a:gd name="connsiteY31-448" fmla="*/ 7097262 h 7291226"/>
              <a:gd name="connsiteX32-449" fmla="*/ 4650570 w 9397013"/>
              <a:gd name="connsiteY32-450" fmla="*/ 2548084 h 7291226"/>
              <a:gd name="connsiteX33-451" fmla="*/ 4869244 w 9397013"/>
              <a:gd name="connsiteY33-452" fmla="*/ 2261689 h 7291226"/>
              <a:gd name="connsiteX34-453" fmla="*/ 8567691 w 9397013"/>
              <a:gd name="connsiteY34-454" fmla="*/ 7124971 h 7291226"/>
              <a:gd name="connsiteX35-455" fmla="*/ 9397013 w 9397013"/>
              <a:gd name="connsiteY35-456" fmla="*/ 7134207 h 7291226"/>
              <a:gd name="connsiteX36-457" fmla="*/ 8921338 w 9397013"/>
              <a:gd name="connsiteY36-458" fmla="*/ 7115735 h 7291226"/>
              <a:gd name="connsiteX37-459" fmla="*/ 5045299 w 9397013"/>
              <a:gd name="connsiteY37-460" fmla="*/ 2031113 h 7291226"/>
              <a:gd name="connsiteX38-461" fmla="*/ 5273037 w 9397013"/>
              <a:gd name="connsiteY38-462" fmla="*/ 1732846 h 7291226"/>
              <a:gd name="connsiteX39-463" fmla="*/ 9397013 w 9397013"/>
              <a:gd name="connsiteY39-464" fmla="*/ 7134207 h 7291226"/>
              <a:gd name="connsiteX0-465" fmla="*/ 168369 w 9397013"/>
              <a:gd name="connsiteY0-466" fmla="*/ 4779933 h 7291226"/>
              <a:gd name="connsiteX1-467" fmla="*/ 0 w 9397013"/>
              <a:gd name="connsiteY1-468" fmla="*/ 4409146 h 7291226"/>
              <a:gd name="connsiteX2-469" fmla="*/ 3332806 w 9397013"/>
              <a:gd name="connsiteY2-470" fmla="*/ 0 h 7291226"/>
              <a:gd name="connsiteX3-471" fmla="*/ 3794560 w 9397013"/>
              <a:gd name="connsiteY3-472" fmla="*/ 32861 h 7291226"/>
              <a:gd name="connsiteX4-473" fmla="*/ 168369 w 9397013"/>
              <a:gd name="connsiteY4-474" fmla="*/ 4779933 h 7291226"/>
              <a:gd name="connsiteX5-475" fmla="*/ 488220 w 9397013"/>
              <a:gd name="connsiteY5-476" fmla="*/ 5484315 h 7291226"/>
              <a:gd name="connsiteX6-477" fmla="*/ 299082 w 9397013"/>
              <a:gd name="connsiteY6-478" fmla="*/ 5067791 h 7291226"/>
              <a:gd name="connsiteX7-479" fmla="*/ 4106456 w 9397013"/>
              <a:gd name="connsiteY7-480" fmla="*/ 55057 h 7291226"/>
              <a:gd name="connsiteX8-481" fmla="*/ 4585079 w 9397013"/>
              <a:gd name="connsiteY8-482" fmla="*/ 89119 h 7291226"/>
              <a:gd name="connsiteX9-483" fmla="*/ 488220 w 9397013"/>
              <a:gd name="connsiteY9-484" fmla="*/ 5484315 h 7291226"/>
              <a:gd name="connsiteX10-485" fmla="*/ 779421 w 9397013"/>
              <a:gd name="connsiteY10-486" fmla="*/ 6125606 h 7291226"/>
              <a:gd name="connsiteX11-487" fmla="*/ 618065 w 9397013"/>
              <a:gd name="connsiteY11-488" fmla="*/ 5770263 h 7291226"/>
              <a:gd name="connsiteX12-489" fmla="*/ 4897528 w 9397013"/>
              <a:gd name="connsiteY12-490" fmla="*/ 111354 h 7291226"/>
              <a:gd name="connsiteX13-491" fmla="*/ 5324893 w 9397013"/>
              <a:gd name="connsiteY13-492" fmla="*/ 141768 h 7291226"/>
              <a:gd name="connsiteX14-493" fmla="*/ 779421 w 9397013"/>
              <a:gd name="connsiteY14-494" fmla="*/ 6125606 h 7291226"/>
              <a:gd name="connsiteX15-495" fmla="*/ 1099910 w 9397013"/>
              <a:gd name="connsiteY15-496" fmla="*/ 6831395 h 7291226"/>
              <a:gd name="connsiteX16-497" fmla="*/ 919656 w 9397013"/>
              <a:gd name="connsiteY16-498" fmla="*/ 6434435 h 7291226"/>
              <a:gd name="connsiteX17-499" fmla="*/ 5668965 w 9397013"/>
              <a:gd name="connsiteY17-500" fmla="*/ 166254 h 7291226"/>
              <a:gd name="connsiteX18-501" fmla="*/ 6114044 w 9397013"/>
              <a:gd name="connsiteY18-502" fmla="*/ 197929 h 7291226"/>
              <a:gd name="connsiteX19-503" fmla="*/ 1099910 w 9397013"/>
              <a:gd name="connsiteY19-504" fmla="*/ 6831395 h 7291226"/>
              <a:gd name="connsiteX20-505" fmla="*/ 7106560 w 9397013"/>
              <a:gd name="connsiteY20-506" fmla="*/ 7291226 h 7291226"/>
              <a:gd name="connsiteX21-507" fmla="*/ 6670875 w 9397013"/>
              <a:gd name="connsiteY21-508" fmla="*/ 7291226 h 7291226"/>
              <a:gd name="connsiteX22-509" fmla="*/ 3849932 w 9397013"/>
              <a:gd name="connsiteY22-510" fmla="*/ 3596670 h 7291226"/>
              <a:gd name="connsiteX23-511" fmla="*/ 4086202 w 9397013"/>
              <a:gd name="connsiteY23-512" fmla="*/ 3287229 h 7291226"/>
              <a:gd name="connsiteX24-513" fmla="*/ 7106560 w 9397013"/>
              <a:gd name="connsiteY24-514" fmla="*/ 7291226 h 7291226"/>
              <a:gd name="connsiteX25-515" fmla="*/ 7934229 w 9397013"/>
              <a:gd name="connsiteY25-516" fmla="*/ 7291226 h 7291226"/>
              <a:gd name="connsiteX26-517" fmla="*/ 7444802 w 9397013"/>
              <a:gd name="connsiteY26-518" fmla="*/ 7291226 h 7291226"/>
              <a:gd name="connsiteX27-519" fmla="*/ 4245793 w 9397013"/>
              <a:gd name="connsiteY27-520" fmla="*/ 3078214 h 7291226"/>
              <a:gd name="connsiteX28-521" fmla="*/ 4490696 w 9397013"/>
              <a:gd name="connsiteY28-522" fmla="*/ 2757469 h 7291226"/>
              <a:gd name="connsiteX29-523" fmla="*/ 7934229 w 9397013"/>
              <a:gd name="connsiteY29-524" fmla="*/ 7291226 h 7291226"/>
              <a:gd name="connsiteX30-525" fmla="*/ 8567691 w 9397013"/>
              <a:gd name="connsiteY30-526" fmla="*/ 7124971 h 7291226"/>
              <a:gd name="connsiteX31-527" fmla="*/ 8159389 w 9397013"/>
              <a:gd name="connsiteY31-528" fmla="*/ 7134208 h 7291226"/>
              <a:gd name="connsiteX32-529" fmla="*/ 4650570 w 9397013"/>
              <a:gd name="connsiteY32-530" fmla="*/ 2548084 h 7291226"/>
              <a:gd name="connsiteX33-531" fmla="*/ 4869244 w 9397013"/>
              <a:gd name="connsiteY33-532" fmla="*/ 2261689 h 7291226"/>
              <a:gd name="connsiteX34-533" fmla="*/ 8567691 w 9397013"/>
              <a:gd name="connsiteY34-534" fmla="*/ 7124971 h 7291226"/>
              <a:gd name="connsiteX35-535" fmla="*/ 9397013 w 9397013"/>
              <a:gd name="connsiteY35-536" fmla="*/ 7134207 h 7291226"/>
              <a:gd name="connsiteX36-537" fmla="*/ 8921338 w 9397013"/>
              <a:gd name="connsiteY36-538" fmla="*/ 7115735 h 7291226"/>
              <a:gd name="connsiteX37-539" fmla="*/ 5045299 w 9397013"/>
              <a:gd name="connsiteY37-540" fmla="*/ 2031113 h 7291226"/>
              <a:gd name="connsiteX38-541" fmla="*/ 5273037 w 9397013"/>
              <a:gd name="connsiteY38-542" fmla="*/ 1732846 h 7291226"/>
              <a:gd name="connsiteX39-543" fmla="*/ 9397013 w 9397013"/>
              <a:gd name="connsiteY39-544" fmla="*/ 7134207 h 7291226"/>
              <a:gd name="connsiteX0-545" fmla="*/ 168369 w 9397013"/>
              <a:gd name="connsiteY0-546" fmla="*/ 4779933 h 7291226"/>
              <a:gd name="connsiteX1-547" fmla="*/ 0 w 9397013"/>
              <a:gd name="connsiteY1-548" fmla="*/ 4409146 h 7291226"/>
              <a:gd name="connsiteX2-549" fmla="*/ 3332806 w 9397013"/>
              <a:gd name="connsiteY2-550" fmla="*/ 0 h 7291226"/>
              <a:gd name="connsiteX3-551" fmla="*/ 3794560 w 9397013"/>
              <a:gd name="connsiteY3-552" fmla="*/ 32861 h 7291226"/>
              <a:gd name="connsiteX4-553" fmla="*/ 168369 w 9397013"/>
              <a:gd name="connsiteY4-554" fmla="*/ 4779933 h 7291226"/>
              <a:gd name="connsiteX5-555" fmla="*/ 488220 w 9397013"/>
              <a:gd name="connsiteY5-556" fmla="*/ 5484315 h 7291226"/>
              <a:gd name="connsiteX6-557" fmla="*/ 299082 w 9397013"/>
              <a:gd name="connsiteY6-558" fmla="*/ 5067791 h 7291226"/>
              <a:gd name="connsiteX7-559" fmla="*/ 4106456 w 9397013"/>
              <a:gd name="connsiteY7-560" fmla="*/ 55057 h 7291226"/>
              <a:gd name="connsiteX8-561" fmla="*/ 4585079 w 9397013"/>
              <a:gd name="connsiteY8-562" fmla="*/ 89119 h 7291226"/>
              <a:gd name="connsiteX9-563" fmla="*/ 488220 w 9397013"/>
              <a:gd name="connsiteY9-564" fmla="*/ 5484315 h 7291226"/>
              <a:gd name="connsiteX10-565" fmla="*/ 779421 w 9397013"/>
              <a:gd name="connsiteY10-566" fmla="*/ 6125606 h 7291226"/>
              <a:gd name="connsiteX11-567" fmla="*/ 618065 w 9397013"/>
              <a:gd name="connsiteY11-568" fmla="*/ 5770263 h 7291226"/>
              <a:gd name="connsiteX12-569" fmla="*/ 4897528 w 9397013"/>
              <a:gd name="connsiteY12-570" fmla="*/ 111354 h 7291226"/>
              <a:gd name="connsiteX13-571" fmla="*/ 5324893 w 9397013"/>
              <a:gd name="connsiteY13-572" fmla="*/ 141768 h 7291226"/>
              <a:gd name="connsiteX14-573" fmla="*/ 779421 w 9397013"/>
              <a:gd name="connsiteY14-574" fmla="*/ 6125606 h 7291226"/>
              <a:gd name="connsiteX15-575" fmla="*/ 1099910 w 9397013"/>
              <a:gd name="connsiteY15-576" fmla="*/ 6831395 h 7291226"/>
              <a:gd name="connsiteX16-577" fmla="*/ 919656 w 9397013"/>
              <a:gd name="connsiteY16-578" fmla="*/ 6434435 h 7291226"/>
              <a:gd name="connsiteX17-579" fmla="*/ 5668965 w 9397013"/>
              <a:gd name="connsiteY17-580" fmla="*/ 166254 h 7291226"/>
              <a:gd name="connsiteX18-581" fmla="*/ 6114044 w 9397013"/>
              <a:gd name="connsiteY18-582" fmla="*/ 197929 h 7291226"/>
              <a:gd name="connsiteX19-583" fmla="*/ 1099910 w 9397013"/>
              <a:gd name="connsiteY19-584" fmla="*/ 6831395 h 7291226"/>
              <a:gd name="connsiteX20-585" fmla="*/ 7106560 w 9397013"/>
              <a:gd name="connsiteY20-586" fmla="*/ 7291226 h 7291226"/>
              <a:gd name="connsiteX21-587" fmla="*/ 6670875 w 9397013"/>
              <a:gd name="connsiteY21-588" fmla="*/ 7291226 h 7291226"/>
              <a:gd name="connsiteX22-589" fmla="*/ 3849932 w 9397013"/>
              <a:gd name="connsiteY22-590" fmla="*/ 3596670 h 7291226"/>
              <a:gd name="connsiteX23-591" fmla="*/ 4086202 w 9397013"/>
              <a:gd name="connsiteY23-592" fmla="*/ 3287229 h 7291226"/>
              <a:gd name="connsiteX24-593" fmla="*/ 7106560 w 9397013"/>
              <a:gd name="connsiteY24-594" fmla="*/ 7291226 h 7291226"/>
              <a:gd name="connsiteX25-595" fmla="*/ 7777211 w 9397013"/>
              <a:gd name="connsiteY25-596" fmla="*/ 7124972 h 7291226"/>
              <a:gd name="connsiteX26-597" fmla="*/ 7444802 w 9397013"/>
              <a:gd name="connsiteY26-598" fmla="*/ 7291226 h 7291226"/>
              <a:gd name="connsiteX27-599" fmla="*/ 4245793 w 9397013"/>
              <a:gd name="connsiteY27-600" fmla="*/ 3078214 h 7291226"/>
              <a:gd name="connsiteX28-601" fmla="*/ 4490696 w 9397013"/>
              <a:gd name="connsiteY28-602" fmla="*/ 2757469 h 7291226"/>
              <a:gd name="connsiteX29-603" fmla="*/ 7777211 w 9397013"/>
              <a:gd name="connsiteY29-604" fmla="*/ 7124972 h 7291226"/>
              <a:gd name="connsiteX30-605" fmla="*/ 8567691 w 9397013"/>
              <a:gd name="connsiteY30-606" fmla="*/ 7124971 h 7291226"/>
              <a:gd name="connsiteX31-607" fmla="*/ 8159389 w 9397013"/>
              <a:gd name="connsiteY31-608" fmla="*/ 7134208 h 7291226"/>
              <a:gd name="connsiteX32-609" fmla="*/ 4650570 w 9397013"/>
              <a:gd name="connsiteY32-610" fmla="*/ 2548084 h 7291226"/>
              <a:gd name="connsiteX33-611" fmla="*/ 4869244 w 9397013"/>
              <a:gd name="connsiteY33-612" fmla="*/ 2261689 h 7291226"/>
              <a:gd name="connsiteX34-613" fmla="*/ 8567691 w 9397013"/>
              <a:gd name="connsiteY34-614" fmla="*/ 7124971 h 7291226"/>
              <a:gd name="connsiteX35-615" fmla="*/ 9397013 w 9397013"/>
              <a:gd name="connsiteY35-616" fmla="*/ 7134207 h 7291226"/>
              <a:gd name="connsiteX36-617" fmla="*/ 8921338 w 9397013"/>
              <a:gd name="connsiteY36-618" fmla="*/ 7115735 h 7291226"/>
              <a:gd name="connsiteX37-619" fmla="*/ 5045299 w 9397013"/>
              <a:gd name="connsiteY37-620" fmla="*/ 2031113 h 7291226"/>
              <a:gd name="connsiteX38-621" fmla="*/ 5273037 w 9397013"/>
              <a:gd name="connsiteY38-622" fmla="*/ 1732846 h 7291226"/>
              <a:gd name="connsiteX39-623" fmla="*/ 9397013 w 9397013"/>
              <a:gd name="connsiteY39-624" fmla="*/ 7134207 h 7291226"/>
              <a:gd name="connsiteX0-625" fmla="*/ 168369 w 9397013"/>
              <a:gd name="connsiteY0-626" fmla="*/ 4779933 h 7291226"/>
              <a:gd name="connsiteX1-627" fmla="*/ 0 w 9397013"/>
              <a:gd name="connsiteY1-628" fmla="*/ 4409146 h 7291226"/>
              <a:gd name="connsiteX2-629" fmla="*/ 3332806 w 9397013"/>
              <a:gd name="connsiteY2-630" fmla="*/ 0 h 7291226"/>
              <a:gd name="connsiteX3-631" fmla="*/ 3794560 w 9397013"/>
              <a:gd name="connsiteY3-632" fmla="*/ 32861 h 7291226"/>
              <a:gd name="connsiteX4-633" fmla="*/ 168369 w 9397013"/>
              <a:gd name="connsiteY4-634" fmla="*/ 4779933 h 7291226"/>
              <a:gd name="connsiteX5-635" fmla="*/ 488220 w 9397013"/>
              <a:gd name="connsiteY5-636" fmla="*/ 5484315 h 7291226"/>
              <a:gd name="connsiteX6-637" fmla="*/ 299082 w 9397013"/>
              <a:gd name="connsiteY6-638" fmla="*/ 5067791 h 7291226"/>
              <a:gd name="connsiteX7-639" fmla="*/ 4106456 w 9397013"/>
              <a:gd name="connsiteY7-640" fmla="*/ 55057 h 7291226"/>
              <a:gd name="connsiteX8-641" fmla="*/ 4585079 w 9397013"/>
              <a:gd name="connsiteY8-642" fmla="*/ 89119 h 7291226"/>
              <a:gd name="connsiteX9-643" fmla="*/ 488220 w 9397013"/>
              <a:gd name="connsiteY9-644" fmla="*/ 5484315 h 7291226"/>
              <a:gd name="connsiteX10-645" fmla="*/ 779421 w 9397013"/>
              <a:gd name="connsiteY10-646" fmla="*/ 6125606 h 7291226"/>
              <a:gd name="connsiteX11-647" fmla="*/ 618065 w 9397013"/>
              <a:gd name="connsiteY11-648" fmla="*/ 5770263 h 7291226"/>
              <a:gd name="connsiteX12-649" fmla="*/ 4897528 w 9397013"/>
              <a:gd name="connsiteY12-650" fmla="*/ 111354 h 7291226"/>
              <a:gd name="connsiteX13-651" fmla="*/ 5324893 w 9397013"/>
              <a:gd name="connsiteY13-652" fmla="*/ 141768 h 7291226"/>
              <a:gd name="connsiteX14-653" fmla="*/ 779421 w 9397013"/>
              <a:gd name="connsiteY14-654" fmla="*/ 6125606 h 7291226"/>
              <a:gd name="connsiteX15-655" fmla="*/ 1099910 w 9397013"/>
              <a:gd name="connsiteY15-656" fmla="*/ 6831395 h 7291226"/>
              <a:gd name="connsiteX16-657" fmla="*/ 919656 w 9397013"/>
              <a:gd name="connsiteY16-658" fmla="*/ 6434435 h 7291226"/>
              <a:gd name="connsiteX17-659" fmla="*/ 5668965 w 9397013"/>
              <a:gd name="connsiteY17-660" fmla="*/ 166254 h 7291226"/>
              <a:gd name="connsiteX18-661" fmla="*/ 6114044 w 9397013"/>
              <a:gd name="connsiteY18-662" fmla="*/ 197929 h 7291226"/>
              <a:gd name="connsiteX19-663" fmla="*/ 1099910 w 9397013"/>
              <a:gd name="connsiteY19-664" fmla="*/ 6831395 h 7291226"/>
              <a:gd name="connsiteX20-665" fmla="*/ 7106560 w 9397013"/>
              <a:gd name="connsiteY20-666" fmla="*/ 7291226 h 7291226"/>
              <a:gd name="connsiteX21-667" fmla="*/ 6670875 w 9397013"/>
              <a:gd name="connsiteY21-668" fmla="*/ 7291226 h 7291226"/>
              <a:gd name="connsiteX22-669" fmla="*/ 3849932 w 9397013"/>
              <a:gd name="connsiteY22-670" fmla="*/ 3596670 h 7291226"/>
              <a:gd name="connsiteX23-671" fmla="*/ 4086202 w 9397013"/>
              <a:gd name="connsiteY23-672" fmla="*/ 3287229 h 7291226"/>
              <a:gd name="connsiteX24-673" fmla="*/ 7106560 w 9397013"/>
              <a:gd name="connsiteY24-674" fmla="*/ 7291226 h 7291226"/>
              <a:gd name="connsiteX25-675" fmla="*/ 7777211 w 9397013"/>
              <a:gd name="connsiteY25-676" fmla="*/ 7124972 h 7291226"/>
              <a:gd name="connsiteX26-677" fmla="*/ 7324729 w 9397013"/>
              <a:gd name="connsiteY26-678" fmla="*/ 7124972 h 7291226"/>
              <a:gd name="connsiteX27-679" fmla="*/ 4245793 w 9397013"/>
              <a:gd name="connsiteY27-680" fmla="*/ 3078214 h 7291226"/>
              <a:gd name="connsiteX28-681" fmla="*/ 4490696 w 9397013"/>
              <a:gd name="connsiteY28-682" fmla="*/ 2757469 h 7291226"/>
              <a:gd name="connsiteX29-683" fmla="*/ 7777211 w 9397013"/>
              <a:gd name="connsiteY29-684" fmla="*/ 7124972 h 7291226"/>
              <a:gd name="connsiteX30-685" fmla="*/ 8567691 w 9397013"/>
              <a:gd name="connsiteY30-686" fmla="*/ 7124971 h 7291226"/>
              <a:gd name="connsiteX31-687" fmla="*/ 8159389 w 9397013"/>
              <a:gd name="connsiteY31-688" fmla="*/ 7134208 h 7291226"/>
              <a:gd name="connsiteX32-689" fmla="*/ 4650570 w 9397013"/>
              <a:gd name="connsiteY32-690" fmla="*/ 2548084 h 7291226"/>
              <a:gd name="connsiteX33-691" fmla="*/ 4869244 w 9397013"/>
              <a:gd name="connsiteY33-692" fmla="*/ 2261689 h 7291226"/>
              <a:gd name="connsiteX34-693" fmla="*/ 8567691 w 9397013"/>
              <a:gd name="connsiteY34-694" fmla="*/ 7124971 h 7291226"/>
              <a:gd name="connsiteX35-695" fmla="*/ 9397013 w 9397013"/>
              <a:gd name="connsiteY35-696" fmla="*/ 7134207 h 7291226"/>
              <a:gd name="connsiteX36-697" fmla="*/ 8921338 w 9397013"/>
              <a:gd name="connsiteY36-698" fmla="*/ 7115735 h 7291226"/>
              <a:gd name="connsiteX37-699" fmla="*/ 5045299 w 9397013"/>
              <a:gd name="connsiteY37-700" fmla="*/ 2031113 h 7291226"/>
              <a:gd name="connsiteX38-701" fmla="*/ 5273037 w 9397013"/>
              <a:gd name="connsiteY38-702" fmla="*/ 1732846 h 7291226"/>
              <a:gd name="connsiteX39-703" fmla="*/ 9397013 w 9397013"/>
              <a:gd name="connsiteY39-704" fmla="*/ 7134207 h 7291226"/>
              <a:gd name="connsiteX0-705" fmla="*/ 168369 w 9397013"/>
              <a:gd name="connsiteY0-706" fmla="*/ 4779933 h 7291226"/>
              <a:gd name="connsiteX1-707" fmla="*/ 0 w 9397013"/>
              <a:gd name="connsiteY1-708" fmla="*/ 4409146 h 7291226"/>
              <a:gd name="connsiteX2-709" fmla="*/ 3332806 w 9397013"/>
              <a:gd name="connsiteY2-710" fmla="*/ 0 h 7291226"/>
              <a:gd name="connsiteX3-711" fmla="*/ 3794560 w 9397013"/>
              <a:gd name="connsiteY3-712" fmla="*/ 32861 h 7291226"/>
              <a:gd name="connsiteX4-713" fmla="*/ 168369 w 9397013"/>
              <a:gd name="connsiteY4-714" fmla="*/ 4779933 h 7291226"/>
              <a:gd name="connsiteX5-715" fmla="*/ 488220 w 9397013"/>
              <a:gd name="connsiteY5-716" fmla="*/ 5484315 h 7291226"/>
              <a:gd name="connsiteX6-717" fmla="*/ 299082 w 9397013"/>
              <a:gd name="connsiteY6-718" fmla="*/ 5067791 h 7291226"/>
              <a:gd name="connsiteX7-719" fmla="*/ 4106456 w 9397013"/>
              <a:gd name="connsiteY7-720" fmla="*/ 55057 h 7291226"/>
              <a:gd name="connsiteX8-721" fmla="*/ 4585079 w 9397013"/>
              <a:gd name="connsiteY8-722" fmla="*/ 89119 h 7291226"/>
              <a:gd name="connsiteX9-723" fmla="*/ 488220 w 9397013"/>
              <a:gd name="connsiteY9-724" fmla="*/ 5484315 h 7291226"/>
              <a:gd name="connsiteX10-725" fmla="*/ 779421 w 9397013"/>
              <a:gd name="connsiteY10-726" fmla="*/ 6125606 h 7291226"/>
              <a:gd name="connsiteX11-727" fmla="*/ 618065 w 9397013"/>
              <a:gd name="connsiteY11-728" fmla="*/ 5770263 h 7291226"/>
              <a:gd name="connsiteX12-729" fmla="*/ 4897528 w 9397013"/>
              <a:gd name="connsiteY12-730" fmla="*/ 111354 h 7291226"/>
              <a:gd name="connsiteX13-731" fmla="*/ 5324893 w 9397013"/>
              <a:gd name="connsiteY13-732" fmla="*/ 141768 h 7291226"/>
              <a:gd name="connsiteX14-733" fmla="*/ 779421 w 9397013"/>
              <a:gd name="connsiteY14-734" fmla="*/ 6125606 h 7291226"/>
              <a:gd name="connsiteX15-735" fmla="*/ 1099910 w 9397013"/>
              <a:gd name="connsiteY15-736" fmla="*/ 6831395 h 7291226"/>
              <a:gd name="connsiteX16-737" fmla="*/ 919656 w 9397013"/>
              <a:gd name="connsiteY16-738" fmla="*/ 6434435 h 7291226"/>
              <a:gd name="connsiteX17-739" fmla="*/ 5668965 w 9397013"/>
              <a:gd name="connsiteY17-740" fmla="*/ 166254 h 7291226"/>
              <a:gd name="connsiteX18-741" fmla="*/ 6114044 w 9397013"/>
              <a:gd name="connsiteY18-742" fmla="*/ 197929 h 7291226"/>
              <a:gd name="connsiteX19-743" fmla="*/ 1099910 w 9397013"/>
              <a:gd name="connsiteY19-744" fmla="*/ 6831395 h 7291226"/>
              <a:gd name="connsiteX20-745" fmla="*/ 6968015 w 9397013"/>
              <a:gd name="connsiteY20-746" fmla="*/ 7143444 h 7291226"/>
              <a:gd name="connsiteX21-747" fmla="*/ 6670875 w 9397013"/>
              <a:gd name="connsiteY21-748" fmla="*/ 7291226 h 7291226"/>
              <a:gd name="connsiteX22-749" fmla="*/ 3849932 w 9397013"/>
              <a:gd name="connsiteY22-750" fmla="*/ 3596670 h 7291226"/>
              <a:gd name="connsiteX23-751" fmla="*/ 4086202 w 9397013"/>
              <a:gd name="connsiteY23-752" fmla="*/ 3287229 h 7291226"/>
              <a:gd name="connsiteX24-753" fmla="*/ 6968015 w 9397013"/>
              <a:gd name="connsiteY24-754" fmla="*/ 7143444 h 7291226"/>
              <a:gd name="connsiteX25-755" fmla="*/ 7777211 w 9397013"/>
              <a:gd name="connsiteY25-756" fmla="*/ 7124972 h 7291226"/>
              <a:gd name="connsiteX26-757" fmla="*/ 7324729 w 9397013"/>
              <a:gd name="connsiteY26-758" fmla="*/ 7124972 h 7291226"/>
              <a:gd name="connsiteX27-759" fmla="*/ 4245793 w 9397013"/>
              <a:gd name="connsiteY27-760" fmla="*/ 3078214 h 7291226"/>
              <a:gd name="connsiteX28-761" fmla="*/ 4490696 w 9397013"/>
              <a:gd name="connsiteY28-762" fmla="*/ 2757469 h 7291226"/>
              <a:gd name="connsiteX29-763" fmla="*/ 7777211 w 9397013"/>
              <a:gd name="connsiteY29-764" fmla="*/ 7124972 h 7291226"/>
              <a:gd name="connsiteX30-765" fmla="*/ 8567691 w 9397013"/>
              <a:gd name="connsiteY30-766" fmla="*/ 7124971 h 7291226"/>
              <a:gd name="connsiteX31-767" fmla="*/ 8159389 w 9397013"/>
              <a:gd name="connsiteY31-768" fmla="*/ 7134208 h 7291226"/>
              <a:gd name="connsiteX32-769" fmla="*/ 4650570 w 9397013"/>
              <a:gd name="connsiteY32-770" fmla="*/ 2548084 h 7291226"/>
              <a:gd name="connsiteX33-771" fmla="*/ 4869244 w 9397013"/>
              <a:gd name="connsiteY33-772" fmla="*/ 2261689 h 7291226"/>
              <a:gd name="connsiteX34-773" fmla="*/ 8567691 w 9397013"/>
              <a:gd name="connsiteY34-774" fmla="*/ 7124971 h 7291226"/>
              <a:gd name="connsiteX35-775" fmla="*/ 9397013 w 9397013"/>
              <a:gd name="connsiteY35-776" fmla="*/ 7134207 h 7291226"/>
              <a:gd name="connsiteX36-777" fmla="*/ 8921338 w 9397013"/>
              <a:gd name="connsiteY36-778" fmla="*/ 7115735 h 7291226"/>
              <a:gd name="connsiteX37-779" fmla="*/ 5045299 w 9397013"/>
              <a:gd name="connsiteY37-780" fmla="*/ 2031113 h 7291226"/>
              <a:gd name="connsiteX38-781" fmla="*/ 5273037 w 9397013"/>
              <a:gd name="connsiteY38-782" fmla="*/ 1732846 h 7291226"/>
              <a:gd name="connsiteX39-783" fmla="*/ 9397013 w 9397013"/>
              <a:gd name="connsiteY39-784" fmla="*/ 7134207 h 7291226"/>
              <a:gd name="connsiteX0-785" fmla="*/ 168369 w 9397013"/>
              <a:gd name="connsiteY0-786" fmla="*/ 4779933 h 7143444"/>
              <a:gd name="connsiteX1-787" fmla="*/ 0 w 9397013"/>
              <a:gd name="connsiteY1-788" fmla="*/ 4409146 h 7143444"/>
              <a:gd name="connsiteX2-789" fmla="*/ 3332806 w 9397013"/>
              <a:gd name="connsiteY2-790" fmla="*/ 0 h 7143444"/>
              <a:gd name="connsiteX3-791" fmla="*/ 3794560 w 9397013"/>
              <a:gd name="connsiteY3-792" fmla="*/ 32861 h 7143444"/>
              <a:gd name="connsiteX4-793" fmla="*/ 168369 w 9397013"/>
              <a:gd name="connsiteY4-794" fmla="*/ 4779933 h 7143444"/>
              <a:gd name="connsiteX5-795" fmla="*/ 488220 w 9397013"/>
              <a:gd name="connsiteY5-796" fmla="*/ 5484315 h 7143444"/>
              <a:gd name="connsiteX6-797" fmla="*/ 299082 w 9397013"/>
              <a:gd name="connsiteY6-798" fmla="*/ 5067791 h 7143444"/>
              <a:gd name="connsiteX7-799" fmla="*/ 4106456 w 9397013"/>
              <a:gd name="connsiteY7-800" fmla="*/ 55057 h 7143444"/>
              <a:gd name="connsiteX8-801" fmla="*/ 4585079 w 9397013"/>
              <a:gd name="connsiteY8-802" fmla="*/ 89119 h 7143444"/>
              <a:gd name="connsiteX9-803" fmla="*/ 488220 w 9397013"/>
              <a:gd name="connsiteY9-804" fmla="*/ 5484315 h 7143444"/>
              <a:gd name="connsiteX10-805" fmla="*/ 779421 w 9397013"/>
              <a:gd name="connsiteY10-806" fmla="*/ 6125606 h 7143444"/>
              <a:gd name="connsiteX11-807" fmla="*/ 618065 w 9397013"/>
              <a:gd name="connsiteY11-808" fmla="*/ 5770263 h 7143444"/>
              <a:gd name="connsiteX12-809" fmla="*/ 4897528 w 9397013"/>
              <a:gd name="connsiteY12-810" fmla="*/ 111354 h 7143444"/>
              <a:gd name="connsiteX13-811" fmla="*/ 5324893 w 9397013"/>
              <a:gd name="connsiteY13-812" fmla="*/ 141768 h 7143444"/>
              <a:gd name="connsiteX14-813" fmla="*/ 779421 w 9397013"/>
              <a:gd name="connsiteY14-814" fmla="*/ 6125606 h 7143444"/>
              <a:gd name="connsiteX15-815" fmla="*/ 1099910 w 9397013"/>
              <a:gd name="connsiteY15-816" fmla="*/ 6831395 h 7143444"/>
              <a:gd name="connsiteX16-817" fmla="*/ 919656 w 9397013"/>
              <a:gd name="connsiteY16-818" fmla="*/ 6434435 h 7143444"/>
              <a:gd name="connsiteX17-819" fmla="*/ 5668965 w 9397013"/>
              <a:gd name="connsiteY17-820" fmla="*/ 166254 h 7143444"/>
              <a:gd name="connsiteX18-821" fmla="*/ 6114044 w 9397013"/>
              <a:gd name="connsiteY18-822" fmla="*/ 197929 h 7143444"/>
              <a:gd name="connsiteX19-823" fmla="*/ 1099910 w 9397013"/>
              <a:gd name="connsiteY19-824" fmla="*/ 6831395 h 7143444"/>
              <a:gd name="connsiteX20-825" fmla="*/ 6968015 w 9397013"/>
              <a:gd name="connsiteY20-826" fmla="*/ 7143444 h 7143444"/>
              <a:gd name="connsiteX21-827" fmla="*/ 6550802 w 9397013"/>
              <a:gd name="connsiteY21-828" fmla="*/ 7143444 h 7143444"/>
              <a:gd name="connsiteX22-829" fmla="*/ 3849932 w 9397013"/>
              <a:gd name="connsiteY22-830" fmla="*/ 3596670 h 7143444"/>
              <a:gd name="connsiteX23-831" fmla="*/ 4086202 w 9397013"/>
              <a:gd name="connsiteY23-832" fmla="*/ 3287229 h 7143444"/>
              <a:gd name="connsiteX24-833" fmla="*/ 6968015 w 9397013"/>
              <a:gd name="connsiteY24-834" fmla="*/ 7143444 h 7143444"/>
              <a:gd name="connsiteX25-835" fmla="*/ 7777211 w 9397013"/>
              <a:gd name="connsiteY25-836" fmla="*/ 7124972 h 7143444"/>
              <a:gd name="connsiteX26-837" fmla="*/ 7324729 w 9397013"/>
              <a:gd name="connsiteY26-838" fmla="*/ 7124972 h 7143444"/>
              <a:gd name="connsiteX27-839" fmla="*/ 4245793 w 9397013"/>
              <a:gd name="connsiteY27-840" fmla="*/ 3078214 h 7143444"/>
              <a:gd name="connsiteX28-841" fmla="*/ 4490696 w 9397013"/>
              <a:gd name="connsiteY28-842" fmla="*/ 2757469 h 7143444"/>
              <a:gd name="connsiteX29-843" fmla="*/ 7777211 w 9397013"/>
              <a:gd name="connsiteY29-844" fmla="*/ 7124972 h 7143444"/>
              <a:gd name="connsiteX30-845" fmla="*/ 8567691 w 9397013"/>
              <a:gd name="connsiteY30-846" fmla="*/ 7124971 h 7143444"/>
              <a:gd name="connsiteX31-847" fmla="*/ 8159389 w 9397013"/>
              <a:gd name="connsiteY31-848" fmla="*/ 7134208 h 7143444"/>
              <a:gd name="connsiteX32-849" fmla="*/ 4650570 w 9397013"/>
              <a:gd name="connsiteY32-850" fmla="*/ 2548084 h 7143444"/>
              <a:gd name="connsiteX33-851" fmla="*/ 4869244 w 9397013"/>
              <a:gd name="connsiteY33-852" fmla="*/ 2261689 h 7143444"/>
              <a:gd name="connsiteX34-853" fmla="*/ 8567691 w 9397013"/>
              <a:gd name="connsiteY34-854" fmla="*/ 7124971 h 7143444"/>
              <a:gd name="connsiteX35-855" fmla="*/ 9397013 w 9397013"/>
              <a:gd name="connsiteY35-856" fmla="*/ 7134207 h 7143444"/>
              <a:gd name="connsiteX36-857" fmla="*/ 8921338 w 9397013"/>
              <a:gd name="connsiteY36-858" fmla="*/ 7115735 h 7143444"/>
              <a:gd name="connsiteX37-859" fmla="*/ 5045299 w 9397013"/>
              <a:gd name="connsiteY37-860" fmla="*/ 2031113 h 7143444"/>
              <a:gd name="connsiteX38-861" fmla="*/ 5273037 w 9397013"/>
              <a:gd name="connsiteY38-862" fmla="*/ 1732846 h 7143444"/>
              <a:gd name="connsiteX39-863" fmla="*/ 9397013 w 9397013"/>
              <a:gd name="connsiteY39-864" fmla="*/ 7134207 h 7143444"/>
              <a:gd name="connsiteX0-865" fmla="*/ 168369 w 9397013"/>
              <a:gd name="connsiteY0-866" fmla="*/ 4779933 h 7143444"/>
              <a:gd name="connsiteX1-867" fmla="*/ 0 w 9397013"/>
              <a:gd name="connsiteY1-868" fmla="*/ 4409146 h 7143444"/>
              <a:gd name="connsiteX2-869" fmla="*/ 3332806 w 9397013"/>
              <a:gd name="connsiteY2-870" fmla="*/ 0 h 7143444"/>
              <a:gd name="connsiteX3-871" fmla="*/ 3794560 w 9397013"/>
              <a:gd name="connsiteY3-872" fmla="*/ 32861 h 7143444"/>
              <a:gd name="connsiteX4-873" fmla="*/ 168369 w 9397013"/>
              <a:gd name="connsiteY4-874" fmla="*/ 4779933 h 7143444"/>
              <a:gd name="connsiteX5-875" fmla="*/ 488220 w 9397013"/>
              <a:gd name="connsiteY5-876" fmla="*/ 5484315 h 7143444"/>
              <a:gd name="connsiteX6-877" fmla="*/ 299082 w 9397013"/>
              <a:gd name="connsiteY6-878" fmla="*/ 5067791 h 7143444"/>
              <a:gd name="connsiteX7-879" fmla="*/ 4106456 w 9397013"/>
              <a:gd name="connsiteY7-880" fmla="*/ 55057 h 7143444"/>
              <a:gd name="connsiteX8-881" fmla="*/ 4585079 w 9397013"/>
              <a:gd name="connsiteY8-882" fmla="*/ 89119 h 7143444"/>
              <a:gd name="connsiteX9-883" fmla="*/ 488220 w 9397013"/>
              <a:gd name="connsiteY9-884" fmla="*/ 5484315 h 7143444"/>
              <a:gd name="connsiteX10-885" fmla="*/ 779421 w 9397013"/>
              <a:gd name="connsiteY10-886" fmla="*/ 6125606 h 7143444"/>
              <a:gd name="connsiteX11-887" fmla="*/ 618065 w 9397013"/>
              <a:gd name="connsiteY11-888" fmla="*/ 5770263 h 7143444"/>
              <a:gd name="connsiteX12-889" fmla="*/ 4897528 w 9397013"/>
              <a:gd name="connsiteY12-890" fmla="*/ 111354 h 7143444"/>
              <a:gd name="connsiteX13-891" fmla="*/ 5324893 w 9397013"/>
              <a:gd name="connsiteY13-892" fmla="*/ 141768 h 7143444"/>
              <a:gd name="connsiteX14-893" fmla="*/ 779421 w 9397013"/>
              <a:gd name="connsiteY14-894" fmla="*/ 6125606 h 7143444"/>
              <a:gd name="connsiteX15-895" fmla="*/ 1099910 w 9397013"/>
              <a:gd name="connsiteY15-896" fmla="*/ 6831395 h 7143444"/>
              <a:gd name="connsiteX16-897" fmla="*/ 919656 w 9397013"/>
              <a:gd name="connsiteY16-898" fmla="*/ 6434435 h 7143444"/>
              <a:gd name="connsiteX17-899" fmla="*/ 5668965 w 9397013"/>
              <a:gd name="connsiteY17-900" fmla="*/ 166254 h 7143444"/>
              <a:gd name="connsiteX18-901" fmla="*/ 6114044 w 9397013"/>
              <a:gd name="connsiteY18-902" fmla="*/ 197929 h 7143444"/>
              <a:gd name="connsiteX19-903" fmla="*/ 1099910 w 9397013"/>
              <a:gd name="connsiteY19-904" fmla="*/ 6831395 h 7143444"/>
              <a:gd name="connsiteX20-905" fmla="*/ 6958778 w 9397013"/>
              <a:gd name="connsiteY20-906" fmla="*/ 7124971 h 7143444"/>
              <a:gd name="connsiteX21-907" fmla="*/ 6550802 w 9397013"/>
              <a:gd name="connsiteY21-908" fmla="*/ 7143444 h 7143444"/>
              <a:gd name="connsiteX22-909" fmla="*/ 3849932 w 9397013"/>
              <a:gd name="connsiteY22-910" fmla="*/ 3596670 h 7143444"/>
              <a:gd name="connsiteX23-911" fmla="*/ 4086202 w 9397013"/>
              <a:gd name="connsiteY23-912" fmla="*/ 3287229 h 7143444"/>
              <a:gd name="connsiteX24-913" fmla="*/ 6958778 w 9397013"/>
              <a:gd name="connsiteY24-914" fmla="*/ 7124971 h 7143444"/>
              <a:gd name="connsiteX25-915" fmla="*/ 7777211 w 9397013"/>
              <a:gd name="connsiteY25-916" fmla="*/ 7124972 h 7143444"/>
              <a:gd name="connsiteX26-917" fmla="*/ 7324729 w 9397013"/>
              <a:gd name="connsiteY26-918" fmla="*/ 7124972 h 7143444"/>
              <a:gd name="connsiteX27-919" fmla="*/ 4245793 w 9397013"/>
              <a:gd name="connsiteY27-920" fmla="*/ 3078214 h 7143444"/>
              <a:gd name="connsiteX28-921" fmla="*/ 4490696 w 9397013"/>
              <a:gd name="connsiteY28-922" fmla="*/ 2757469 h 7143444"/>
              <a:gd name="connsiteX29-923" fmla="*/ 7777211 w 9397013"/>
              <a:gd name="connsiteY29-924" fmla="*/ 7124972 h 7143444"/>
              <a:gd name="connsiteX30-925" fmla="*/ 8567691 w 9397013"/>
              <a:gd name="connsiteY30-926" fmla="*/ 7124971 h 7143444"/>
              <a:gd name="connsiteX31-927" fmla="*/ 8159389 w 9397013"/>
              <a:gd name="connsiteY31-928" fmla="*/ 7134208 h 7143444"/>
              <a:gd name="connsiteX32-929" fmla="*/ 4650570 w 9397013"/>
              <a:gd name="connsiteY32-930" fmla="*/ 2548084 h 7143444"/>
              <a:gd name="connsiteX33-931" fmla="*/ 4869244 w 9397013"/>
              <a:gd name="connsiteY33-932" fmla="*/ 2261689 h 7143444"/>
              <a:gd name="connsiteX34-933" fmla="*/ 8567691 w 9397013"/>
              <a:gd name="connsiteY34-934" fmla="*/ 7124971 h 7143444"/>
              <a:gd name="connsiteX35-935" fmla="*/ 9397013 w 9397013"/>
              <a:gd name="connsiteY35-936" fmla="*/ 7134207 h 7143444"/>
              <a:gd name="connsiteX36-937" fmla="*/ 8921338 w 9397013"/>
              <a:gd name="connsiteY36-938" fmla="*/ 7115735 h 7143444"/>
              <a:gd name="connsiteX37-939" fmla="*/ 5045299 w 9397013"/>
              <a:gd name="connsiteY37-940" fmla="*/ 2031113 h 7143444"/>
              <a:gd name="connsiteX38-941" fmla="*/ 5273037 w 9397013"/>
              <a:gd name="connsiteY38-942" fmla="*/ 1732846 h 7143444"/>
              <a:gd name="connsiteX39-943" fmla="*/ 9397013 w 9397013"/>
              <a:gd name="connsiteY39-944" fmla="*/ 7134207 h 7143444"/>
              <a:gd name="connsiteX0-945" fmla="*/ 168369 w 9397013"/>
              <a:gd name="connsiteY0-946" fmla="*/ 4779933 h 7134208"/>
              <a:gd name="connsiteX1-947" fmla="*/ 0 w 9397013"/>
              <a:gd name="connsiteY1-948" fmla="*/ 4409146 h 7134208"/>
              <a:gd name="connsiteX2-949" fmla="*/ 3332806 w 9397013"/>
              <a:gd name="connsiteY2-950" fmla="*/ 0 h 7134208"/>
              <a:gd name="connsiteX3-951" fmla="*/ 3794560 w 9397013"/>
              <a:gd name="connsiteY3-952" fmla="*/ 32861 h 7134208"/>
              <a:gd name="connsiteX4-953" fmla="*/ 168369 w 9397013"/>
              <a:gd name="connsiteY4-954" fmla="*/ 4779933 h 7134208"/>
              <a:gd name="connsiteX5-955" fmla="*/ 488220 w 9397013"/>
              <a:gd name="connsiteY5-956" fmla="*/ 5484315 h 7134208"/>
              <a:gd name="connsiteX6-957" fmla="*/ 299082 w 9397013"/>
              <a:gd name="connsiteY6-958" fmla="*/ 5067791 h 7134208"/>
              <a:gd name="connsiteX7-959" fmla="*/ 4106456 w 9397013"/>
              <a:gd name="connsiteY7-960" fmla="*/ 55057 h 7134208"/>
              <a:gd name="connsiteX8-961" fmla="*/ 4585079 w 9397013"/>
              <a:gd name="connsiteY8-962" fmla="*/ 89119 h 7134208"/>
              <a:gd name="connsiteX9-963" fmla="*/ 488220 w 9397013"/>
              <a:gd name="connsiteY9-964" fmla="*/ 5484315 h 7134208"/>
              <a:gd name="connsiteX10-965" fmla="*/ 779421 w 9397013"/>
              <a:gd name="connsiteY10-966" fmla="*/ 6125606 h 7134208"/>
              <a:gd name="connsiteX11-967" fmla="*/ 618065 w 9397013"/>
              <a:gd name="connsiteY11-968" fmla="*/ 5770263 h 7134208"/>
              <a:gd name="connsiteX12-969" fmla="*/ 4897528 w 9397013"/>
              <a:gd name="connsiteY12-970" fmla="*/ 111354 h 7134208"/>
              <a:gd name="connsiteX13-971" fmla="*/ 5324893 w 9397013"/>
              <a:gd name="connsiteY13-972" fmla="*/ 141768 h 7134208"/>
              <a:gd name="connsiteX14-973" fmla="*/ 779421 w 9397013"/>
              <a:gd name="connsiteY14-974" fmla="*/ 6125606 h 7134208"/>
              <a:gd name="connsiteX15-975" fmla="*/ 1099910 w 9397013"/>
              <a:gd name="connsiteY15-976" fmla="*/ 6831395 h 7134208"/>
              <a:gd name="connsiteX16-977" fmla="*/ 919656 w 9397013"/>
              <a:gd name="connsiteY16-978" fmla="*/ 6434435 h 7134208"/>
              <a:gd name="connsiteX17-979" fmla="*/ 5668965 w 9397013"/>
              <a:gd name="connsiteY17-980" fmla="*/ 166254 h 7134208"/>
              <a:gd name="connsiteX18-981" fmla="*/ 6114044 w 9397013"/>
              <a:gd name="connsiteY18-982" fmla="*/ 197929 h 7134208"/>
              <a:gd name="connsiteX19-983" fmla="*/ 1099910 w 9397013"/>
              <a:gd name="connsiteY19-984" fmla="*/ 6831395 h 7134208"/>
              <a:gd name="connsiteX20-985" fmla="*/ 6958778 w 9397013"/>
              <a:gd name="connsiteY20-986" fmla="*/ 7124971 h 7134208"/>
              <a:gd name="connsiteX21-987" fmla="*/ 6541566 w 9397013"/>
              <a:gd name="connsiteY21-988" fmla="*/ 7115735 h 7134208"/>
              <a:gd name="connsiteX22-989" fmla="*/ 3849932 w 9397013"/>
              <a:gd name="connsiteY22-990" fmla="*/ 3596670 h 7134208"/>
              <a:gd name="connsiteX23-991" fmla="*/ 4086202 w 9397013"/>
              <a:gd name="connsiteY23-992" fmla="*/ 3287229 h 7134208"/>
              <a:gd name="connsiteX24-993" fmla="*/ 6958778 w 9397013"/>
              <a:gd name="connsiteY24-994" fmla="*/ 7124971 h 7134208"/>
              <a:gd name="connsiteX25-995" fmla="*/ 7777211 w 9397013"/>
              <a:gd name="connsiteY25-996" fmla="*/ 7124972 h 7134208"/>
              <a:gd name="connsiteX26-997" fmla="*/ 7324729 w 9397013"/>
              <a:gd name="connsiteY26-998" fmla="*/ 7124972 h 7134208"/>
              <a:gd name="connsiteX27-999" fmla="*/ 4245793 w 9397013"/>
              <a:gd name="connsiteY27-1000" fmla="*/ 3078214 h 7134208"/>
              <a:gd name="connsiteX28-1001" fmla="*/ 4490696 w 9397013"/>
              <a:gd name="connsiteY28-1002" fmla="*/ 2757469 h 7134208"/>
              <a:gd name="connsiteX29-1003" fmla="*/ 7777211 w 9397013"/>
              <a:gd name="connsiteY29-1004" fmla="*/ 7124972 h 7134208"/>
              <a:gd name="connsiteX30-1005" fmla="*/ 8567691 w 9397013"/>
              <a:gd name="connsiteY30-1006" fmla="*/ 7124971 h 7134208"/>
              <a:gd name="connsiteX31-1007" fmla="*/ 8159389 w 9397013"/>
              <a:gd name="connsiteY31-1008" fmla="*/ 7134208 h 7134208"/>
              <a:gd name="connsiteX32-1009" fmla="*/ 4650570 w 9397013"/>
              <a:gd name="connsiteY32-1010" fmla="*/ 2548084 h 7134208"/>
              <a:gd name="connsiteX33-1011" fmla="*/ 4869244 w 9397013"/>
              <a:gd name="connsiteY33-1012" fmla="*/ 2261689 h 7134208"/>
              <a:gd name="connsiteX34-1013" fmla="*/ 8567691 w 9397013"/>
              <a:gd name="connsiteY34-1014" fmla="*/ 7124971 h 7134208"/>
              <a:gd name="connsiteX35-1015" fmla="*/ 9397013 w 9397013"/>
              <a:gd name="connsiteY35-1016" fmla="*/ 7134207 h 7134208"/>
              <a:gd name="connsiteX36-1017" fmla="*/ 8921338 w 9397013"/>
              <a:gd name="connsiteY36-1018" fmla="*/ 7115735 h 7134208"/>
              <a:gd name="connsiteX37-1019" fmla="*/ 5045299 w 9397013"/>
              <a:gd name="connsiteY37-1020" fmla="*/ 2031113 h 7134208"/>
              <a:gd name="connsiteX38-1021" fmla="*/ 5273037 w 9397013"/>
              <a:gd name="connsiteY38-1022" fmla="*/ 1732846 h 7134208"/>
              <a:gd name="connsiteX39-1023" fmla="*/ 9397013 w 9397013"/>
              <a:gd name="connsiteY39-1024" fmla="*/ 7134207 h 7134208"/>
              <a:gd name="connsiteX0-1025" fmla="*/ 168369 w 9397013"/>
              <a:gd name="connsiteY0-1026" fmla="*/ 4779933 h 7134208"/>
              <a:gd name="connsiteX1-1027" fmla="*/ 0 w 9397013"/>
              <a:gd name="connsiteY1-1028" fmla="*/ 4409146 h 7134208"/>
              <a:gd name="connsiteX2-1029" fmla="*/ 3332806 w 9397013"/>
              <a:gd name="connsiteY2-1030" fmla="*/ 0 h 7134208"/>
              <a:gd name="connsiteX3-1031" fmla="*/ 3794560 w 9397013"/>
              <a:gd name="connsiteY3-1032" fmla="*/ 32861 h 7134208"/>
              <a:gd name="connsiteX4-1033" fmla="*/ 168369 w 9397013"/>
              <a:gd name="connsiteY4-1034" fmla="*/ 4779933 h 7134208"/>
              <a:gd name="connsiteX5-1035" fmla="*/ 488220 w 9397013"/>
              <a:gd name="connsiteY5-1036" fmla="*/ 5484315 h 7134208"/>
              <a:gd name="connsiteX6-1037" fmla="*/ 299082 w 9397013"/>
              <a:gd name="connsiteY6-1038" fmla="*/ 5067791 h 7134208"/>
              <a:gd name="connsiteX7-1039" fmla="*/ 4106456 w 9397013"/>
              <a:gd name="connsiteY7-1040" fmla="*/ 55057 h 7134208"/>
              <a:gd name="connsiteX8-1041" fmla="*/ 4585079 w 9397013"/>
              <a:gd name="connsiteY8-1042" fmla="*/ 89119 h 7134208"/>
              <a:gd name="connsiteX9-1043" fmla="*/ 488220 w 9397013"/>
              <a:gd name="connsiteY9-1044" fmla="*/ 5484315 h 7134208"/>
              <a:gd name="connsiteX10-1045" fmla="*/ 779421 w 9397013"/>
              <a:gd name="connsiteY10-1046" fmla="*/ 6125606 h 7134208"/>
              <a:gd name="connsiteX11-1047" fmla="*/ 618065 w 9397013"/>
              <a:gd name="connsiteY11-1048" fmla="*/ 5770263 h 7134208"/>
              <a:gd name="connsiteX12-1049" fmla="*/ 4897528 w 9397013"/>
              <a:gd name="connsiteY12-1050" fmla="*/ 111354 h 7134208"/>
              <a:gd name="connsiteX13-1051" fmla="*/ 5324893 w 9397013"/>
              <a:gd name="connsiteY13-1052" fmla="*/ 141768 h 7134208"/>
              <a:gd name="connsiteX14-1053" fmla="*/ 779421 w 9397013"/>
              <a:gd name="connsiteY14-1054" fmla="*/ 6125606 h 7134208"/>
              <a:gd name="connsiteX15-1055" fmla="*/ 1099910 w 9397013"/>
              <a:gd name="connsiteY15-1056" fmla="*/ 6831395 h 7134208"/>
              <a:gd name="connsiteX16-1057" fmla="*/ 919656 w 9397013"/>
              <a:gd name="connsiteY16-1058" fmla="*/ 6434435 h 7134208"/>
              <a:gd name="connsiteX17-1059" fmla="*/ 5668965 w 9397013"/>
              <a:gd name="connsiteY17-1060" fmla="*/ 166254 h 7134208"/>
              <a:gd name="connsiteX18-1061" fmla="*/ 6114044 w 9397013"/>
              <a:gd name="connsiteY18-1062" fmla="*/ 197929 h 7134208"/>
              <a:gd name="connsiteX19-1063" fmla="*/ 1099910 w 9397013"/>
              <a:gd name="connsiteY19-1064" fmla="*/ 6831395 h 7134208"/>
              <a:gd name="connsiteX20-1065" fmla="*/ 6958778 w 9397013"/>
              <a:gd name="connsiteY20-1066" fmla="*/ 7124971 h 7134208"/>
              <a:gd name="connsiteX21-1067" fmla="*/ 6560038 w 9397013"/>
              <a:gd name="connsiteY21-1068" fmla="*/ 7134207 h 7134208"/>
              <a:gd name="connsiteX22-1069" fmla="*/ 3849932 w 9397013"/>
              <a:gd name="connsiteY22-1070" fmla="*/ 3596670 h 7134208"/>
              <a:gd name="connsiteX23-1071" fmla="*/ 4086202 w 9397013"/>
              <a:gd name="connsiteY23-1072" fmla="*/ 3287229 h 7134208"/>
              <a:gd name="connsiteX24-1073" fmla="*/ 6958778 w 9397013"/>
              <a:gd name="connsiteY24-1074" fmla="*/ 7124971 h 7134208"/>
              <a:gd name="connsiteX25-1075" fmla="*/ 7777211 w 9397013"/>
              <a:gd name="connsiteY25-1076" fmla="*/ 7124972 h 7134208"/>
              <a:gd name="connsiteX26-1077" fmla="*/ 7324729 w 9397013"/>
              <a:gd name="connsiteY26-1078" fmla="*/ 7124972 h 7134208"/>
              <a:gd name="connsiteX27-1079" fmla="*/ 4245793 w 9397013"/>
              <a:gd name="connsiteY27-1080" fmla="*/ 3078214 h 7134208"/>
              <a:gd name="connsiteX28-1081" fmla="*/ 4490696 w 9397013"/>
              <a:gd name="connsiteY28-1082" fmla="*/ 2757469 h 7134208"/>
              <a:gd name="connsiteX29-1083" fmla="*/ 7777211 w 9397013"/>
              <a:gd name="connsiteY29-1084" fmla="*/ 7124972 h 7134208"/>
              <a:gd name="connsiteX30-1085" fmla="*/ 8567691 w 9397013"/>
              <a:gd name="connsiteY30-1086" fmla="*/ 7124971 h 7134208"/>
              <a:gd name="connsiteX31-1087" fmla="*/ 8159389 w 9397013"/>
              <a:gd name="connsiteY31-1088" fmla="*/ 7134208 h 7134208"/>
              <a:gd name="connsiteX32-1089" fmla="*/ 4650570 w 9397013"/>
              <a:gd name="connsiteY32-1090" fmla="*/ 2548084 h 7134208"/>
              <a:gd name="connsiteX33-1091" fmla="*/ 4869244 w 9397013"/>
              <a:gd name="connsiteY33-1092" fmla="*/ 2261689 h 7134208"/>
              <a:gd name="connsiteX34-1093" fmla="*/ 8567691 w 9397013"/>
              <a:gd name="connsiteY34-1094" fmla="*/ 7124971 h 7134208"/>
              <a:gd name="connsiteX35-1095" fmla="*/ 9397013 w 9397013"/>
              <a:gd name="connsiteY35-1096" fmla="*/ 7134207 h 7134208"/>
              <a:gd name="connsiteX36-1097" fmla="*/ 8921338 w 9397013"/>
              <a:gd name="connsiteY36-1098" fmla="*/ 7115735 h 7134208"/>
              <a:gd name="connsiteX37-1099" fmla="*/ 5045299 w 9397013"/>
              <a:gd name="connsiteY37-1100" fmla="*/ 2031113 h 7134208"/>
              <a:gd name="connsiteX38-1101" fmla="*/ 5273037 w 9397013"/>
              <a:gd name="connsiteY38-1102" fmla="*/ 1732846 h 7134208"/>
              <a:gd name="connsiteX39-1103" fmla="*/ 9397013 w 9397013"/>
              <a:gd name="connsiteY39-1104" fmla="*/ 7134207 h 7134208"/>
              <a:gd name="connsiteX0-1105" fmla="*/ 168369 w 9397013"/>
              <a:gd name="connsiteY0-1106" fmla="*/ 4779933 h 7134208"/>
              <a:gd name="connsiteX1-1107" fmla="*/ 0 w 9397013"/>
              <a:gd name="connsiteY1-1108" fmla="*/ 4409146 h 7134208"/>
              <a:gd name="connsiteX2-1109" fmla="*/ 3332806 w 9397013"/>
              <a:gd name="connsiteY2-1110" fmla="*/ 0 h 7134208"/>
              <a:gd name="connsiteX3-1111" fmla="*/ 3794560 w 9397013"/>
              <a:gd name="connsiteY3-1112" fmla="*/ 32861 h 7134208"/>
              <a:gd name="connsiteX4-1113" fmla="*/ 168369 w 9397013"/>
              <a:gd name="connsiteY4-1114" fmla="*/ 4779933 h 7134208"/>
              <a:gd name="connsiteX5-1115" fmla="*/ 488220 w 9397013"/>
              <a:gd name="connsiteY5-1116" fmla="*/ 5484315 h 7134208"/>
              <a:gd name="connsiteX6-1117" fmla="*/ 299082 w 9397013"/>
              <a:gd name="connsiteY6-1118" fmla="*/ 5067791 h 7134208"/>
              <a:gd name="connsiteX7-1119" fmla="*/ 4106456 w 9397013"/>
              <a:gd name="connsiteY7-1120" fmla="*/ 55057 h 7134208"/>
              <a:gd name="connsiteX8-1121" fmla="*/ 4585079 w 9397013"/>
              <a:gd name="connsiteY8-1122" fmla="*/ 89119 h 7134208"/>
              <a:gd name="connsiteX9-1123" fmla="*/ 488220 w 9397013"/>
              <a:gd name="connsiteY9-1124" fmla="*/ 5484315 h 7134208"/>
              <a:gd name="connsiteX10-1125" fmla="*/ 779421 w 9397013"/>
              <a:gd name="connsiteY10-1126" fmla="*/ 6125606 h 7134208"/>
              <a:gd name="connsiteX11-1127" fmla="*/ 618065 w 9397013"/>
              <a:gd name="connsiteY11-1128" fmla="*/ 5770263 h 7134208"/>
              <a:gd name="connsiteX12-1129" fmla="*/ 4897528 w 9397013"/>
              <a:gd name="connsiteY12-1130" fmla="*/ 111354 h 7134208"/>
              <a:gd name="connsiteX13-1131" fmla="*/ 5324893 w 9397013"/>
              <a:gd name="connsiteY13-1132" fmla="*/ 141768 h 7134208"/>
              <a:gd name="connsiteX14-1133" fmla="*/ 779421 w 9397013"/>
              <a:gd name="connsiteY14-1134" fmla="*/ 6125606 h 7134208"/>
              <a:gd name="connsiteX15-1135" fmla="*/ 1099910 w 9397013"/>
              <a:gd name="connsiteY15-1136" fmla="*/ 6831395 h 7134208"/>
              <a:gd name="connsiteX16-1137" fmla="*/ 919656 w 9397013"/>
              <a:gd name="connsiteY16-1138" fmla="*/ 6434435 h 7134208"/>
              <a:gd name="connsiteX17-1139" fmla="*/ 5668965 w 9397013"/>
              <a:gd name="connsiteY17-1140" fmla="*/ 166254 h 7134208"/>
              <a:gd name="connsiteX18-1141" fmla="*/ 6077099 w 9397013"/>
              <a:gd name="connsiteY18-1142" fmla="*/ 225638 h 7134208"/>
              <a:gd name="connsiteX19-1143" fmla="*/ 1099910 w 9397013"/>
              <a:gd name="connsiteY19-1144" fmla="*/ 6831395 h 7134208"/>
              <a:gd name="connsiteX20-1145" fmla="*/ 6958778 w 9397013"/>
              <a:gd name="connsiteY20-1146" fmla="*/ 7124971 h 7134208"/>
              <a:gd name="connsiteX21-1147" fmla="*/ 6560038 w 9397013"/>
              <a:gd name="connsiteY21-1148" fmla="*/ 7134207 h 7134208"/>
              <a:gd name="connsiteX22-1149" fmla="*/ 3849932 w 9397013"/>
              <a:gd name="connsiteY22-1150" fmla="*/ 3596670 h 7134208"/>
              <a:gd name="connsiteX23-1151" fmla="*/ 4086202 w 9397013"/>
              <a:gd name="connsiteY23-1152" fmla="*/ 3287229 h 7134208"/>
              <a:gd name="connsiteX24-1153" fmla="*/ 6958778 w 9397013"/>
              <a:gd name="connsiteY24-1154" fmla="*/ 7124971 h 7134208"/>
              <a:gd name="connsiteX25-1155" fmla="*/ 7777211 w 9397013"/>
              <a:gd name="connsiteY25-1156" fmla="*/ 7124972 h 7134208"/>
              <a:gd name="connsiteX26-1157" fmla="*/ 7324729 w 9397013"/>
              <a:gd name="connsiteY26-1158" fmla="*/ 7124972 h 7134208"/>
              <a:gd name="connsiteX27-1159" fmla="*/ 4245793 w 9397013"/>
              <a:gd name="connsiteY27-1160" fmla="*/ 3078214 h 7134208"/>
              <a:gd name="connsiteX28-1161" fmla="*/ 4490696 w 9397013"/>
              <a:gd name="connsiteY28-1162" fmla="*/ 2757469 h 7134208"/>
              <a:gd name="connsiteX29-1163" fmla="*/ 7777211 w 9397013"/>
              <a:gd name="connsiteY29-1164" fmla="*/ 7124972 h 7134208"/>
              <a:gd name="connsiteX30-1165" fmla="*/ 8567691 w 9397013"/>
              <a:gd name="connsiteY30-1166" fmla="*/ 7124971 h 7134208"/>
              <a:gd name="connsiteX31-1167" fmla="*/ 8159389 w 9397013"/>
              <a:gd name="connsiteY31-1168" fmla="*/ 7134208 h 7134208"/>
              <a:gd name="connsiteX32-1169" fmla="*/ 4650570 w 9397013"/>
              <a:gd name="connsiteY32-1170" fmla="*/ 2548084 h 7134208"/>
              <a:gd name="connsiteX33-1171" fmla="*/ 4869244 w 9397013"/>
              <a:gd name="connsiteY33-1172" fmla="*/ 2261689 h 7134208"/>
              <a:gd name="connsiteX34-1173" fmla="*/ 8567691 w 9397013"/>
              <a:gd name="connsiteY34-1174" fmla="*/ 7124971 h 7134208"/>
              <a:gd name="connsiteX35-1175" fmla="*/ 9397013 w 9397013"/>
              <a:gd name="connsiteY35-1176" fmla="*/ 7134207 h 7134208"/>
              <a:gd name="connsiteX36-1177" fmla="*/ 8921338 w 9397013"/>
              <a:gd name="connsiteY36-1178" fmla="*/ 7115735 h 7134208"/>
              <a:gd name="connsiteX37-1179" fmla="*/ 5045299 w 9397013"/>
              <a:gd name="connsiteY37-1180" fmla="*/ 2031113 h 7134208"/>
              <a:gd name="connsiteX38-1181" fmla="*/ 5273037 w 9397013"/>
              <a:gd name="connsiteY38-1182" fmla="*/ 1732846 h 7134208"/>
              <a:gd name="connsiteX39-1183" fmla="*/ 9397013 w 9397013"/>
              <a:gd name="connsiteY39-1184" fmla="*/ 7134207 h 7134208"/>
              <a:gd name="connsiteX0-1185" fmla="*/ 168369 w 9397013"/>
              <a:gd name="connsiteY0-1186" fmla="*/ 4779933 h 7134208"/>
              <a:gd name="connsiteX1-1187" fmla="*/ 0 w 9397013"/>
              <a:gd name="connsiteY1-1188" fmla="*/ 4409146 h 7134208"/>
              <a:gd name="connsiteX2-1189" fmla="*/ 3332806 w 9397013"/>
              <a:gd name="connsiteY2-1190" fmla="*/ 0 h 7134208"/>
              <a:gd name="connsiteX3-1191" fmla="*/ 3794560 w 9397013"/>
              <a:gd name="connsiteY3-1192" fmla="*/ 32861 h 7134208"/>
              <a:gd name="connsiteX4-1193" fmla="*/ 168369 w 9397013"/>
              <a:gd name="connsiteY4-1194" fmla="*/ 4779933 h 7134208"/>
              <a:gd name="connsiteX5-1195" fmla="*/ 488220 w 9397013"/>
              <a:gd name="connsiteY5-1196" fmla="*/ 5484315 h 7134208"/>
              <a:gd name="connsiteX6-1197" fmla="*/ 299082 w 9397013"/>
              <a:gd name="connsiteY6-1198" fmla="*/ 5067791 h 7134208"/>
              <a:gd name="connsiteX7-1199" fmla="*/ 4106456 w 9397013"/>
              <a:gd name="connsiteY7-1200" fmla="*/ 55057 h 7134208"/>
              <a:gd name="connsiteX8-1201" fmla="*/ 4585079 w 9397013"/>
              <a:gd name="connsiteY8-1202" fmla="*/ 89119 h 7134208"/>
              <a:gd name="connsiteX9-1203" fmla="*/ 488220 w 9397013"/>
              <a:gd name="connsiteY9-1204" fmla="*/ 5484315 h 7134208"/>
              <a:gd name="connsiteX10-1205" fmla="*/ 779421 w 9397013"/>
              <a:gd name="connsiteY10-1206" fmla="*/ 6125606 h 7134208"/>
              <a:gd name="connsiteX11-1207" fmla="*/ 618065 w 9397013"/>
              <a:gd name="connsiteY11-1208" fmla="*/ 5770263 h 7134208"/>
              <a:gd name="connsiteX12-1209" fmla="*/ 4897528 w 9397013"/>
              <a:gd name="connsiteY12-1210" fmla="*/ 111354 h 7134208"/>
              <a:gd name="connsiteX13-1211" fmla="*/ 5324893 w 9397013"/>
              <a:gd name="connsiteY13-1212" fmla="*/ 141768 h 7134208"/>
              <a:gd name="connsiteX14-1213" fmla="*/ 779421 w 9397013"/>
              <a:gd name="connsiteY14-1214" fmla="*/ 6125606 h 7134208"/>
              <a:gd name="connsiteX15-1215" fmla="*/ 1099910 w 9397013"/>
              <a:gd name="connsiteY15-1216" fmla="*/ 6831395 h 7134208"/>
              <a:gd name="connsiteX16-1217" fmla="*/ 919656 w 9397013"/>
              <a:gd name="connsiteY16-1218" fmla="*/ 6434435 h 7134208"/>
              <a:gd name="connsiteX17-1219" fmla="*/ 5613547 w 9397013"/>
              <a:gd name="connsiteY17-1220" fmla="*/ 240145 h 7134208"/>
              <a:gd name="connsiteX18-1221" fmla="*/ 6077099 w 9397013"/>
              <a:gd name="connsiteY18-1222" fmla="*/ 225638 h 7134208"/>
              <a:gd name="connsiteX19-1223" fmla="*/ 1099910 w 9397013"/>
              <a:gd name="connsiteY19-1224" fmla="*/ 6831395 h 7134208"/>
              <a:gd name="connsiteX20-1225" fmla="*/ 6958778 w 9397013"/>
              <a:gd name="connsiteY20-1226" fmla="*/ 7124971 h 7134208"/>
              <a:gd name="connsiteX21-1227" fmla="*/ 6560038 w 9397013"/>
              <a:gd name="connsiteY21-1228" fmla="*/ 7134207 h 7134208"/>
              <a:gd name="connsiteX22-1229" fmla="*/ 3849932 w 9397013"/>
              <a:gd name="connsiteY22-1230" fmla="*/ 3596670 h 7134208"/>
              <a:gd name="connsiteX23-1231" fmla="*/ 4086202 w 9397013"/>
              <a:gd name="connsiteY23-1232" fmla="*/ 3287229 h 7134208"/>
              <a:gd name="connsiteX24-1233" fmla="*/ 6958778 w 9397013"/>
              <a:gd name="connsiteY24-1234" fmla="*/ 7124971 h 7134208"/>
              <a:gd name="connsiteX25-1235" fmla="*/ 7777211 w 9397013"/>
              <a:gd name="connsiteY25-1236" fmla="*/ 7124972 h 7134208"/>
              <a:gd name="connsiteX26-1237" fmla="*/ 7324729 w 9397013"/>
              <a:gd name="connsiteY26-1238" fmla="*/ 7124972 h 7134208"/>
              <a:gd name="connsiteX27-1239" fmla="*/ 4245793 w 9397013"/>
              <a:gd name="connsiteY27-1240" fmla="*/ 3078214 h 7134208"/>
              <a:gd name="connsiteX28-1241" fmla="*/ 4490696 w 9397013"/>
              <a:gd name="connsiteY28-1242" fmla="*/ 2757469 h 7134208"/>
              <a:gd name="connsiteX29-1243" fmla="*/ 7777211 w 9397013"/>
              <a:gd name="connsiteY29-1244" fmla="*/ 7124972 h 7134208"/>
              <a:gd name="connsiteX30-1245" fmla="*/ 8567691 w 9397013"/>
              <a:gd name="connsiteY30-1246" fmla="*/ 7124971 h 7134208"/>
              <a:gd name="connsiteX31-1247" fmla="*/ 8159389 w 9397013"/>
              <a:gd name="connsiteY31-1248" fmla="*/ 7134208 h 7134208"/>
              <a:gd name="connsiteX32-1249" fmla="*/ 4650570 w 9397013"/>
              <a:gd name="connsiteY32-1250" fmla="*/ 2548084 h 7134208"/>
              <a:gd name="connsiteX33-1251" fmla="*/ 4869244 w 9397013"/>
              <a:gd name="connsiteY33-1252" fmla="*/ 2261689 h 7134208"/>
              <a:gd name="connsiteX34-1253" fmla="*/ 8567691 w 9397013"/>
              <a:gd name="connsiteY34-1254" fmla="*/ 7124971 h 7134208"/>
              <a:gd name="connsiteX35-1255" fmla="*/ 9397013 w 9397013"/>
              <a:gd name="connsiteY35-1256" fmla="*/ 7134207 h 7134208"/>
              <a:gd name="connsiteX36-1257" fmla="*/ 8921338 w 9397013"/>
              <a:gd name="connsiteY36-1258" fmla="*/ 7115735 h 7134208"/>
              <a:gd name="connsiteX37-1259" fmla="*/ 5045299 w 9397013"/>
              <a:gd name="connsiteY37-1260" fmla="*/ 2031113 h 7134208"/>
              <a:gd name="connsiteX38-1261" fmla="*/ 5273037 w 9397013"/>
              <a:gd name="connsiteY38-1262" fmla="*/ 1732846 h 7134208"/>
              <a:gd name="connsiteX39-1263" fmla="*/ 9397013 w 9397013"/>
              <a:gd name="connsiteY39-1264" fmla="*/ 7134207 h 7134208"/>
              <a:gd name="connsiteX0-1265" fmla="*/ 168369 w 9397013"/>
              <a:gd name="connsiteY0-1266" fmla="*/ 4779933 h 7134208"/>
              <a:gd name="connsiteX1-1267" fmla="*/ 0 w 9397013"/>
              <a:gd name="connsiteY1-1268" fmla="*/ 4409146 h 7134208"/>
              <a:gd name="connsiteX2-1269" fmla="*/ 3332806 w 9397013"/>
              <a:gd name="connsiteY2-1270" fmla="*/ 0 h 7134208"/>
              <a:gd name="connsiteX3-1271" fmla="*/ 3794560 w 9397013"/>
              <a:gd name="connsiteY3-1272" fmla="*/ 32861 h 7134208"/>
              <a:gd name="connsiteX4-1273" fmla="*/ 168369 w 9397013"/>
              <a:gd name="connsiteY4-1274" fmla="*/ 4779933 h 7134208"/>
              <a:gd name="connsiteX5-1275" fmla="*/ 488220 w 9397013"/>
              <a:gd name="connsiteY5-1276" fmla="*/ 5484315 h 7134208"/>
              <a:gd name="connsiteX6-1277" fmla="*/ 299082 w 9397013"/>
              <a:gd name="connsiteY6-1278" fmla="*/ 5067791 h 7134208"/>
              <a:gd name="connsiteX7-1279" fmla="*/ 4106456 w 9397013"/>
              <a:gd name="connsiteY7-1280" fmla="*/ 55057 h 7134208"/>
              <a:gd name="connsiteX8-1281" fmla="*/ 4585079 w 9397013"/>
              <a:gd name="connsiteY8-1282" fmla="*/ 89119 h 7134208"/>
              <a:gd name="connsiteX9-1283" fmla="*/ 488220 w 9397013"/>
              <a:gd name="connsiteY9-1284" fmla="*/ 5484315 h 7134208"/>
              <a:gd name="connsiteX10-1285" fmla="*/ 779421 w 9397013"/>
              <a:gd name="connsiteY10-1286" fmla="*/ 6125606 h 7134208"/>
              <a:gd name="connsiteX11-1287" fmla="*/ 618065 w 9397013"/>
              <a:gd name="connsiteY11-1288" fmla="*/ 5770263 h 7134208"/>
              <a:gd name="connsiteX12-1289" fmla="*/ 4897528 w 9397013"/>
              <a:gd name="connsiteY12-1290" fmla="*/ 111354 h 7134208"/>
              <a:gd name="connsiteX13-1291" fmla="*/ 5324893 w 9397013"/>
              <a:gd name="connsiteY13-1292" fmla="*/ 141768 h 7134208"/>
              <a:gd name="connsiteX14-1293" fmla="*/ 779421 w 9397013"/>
              <a:gd name="connsiteY14-1294" fmla="*/ 6125606 h 7134208"/>
              <a:gd name="connsiteX15-1295" fmla="*/ 1099910 w 9397013"/>
              <a:gd name="connsiteY15-1296" fmla="*/ 6831395 h 7134208"/>
              <a:gd name="connsiteX16-1297" fmla="*/ 919656 w 9397013"/>
              <a:gd name="connsiteY16-1298" fmla="*/ 6434435 h 7134208"/>
              <a:gd name="connsiteX17-1299" fmla="*/ 5641256 w 9397013"/>
              <a:gd name="connsiteY17-1300" fmla="*/ 212436 h 7134208"/>
              <a:gd name="connsiteX18-1301" fmla="*/ 6077099 w 9397013"/>
              <a:gd name="connsiteY18-1302" fmla="*/ 225638 h 7134208"/>
              <a:gd name="connsiteX19-1303" fmla="*/ 1099910 w 9397013"/>
              <a:gd name="connsiteY19-1304" fmla="*/ 6831395 h 7134208"/>
              <a:gd name="connsiteX20-1305" fmla="*/ 6958778 w 9397013"/>
              <a:gd name="connsiteY20-1306" fmla="*/ 7124971 h 7134208"/>
              <a:gd name="connsiteX21-1307" fmla="*/ 6560038 w 9397013"/>
              <a:gd name="connsiteY21-1308" fmla="*/ 7134207 h 7134208"/>
              <a:gd name="connsiteX22-1309" fmla="*/ 3849932 w 9397013"/>
              <a:gd name="connsiteY22-1310" fmla="*/ 3596670 h 7134208"/>
              <a:gd name="connsiteX23-1311" fmla="*/ 4086202 w 9397013"/>
              <a:gd name="connsiteY23-1312" fmla="*/ 3287229 h 7134208"/>
              <a:gd name="connsiteX24-1313" fmla="*/ 6958778 w 9397013"/>
              <a:gd name="connsiteY24-1314" fmla="*/ 7124971 h 7134208"/>
              <a:gd name="connsiteX25-1315" fmla="*/ 7777211 w 9397013"/>
              <a:gd name="connsiteY25-1316" fmla="*/ 7124972 h 7134208"/>
              <a:gd name="connsiteX26-1317" fmla="*/ 7324729 w 9397013"/>
              <a:gd name="connsiteY26-1318" fmla="*/ 7124972 h 7134208"/>
              <a:gd name="connsiteX27-1319" fmla="*/ 4245793 w 9397013"/>
              <a:gd name="connsiteY27-1320" fmla="*/ 3078214 h 7134208"/>
              <a:gd name="connsiteX28-1321" fmla="*/ 4490696 w 9397013"/>
              <a:gd name="connsiteY28-1322" fmla="*/ 2757469 h 7134208"/>
              <a:gd name="connsiteX29-1323" fmla="*/ 7777211 w 9397013"/>
              <a:gd name="connsiteY29-1324" fmla="*/ 7124972 h 7134208"/>
              <a:gd name="connsiteX30-1325" fmla="*/ 8567691 w 9397013"/>
              <a:gd name="connsiteY30-1326" fmla="*/ 7124971 h 7134208"/>
              <a:gd name="connsiteX31-1327" fmla="*/ 8159389 w 9397013"/>
              <a:gd name="connsiteY31-1328" fmla="*/ 7134208 h 7134208"/>
              <a:gd name="connsiteX32-1329" fmla="*/ 4650570 w 9397013"/>
              <a:gd name="connsiteY32-1330" fmla="*/ 2548084 h 7134208"/>
              <a:gd name="connsiteX33-1331" fmla="*/ 4869244 w 9397013"/>
              <a:gd name="connsiteY33-1332" fmla="*/ 2261689 h 7134208"/>
              <a:gd name="connsiteX34-1333" fmla="*/ 8567691 w 9397013"/>
              <a:gd name="connsiteY34-1334" fmla="*/ 7124971 h 7134208"/>
              <a:gd name="connsiteX35-1335" fmla="*/ 9397013 w 9397013"/>
              <a:gd name="connsiteY35-1336" fmla="*/ 7134207 h 7134208"/>
              <a:gd name="connsiteX36-1337" fmla="*/ 8921338 w 9397013"/>
              <a:gd name="connsiteY36-1338" fmla="*/ 7115735 h 7134208"/>
              <a:gd name="connsiteX37-1339" fmla="*/ 5045299 w 9397013"/>
              <a:gd name="connsiteY37-1340" fmla="*/ 2031113 h 7134208"/>
              <a:gd name="connsiteX38-1341" fmla="*/ 5273037 w 9397013"/>
              <a:gd name="connsiteY38-1342" fmla="*/ 1732846 h 7134208"/>
              <a:gd name="connsiteX39-1343" fmla="*/ 9397013 w 9397013"/>
              <a:gd name="connsiteY39-1344" fmla="*/ 7134207 h 7134208"/>
              <a:gd name="connsiteX0-1345" fmla="*/ 168369 w 9397013"/>
              <a:gd name="connsiteY0-1346" fmla="*/ 4779933 h 7134208"/>
              <a:gd name="connsiteX1-1347" fmla="*/ 0 w 9397013"/>
              <a:gd name="connsiteY1-1348" fmla="*/ 4409146 h 7134208"/>
              <a:gd name="connsiteX2-1349" fmla="*/ 3332806 w 9397013"/>
              <a:gd name="connsiteY2-1350" fmla="*/ 0 h 7134208"/>
              <a:gd name="connsiteX3-1351" fmla="*/ 3794560 w 9397013"/>
              <a:gd name="connsiteY3-1352" fmla="*/ 32861 h 7134208"/>
              <a:gd name="connsiteX4-1353" fmla="*/ 168369 w 9397013"/>
              <a:gd name="connsiteY4-1354" fmla="*/ 4779933 h 7134208"/>
              <a:gd name="connsiteX5-1355" fmla="*/ 488220 w 9397013"/>
              <a:gd name="connsiteY5-1356" fmla="*/ 5484315 h 7134208"/>
              <a:gd name="connsiteX6-1357" fmla="*/ 299082 w 9397013"/>
              <a:gd name="connsiteY6-1358" fmla="*/ 5067791 h 7134208"/>
              <a:gd name="connsiteX7-1359" fmla="*/ 4106456 w 9397013"/>
              <a:gd name="connsiteY7-1360" fmla="*/ 55057 h 7134208"/>
              <a:gd name="connsiteX8-1361" fmla="*/ 4585079 w 9397013"/>
              <a:gd name="connsiteY8-1362" fmla="*/ 89119 h 7134208"/>
              <a:gd name="connsiteX9-1363" fmla="*/ 488220 w 9397013"/>
              <a:gd name="connsiteY9-1364" fmla="*/ 5484315 h 7134208"/>
              <a:gd name="connsiteX10-1365" fmla="*/ 779421 w 9397013"/>
              <a:gd name="connsiteY10-1366" fmla="*/ 6125606 h 7134208"/>
              <a:gd name="connsiteX11-1367" fmla="*/ 618065 w 9397013"/>
              <a:gd name="connsiteY11-1368" fmla="*/ 5770263 h 7134208"/>
              <a:gd name="connsiteX12-1369" fmla="*/ 4897528 w 9397013"/>
              <a:gd name="connsiteY12-1370" fmla="*/ 111354 h 7134208"/>
              <a:gd name="connsiteX13-1371" fmla="*/ 5260238 w 9397013"/>
              <a:gd name="connsiteY13-1372" fmla="*/ 234131 h 7134208"/>
              <a:gd name="connsiteX14-1373" fmla="*/ 779421 w 9397013"/>
              <a:gd name="connsiteY14-1374" fmla="*/ 6125606 h 7134208"/>
              <a:gd name="connsiteX15-1375" fmla="*/ 1099910 w 9397013"/>
              <a:gd name="connsiteY15-1376" fmla="*/ 6831395 h 7134208"/>
              <a:gd name="connsiteX16-1377" fmla="*/ 919656 w 9397013"/>
              <a:gd name="connsiteY16-1378" fmla="*/ 6434435 h 7134208"/>
              <a:gd name="connsiteX17-1379" fmla="*/ 5641256 w 9397013"/>
              <a:gd name="connsiteY17-1380" fmla="*/ 212436 h 7134208"/>
              <a:gd name="connsiteX18-1381" fmla="*/ 6077099 w 9397013"/>
              <a:gd name="connsiteY18-1382" fmla="*/ 225638 h 7134208"/>
              <a:gd name="connsiteX19-1383" fmla="*/ 1099910 w 9397013"/>
              <a:gd name="connsiteY19-1384" fmla="*/ 6831395 h 7134208"/>
              <a:gd name="connsiteX20-1385" fmla="*/ 6958778 w 9397013"/>
              <a:gd name="connsiteY20-1386" fmla="*/ 7124971 h 7134208"/>
              <a:gd name="connsiteX21-1387" fmla="*/ 6560038 w 9397013"/>
              <a:gd name="connsiteY21-1388" fmla="*/ 7134207 h 7134208"/>
              <a:gd name="connsiteX22-1389" fmla="*/ 3849932 w 9397013"/>
              <a:gd name="connsiteY22-1390" fmla="*/ 3596670 h 7134208"/>
              <a:gd name="connsiteX23-1391" fmla="*/ 4086202 w 9397013"/>
              <a:gd name="connsiteY23-1392" fmla="*/ 3287229 h 7134208"/>
              <a:gd name="connsiteX24-1393" fmla="*/ 6958778 w 9397013"/>
              <a:gd name="connsiteY24-1394" fmla="*/ 7124971 h 7134208"/>
              <a:gd name="connsiteX25-1395" fmla="*/ 7777211 w 9397013"/>
              <a:gd name="connsiteY25-1396" fmla="*/ 7124972 h 7134208"/>
              <a:gd name="connsiteX26-1397" fmla="*/ 7324729 w 9397013"/>
              <a:gd name="connsiteY26-1398" fmla="*/ 7124972 h 7134208"/>
              <a:gd name="connsiteX27-1399" fmla="*/ 4245793 w 9397013"/>
              <a:gd name="connsiteY27-1400" fmla="*/ 3078214 h 7134208"/>
              <a:gd name="connsiteX28-1401" fmla="*/ 4490696 w 9397013"/>
              <a:gd name="connsiteY28-1402" fmla="*/ 2757469 h 7134208"/>
              <a:gd name="connsiteX29-1403" fmla="*/ 7777211 w 9397013"/>
              <a:gd name="connsiteY29-1404" fmla="*/ 7124972 h 7134208"/>
              <a:gd name="connsiteX30-1405" fmla="*/ 8567691 w 9397013"/>
              <a:gd name="connsiteY30-1406" fmla="*/ 7124971 h 7134208"/>
              <a:gd name="connsiteX31-1407" fmla="*/ 8159389 w 9397013"/>
              <a:gd name="connsiteY31-1408" fmla="*/ 7134208 h 7134208"/>
              <a:gd name="connsiteX32-1409" fmla="*/ 4650570 w 9397013"/>
              <a:gd name="connsiteY32-1410" fmla="*/ 2548084 h 7134208"/>
              <a:gd name="connsiteX33-1411" fmla="*/ 4869244 w 9397013"/>
              <a:gd name="connsiteY33-1412" fmla="*/ 2261689 h 7134208"/>
              <a:gd name="connsiteX34-1413" fmla="*/ 8567691 w 9397013"/>
              <a:gd name="connsiteY34-1414" fmla="*/ 7124971 h 7134208"/>
              <a:gd name="connsiteX35-1415" fmla="*/ 9397013 w 9397013"/>
              <a:gd name="connsiteY35-1416" fmla="*/ 7134207 h 7134208"/>
              <a:gd name="connsiteX36-1417" fmla="*/ 8921338 w 9397013"/>
              <a:gd name="connsiteY36-1418" fmla="*/ 7115735 h 7134208"/>
              <a:gd name="connsiteX37-1419" fmla="*/ 5045299 w 9397013"/>
              <a:gd name="connsiteY37-1420" fmla="*/ 2031113 h 7134208"/>
              <a:gd name="connsiteX38-1421" fmla="*/ 5273037 w 9397013"/>
              <a:gd name="connsiteY38-1422" fmla="*/ 1732846 h 7134208"/>
              <a:gd name="connsiteX39-1423" fmla="*/ 9397013 w 9397013"/>
              <a:gd name="connsiteY39-1424" fmla="*/ 7134207 h 7134208"/>
              <a:gd name="connsiteX0-1425" fmla="*/ 168369 w 9397013"/>
              <a:gd name="connsiteY0-1426" fmla="*/ 4779933 h 7134208"/>
              <a:gd name="connsiteX1-1427" fmla="*/ 0 w 9397013"/>
              <a:gd name="connsiteY1-1428" fmla="*/ 4409146 h 7134208"/>
              <a:gd name="connsiteX2-1429" fmla="*/ 3332806 w 9397013"/>
              <a:gd name="connsiteY2-1430" fmla="*/ 0 h 7134208"/>
              <a:gd name="connsiteX3-1431" fmla="*/ 3794560 w 9397013"/>
              <a:gd name="connsiteY3-1432" fmla="*/ 32861 h 7134208"/>
              <a:gd name="connsiteX4-1433" fmla="*/ 168369 w 9397013"/>
              <a:gd name="connsiteY4-1434" fmla="*/ 4779933 h 7134208"/>
              <a:gd name="connsiteX5-1435" fmla="*/ 488220 w 9397013"/>
              <a:gd name="connsiteY5-1436" fmla="*/ 5484315 h 7134208"/>
              <a:gd name="connsiteX6-1437" fmla="*/ 299082 w 9397013"/>
              <a:gd name="connsiteY6-1438" fmla="*/ 5067791 h 7134208"/>
              <a:gd name="connsiteX7-1439" fmla="*/ 4106456 w 9397013"/>
              <a:gd name="connsiteY7-1440" fmla="*/ 55057 h 7134208"/>
              <a:gd name="connsiteX8-1441" fmla="*/ 4585079 w 9397013"/>
              <a:gd name="connsiteY8-1442" fmla="*/ 89119 h 7134208"/>
              <a:gd name="connsiteX9-1443" fmla="*/ 488220 w 9397013"/>
              <a:gd name="connsiteY9-1444" fmla="*/ 5484315 h 7134208"/>
              <a:gd name="connsiteX10-1445" fmla="*/ 779421 w 9397013"/>
              <a:gd name="connsiteY10-1446" fmla="*/ 6125606 h 7134208"/>
              <a:gd name="connsiteX11-1447" fmla="*/ 618065 w 9397013"/>
              <a:gd name="connsiteY11-1448" fmla="*/ 5770263 h 7134208"/>
              <a:gd name="connsiteX12-1449" fmla="*/ 4805164 w 9397013"/>
              <a:gd name="connsiteY12-1450" fmla="*/ 212954 h 7134208"/>
              <a:gd name="connsiteX13-1451" fmla="*/ 5260238 w 9397013"/>
              <a:gd name="connsiteY13-1452" fmla="*/ 234131 h 7134208"/>
              <a:gd name="connsiteX14-1453" fmla="*/ 779421 w 9397013"/>
              <a:gd name="connsiteY14-1454" fmla="*/ 6125606 h 7134208"/>
              <a:gd name="connsiteX15-1455" fmla="*/ 1099910 w 9397013"/>
              <a:gd name="connsiteY15-1456" fmla="*/ 6831395 h 7134208"/>
              <a:gd name="connsiteX16-1457" fmla="*/ 919656 w 9397013"/>
              <a:gd name="connsiteY16-1458" fmla="*/ 6434435 h 7134208"/>
              <a:gd name="connsiteX17-1459" fmla="*/ 5641256 w 9397013"/>
              <a:gd name="connsiteY17-1460" fmla="*/ 212436 h 7134208"/>
              <a:gd name="connsiteX18-1461" fmla="*/ 6077099 w 9397013"/>
              <a:gd name="connsiteY18-1462" fmla="*/ 225638 h 7134208"/>
              <a:gd name="connsiteX19-1463" fmla="*/ 1099910 w 9397013"/>
              <a:gd name="connsiteY19-1464" fmla="*/ 6831395 h 7134208"/>
              <a:gd name="connsiteX20-1465" fmla="*/ 6958778 w 9397013"/>
              <a:gd name="connsiteY20-1466" fmla="*/ 7124971 h 7134208"/>
              <a:gd name="connsiteX21-1467" fmla="*/ 6560038 w 9397013"/>
              <a:gd name="connsiteY21-1468" fmla="*/ 7134207 h 7134208"/>
              <a:gd name="connsiteX22-1469" fmla="*/ 3849932 w 9397013"/>
              <a:gd name="connsiteY22-1470" fmla="*/ 3596670 h 7134208"/>
              <a:gd name="connsiteX23-1471" fmla="*/ 4086202 w 9397013"/>
              <a:gd name="connsiteY23-1472" fmla="*/ 3287229 h 7134208"/>
              <a:gd name="connsiteX24-1473" fmla="*/ 6958778 w 9397013"/>
              <a:gd name="connsiteY24-1474" fmla="*/ 7124971 h 7134208"/>
              <a:gd name="connsiteX25-1475" fmla="*/ 7777211 w 9397013"/>
              <a:gd name="connsiteY25-1476" fmla="*/ 7124972 h 7134208"/>
              <a:gd name="connsiteX26-1477" fmla="*/ 7324729 w 9397013"/>
              <a:gd name="connsiteY26-1478" fmla="*/ 7124972 h 7134208"/>
              <a:gd name="connsiteX27-1479" fmla="*/ 4245793 w 9397013"/>
              <a:gd name="connsiteY27-1480" fmla="*/ 3078214 h 7134208"/>
              <a:gd name="connsiteX28-1481" fmla="*/ 4490696 w 9397013"/>
              <a:gd name="connsiteY28-1482" fmla="*/ 2757469 h 7134208"/>
              <a:gd name="connsiteX29-1483" fmla="*/ 7777211 w 9397013"/>
              <a:gd name="connsiteY29-1484" fmla="*/ 7124972 h 7134208"/>
              <a:gd name="connsiteX30-1485" fmla="*/ 8567691 w 9397013"/>
              <a:gd name="connsiteY30-1486" fmla="*/ 7124971 h 7134208"/>
              <a:gd name="connsiteX31-1487" fmla="*/ 8159389 w 9397013"/>
              <a:gd name="connsiteY31-1488" fmla="*/ 7134208 h 7134208"/>
              <a:gd name="connsiteX32-1489" fmla="*/ 4650570 w 9397013"/>
              <a:gd name="connsiteY32-1490" fmla="*/ 2548084 h 7134208"/>
              <a:gd name="connsiteX33-1491" fmla="*/ 4869244 w 9397013"/>
              <a:gd name="connsiteY33-1492" fmla="*/ 2261689 h 7134208"/>
              <a:gd name="connsiteX34-1493" fmla="*/ 8567691 w 9397013"/>
              <a:gd name="connsiteY34-1494" fmla="*/ 7124971 h 7134208"/>
              <a:gd name="connsiteX35-1495" fmla="*/ 9397013 w 9397013"/>
              <a:gd name="connsiteY35-1496" fmla="*/ 7134207 h 7134208"/>
              <a:gd name="connsiteX36-1497" fmla="*/ 8921338 w 9397013"/>
              <a:gd name="connsiteY36-1498" fmla="*/ 7115735 h 7134208"/>
              <a:gd name="connsiteX37-1499" fmla="*/ 5045299 w 9397013"/>
              <a:gd name="connsiteY37-1500" fmla="*/ 2031113 h 7134208"/>
              <a:gd name="connsiteX38-1501" fmla="*/ 5273037 w 9397013"/>
              <a:gd name="connsiteY38-1502" fmla="*/ 1732846 h 7134208"/>
              <a:gd name="connsiteX39-1503" fmla="*/ 9397013 w 9397013"/>
              <a:gd name="connsiteY39-1504" fmla="*/ 7134207 h 7134208"/>
              <a:gd name="connsiteX0-1505" fmla="*/ 168369 w 9397013"/>
              <a:gd name="connsiteY0-1506" fmla="*/ 4779933 h 7134208"/>
              <a:gd name="connsiteX1-1507" fmla="*/ 0 w 9397013"/>
              <a:gd name="connsiteY1-1508" fmla="*/ 4409146 h 7134208"/>
              <a:gd name="connsiteX2-1509" fmla="*/ 3332806 w 9397013"/>
              <a:gd name="connsiteY2-1510" fmla="*/ 0 h 7134208"/>
              <a:gd name="connsiteX3-1511" fmla="*/ 3794560 w 9397013"/>
              <a:gd name="connsiteY3-1512" fmla="*/ 32861 h 7134208"/>
              <a:gd name="connsiteX4-1513" fmla="*/ 168369 w 9397013"/>
              <a:gd name="connsiteY4-1514" fmla="*/ 4779933 h 7134208"/>
              <a:gd name="connsiteX5-1515" fmla="*/ 488220 w 9397013"/>
              <a:gd name="connsiteY5-1516" fmla="*/ 5484315 h 7134208"/>
              <a:gd name="connsiteX6-1517" fmla="*/ 299082 w 9397013"/>
              <a:gd name="connsiteY6-1518" fmla="*/ 5067791 h 7134208"/>
              <a:gd name="connsiteX7-1519" fmla="*/ 4106456 w 9397013"/>
              <a:gd name="connsiteY7-1520" fmla="*/ 55057 h 7134208"/>
              <a:gd name="connsiteX8-1521" fmla="*/ 4465006 w 9397013"/>
              <a:gd name="connsiteY8-1522" fmla="*/ 209192 h 7134208"/>
              <a:gd name="connsiteX9-1523" fmla="*/ 488220 w 9397013"/>
              <a:gd name="connsiteY9-1524" fmla="*/ 5484315 h 7134208"/>
              <a:gd name="connsiteX10-1525" fmla="*/ 779421 w 9397013"/>
              <a:gd name="connsiteY10-1526" fmla="*/ 6125606 h 7134208"/>
              <a:gd name="connsiteX11-1527" fmla="*/ 618065 w 9397013"/>
              <a:gd name="connsiteY11-1528" fmla="*/ 5770263 h 7134208"/>
              <a:gd name="connsiteX12-1529" fmla="*/ 4805164 w 9397013"/>
              <a:gd name="connsiteY12-1530" fmla="*/ 212954 h 7134208"/>
              <a:gd name="connsiteX13-1531" fmla="*/ 5260238 w 9397013"/>
              <a:gd name="connsiteY13-1532" fmla="*/ 234131 h 7134208"/>
              <a:gd name="connsiteX14-1533" fmla="*/ 779421 w 9397013"/>
              <a:gd name="connsiteY14-1534" fmla="*/ 6125606 h 7134208"/>
              <a:gd name="connsiteX15-1535" fmla="*/ 1099910 w 9397013"/>
              <a:gd name="connsiteY15-1536" fmla="*/ 6831395 h 7134208"/>
              <a:gd name="connsiteX16-1537" fmla="*/ 919656 w 9397013"/>
              <a:gd name="connsiteY16-1538" fmla="*/ 6434435 h 7134208"/>
              <a:gd name="connsiteX17-1539" fmla="*/ 5641256 w 9397013"/>
              <a:gd name="connsiteY17-1540" fmla="*/ 212436 h 7134208"/>
              <a:gd name="connsiteX18-1541" fmla="*/ 6077099 w 9397013"/>
              <a:gd name="connsiteY18-1542" fmla="*/ 225638 h 7134208"/>
              <a:gd name="connsiteX19-1543" fmla="*/ 1099910 w 9397013"/>
              <a:gd name="connsiteY19-1544" fmla="*/ 6831395 h 7134208"/>
              <a:gd name="connsiteX20-1545" fmla="*/ 6958778 w 9397013"/>
              <a:gd name="connsiteY20-1546" fmla="*/ 7124971 h 7134208"/>
              <a:gd name="connsiteX21-1547" fmla="*/ 6560038 w 9397013"/>
              <a:gd name="connsiteY21-1548" fmla="*/ 7134207 h 7134208"/>
              <a:gd name="connsiteX22-1549" fmla="*/ 3849932 w 9397013"/>
              <a:gd name="connsiteY22-1550" fmla="*/ 3596670 h 7134208"/>
              <a:gd name="connsiteX23-1551" fmla="*/ 4086202 w 9397013"/>
              <a:gd name="connsiteY23-1552" fmla="*/ 3287229 h 7134208"/>
              <a:gd name="connsiteX24-1553" fmla="*/ 6958778 w 9397013"/>
              <a:gd name="connsiteY24-1554" fmla="*/ 7124971 h 7134208"/>
              <a:gd name="connsiteX25-1555" fmla="*/ 7777211 w 9397013"/>
              <a:gd name="connsiteY25-1556" fmla="*/ 7124972 h 7134208"/>
              <a:gd name="connsiteX26-1557" fmla="*/ 7324729 w 9397013"/>
              <a:gd name="connsiteY26-1558" fmla="*/ 7124972 h 7134208"/>
              <a:gd name="connsiteX27-1559" fmla="*/ 4245793 w 9397013"/>
              <a:gd name="connsiteY27-1560" fmla="*/ 3078214 h 7134208"/>
              <a:gd name="connsiteX28-1561" fmla="*/ 4490696 w 9397013"/>
              <a:gd name="connsiteY28-1562" fmla="*/ 2757469 h 7134208"/>
              <a:gd name="connsiteX29-1563" fmla="*/ 7777211 w 9397013"/>
              <a:gd name="connsiteY29-1564" fmla="*/ 7124972 h 7134208"/>
              <a:gd name="connsiteX30-1565" fmla="*/ 8567691 w 9397013"/>
              <a:gd name="connsiteY30-1566" fmla="*/ 7124971 h 7134208"/>
              <a:gd name="connsiteX31-1567" fmla="*/ 8159389 w 9397013"/>
              <a:gd name="connsiteY31-1568" fmla="*/ 7134208 h 7134208"/>
              <a:gd name="connsiteX32-1569" fmla="*/ 4650570 w 9397013"/>
              <a:gd name="connsiteY32-1570" fmla="*/ 2548084 h 7134208"/>
              <a:gd name="connsiteX33-1571" fmla="*/ 4869244 w 9397013"/>
              <a:gd name="connsiteY33-1572" fmla="*/ 2261689 h 7134208"/>
              <a:gd name="connsiteX34-1573" fmla="*/ 8567691 w 9397013"/>
              <a:gd name="connsiteY34-1574" fmla="*/ 7124971 h 7134208"/>
              <a:gd name="connsiteX35-1575" fmla="*/ 9397013 w 9397013"/>
              <a:gd name="connsiteY35-1576" fmla="*/ 7134207 h 7134208"/>
              <a:gd name="connsiteX36-1577" fmla="*/ 8921338 w 9397013"/>
              <a:gd name="connsiteY36-1578" fmla="*/ 7115735 h 7134208"/>
              <a:gd name="connsiteX37-1579" fmla="*/ 5045299 w 9397013"/>
              <a:gd name="connsiteY37-1580" fmla="*/ 2031113 h 7134208"/>
              <a:gd name="connsiteX38-1581" fmla="*/ 5273037 w 9397013"/>
              <a:gd name="connsiteY38-1582" fmla="*/ 1732846 h 7134208"/>
              <a:gd name="connsiteX39-1583" fmla="*/ 9397013 w 9397013"/>
              <a:gd name="connsiteY39-1584" fmla="*/ 7134207 h 7134208"/>
              <a:gd name="connsiteX0-1585" fmla="*/ 168369 w 9397013"/>
              <a:gd name="connsiteY0-1586" fmla="*/ 4779933 h 7134208"/>
              <a:gd name="connsiteX1-1587" fmla="*/ 0 w 9397013"/>
              <a:gd name="connsiteY1-1588" fmla="*/ 4409146 h 7134208"/>
              <a:gd name="connsiteX2-1589" fmla="*/ 3332806 w 9397013"/>
              <a:gd name="connsiteY2-1590" fmla="*/ 0 h 7134208"/>
              <a:gd name="connsiteX3-1591" fmla="*/ 3794560 w 9397013"/>
              <a:gd name="connsiteY3-1592" fmla="*/ 32861 h 7134208"/>
              <a:gd name="connsiteX4-1593" fmla="*/ 168369 w 9397013"/>
              <a:gd name="connsiteY4-1594" fmla="*/ 4779933 h 7134208"/>
              <a:gd name="connsiteX5-1595" fmla="*/ 488220 w 9397013"/>
              <a:gd name="connsiteY5-1596" fmla="*/ 5484315 h 7134208"/>
              <a:gd name="connsiteX6-1597" fmla="*/ 299082 w 9397013"/>
              <a:gd name="connsiteY6-1598" fmla="*/ 5067791 h 7134208"/>
              <a:gd name="connsiteX7-1599" fmla="*/ 3977147 w 9397013"/>
              <a:gd name="connsiteY7-1600" fmla="*/ 212075 h 7134208"/>
              <a:gd name="connsiteX8-1601" fmla="*/ 4465006 w 9397013"/>
              <a:gd name="connsiteY8-1602" fmla="*/ 209192 h 7134208"/>
              <a:gd name="connsiteX9-1603" fmla="*/ 488220 w 9397013"/>
              <a:gd name="connsiteY9-1604" fmla="*/ 5484315 h 7134208"/>
              <a:gd name="connsiteX10-1605" fmla="*/ 779421 w 9397013"/>
              <a:gd name="connsiteY10-1606" fmla="*/ 6125606 h 7134208"/>
              <a:gd name="connsiteX11-1607" fmla="*/ 618065 w 9397013"/>
              <a:gd name="connsiteY11-1608" fmla="*/ 5770263 h 7134208"/>
              <a:gd name="connsiteX12-1609" fmla="*/ 4805164 w 9397013"/>
              <a:gd name="connsiteY12-1610" fmla="*/ 212954 h 7134208"/>
              <a:gd name="connsiteX13-1611" fmla="*/ 5260238 w 9397013"/>
              <a:gd name="connsiteY13-1612" fmla="*/ 234131 h 7134208"/>
              <a:gd name="connsiteX14-1613" fmla="*/ 779421 w 9397013"/>
              <a:gd name="connsiteY14-1614" fmla="*/ 6125606 h 7134208"/>
              <a:gd name="connsiteX15-1615" fmla="*/ 1099910 w 9397013"/>
              <a:gd name="connsiteY15-1616" fmla="*/ 6831395 h 7134208"/>
              <a:gd name="connsiteX16-1617" fmla="*/ 919656 w 9397013"/>
              <a:gd name="connsiteY16-1618" fmla="*/ 6434435 h 7134208"/>
              <a:gd name="connsiteX17-1619" fmla="*/ 5641256 w 9397013"/>
              <a:gd name="connsiteY17-1620" fmla="*/ 212436 h 7134208"/>
              <a:gd name="connsiteX18-1621" fmla="*/ 6077099 w 9397013"/>
              <a:gd name="connsiteY18-1622" fmla="*/ 225638 h 7134208"/>
              <a:gd name="connsiteX19-1623" fmla="*/ 1099910 w 9397013"/>
              <a:gd name="connsiteY19-1624" fmla="*/ 6831395 h 7134208"/>
              <a:gd name="connsiteX20-1625" fmla="*/ 6958778 w 9397013"/>
              <a:gd name="connsiteY20-1626" fmla="*/ 7124971 h 7134208"/>
              <a:gd name="connsiteX21-1627" fmla="*/ 6560038 w 9397013"/>
              <a:gd name="connsiteY21-1628" fmla="*/ 7134207 h 7134208"/>
              <a:gd name="connsiteX22-1629" fmla="*/ 3849932 w 9397013"/>
              <a:gd name="connsiteY22-1630" fmla="*/ 3596670 h 7134208"/>
              <a:gd name="connsiteX23-1631" fmla="*/ 4086202 w 9397013"/>
              <a:gd name="connsiteY23-1632" fmla="*/ 3287229 h 7134208"/>
              <a:gd name="connsiteX24-1633" fmla="*/ 6958778 w 9397013"/>
              <a:gd name="connsiteY24-1634" fmla="*/ 7124971 h 7134208"/>
              <a:gd name="connsiteX25-1635" fmla="*/ 7777211 w 9397013"/>
              <a:gd name="connsiteY25-1636" fmla="*/ 7124972 h 7134208"/>
              <a:gd name="connsiteX26-1637" fmla="*/ 7324729 w 9397013"/>
              <a:gd name="connsiteY26-1638" fmla="*/ 7124972 h 7134208"/>
              <a:gd name="connsiteX27-1639" fmla="*/ 4245793 w 9397013"/>
              <a:gd name="connsiteY27-1640" fmla="*/ 3078214 h 7134208"/>
              <a:gd name="connsiteX28-1641" fmla="*/ 4490696 w 9397013"/>
              <a:gd name="connsiteY28-1642" fmla="*/ 2757469 h 7134208"/>
              <a:gd name="connsiteX29-1643" fmla="*/ 7777211 w 9397013"/>
              <a:gd name="connsiteY29-1644" fmla="*/ 7124972 h 7134208"/>
              <a:gd name="connsiteX30-1645" fmla="*/ 8567691 w 9397013"/>
              <a:gd name="connsiteY30-1646" fmla="*/ 7124971 h 7134208"/>
              <a:gd name="connsiteX31-1647" fmla="*/ 8159389 w 9397013"/>
              <a:gd name="connsiteY31-1648" fmla="*/ 7134208 h 7134208"/>
              <a:gd name="connsiteX32-1649" fmla="*/ 4650570 w 9397013"/>
              <a:gd name="connsiteY32-1650" fmla="*/ 2548084 h 7134208"/>
              <a:gd name="connsiteX33-1651" fmla="*/ 4869244 w 9397013"/>
              <a:gd name="connsiteY33-1652" fmla="*/ 2261689 h 7134208"/>
              <a:gd name="connsiteX34-1653" fmla="*/ 8567691 w 9397013"/>
              <a:gd name="connsiteY34-1654" fmla="*/ 7124971 h 7134208"/>
              <a:gd name="connsiteX35-1655" fmla="*/ 9397013 w 9397013"/>
              <a:gd name="connsiteY35-1656" fmla="*/ 7134207 h 7134208"/>
              <a:gd name="connsiteX36-1657" fmla="*/ 8921338 w 9397013"/>
              <a:gd name="connsiteY36-1658" fmla="*/ 7115735 h 7134208"/>
              <a:gd name="connsiteX37-1659" fmla="*/ 5045299 w 9397013"/>
              <a:gd name="connsiteY37-1660" fmla="*/ 2031113 h 7134208"/>
              <a:gd name="connsiteX38-1661" fmla="*/ 5273037 w 9397013"/>
              <a:gd name="connsiteY38-1662" fmla="*/ 1732846 h 7134208"/>
              <a:gd name="connsiteX39-1663" fmla="*/ 9397013 w 9397013"/>
              <a:gd name="connsiteY39-1664" fmla="*/ 7134207 h 7134208"/>
              <a:gd name="connsiteX0-1665" fmla="*/ 168369 w 9397013"/>
              <a:gd name="connsiteY0-1666" fmla="*/ 4779933 h 7134208"/>
              <a:gd name="connsiteX1-1667" fmla="*/ 0 w 9397013"/>
              <a:gd name="connsiteY1-1668" fmla="*/ 4409146 h 7134208"/>
              <a:gd name="connsiteX2-1669" fmla="*/ 3332806 w 9397013"/>
              <a:gd name="connsiteY2-1670" fmla="*/ 0 h 7134208"/>
              <a:gd name="connsiteX3-1671" fmla="*/ 3628305 w 9397013"/>
              <a:gd name="connsiteY3-1672" fmla="*/ 208352 h 7134208"/>
              <a:gd name="connsiteX4-1673" fmla="*/ 168369 w 9397013"/>
              <a:gd name="connsiteY4-1674" fmla="*/ 4779933 h 7134208"/>
              <a:gd name="connsiteX5-1675" fmla="*/ 488220 w 9397013"/>
              <a:gd name="connsiteY5-1676" fmla="*/ 5484315 h 7134208"/>
              <a:gd name="connsiteX6-1677" fmla="*/ 299082 w 9397013"/>
              <a:gd name="connsiteY6-1678" fmla="*/ 5067791 h 7134208"/>
              <a:gd name="connsiteX7-1679" fmla="*/ 3977147 w 9397013"/>
              <a:gd name="connsiteY7-1680" fmla="*/ 212075 h 7134208"/>
              <a:gd name="connsiteX8-1681" fmla="*/ 4465006 w 9397013"/>
              <a:gd name="connsiteY8-1682" fmla="*/ 209192 h 7134208"/>
              <a:gd name="connsiteX9-1683" fmla="*/ 488220 w 9397013"/>
              <a:gd name="connsiteY9-1684" fmla="*/ 5484315 h 7134208"/>
              <a:gd name="connsiteX10-1685" fmla="*/ 779421 w 9397013"/>
              <a:gd name="connsiteY10-1686" fmla="*/ 6125606 h 7134208"/>
              <a:gd name="connsiteX11-1687" fmla="*/ 618065 w 9397013"/>
              <a:gd name="connsiteY11-1688" fmla="*/ 5770263 h 7134208"/>
              <a:gd name="connsiteX12-1689" fmla="*/ 4805164 w 9397013"/>
              <a:gd name="connsiteY12-1690" fmla="*/ 212954 h 7134208"/>
              <a:gd name="connsiteX13-1691" fmla="*/ 5260238 w 9397013"/>
              <a:gd name="connsiteY13-1692" fmla="*/ 234131 h 7134208"/>
              <a:gd name="connsiteX14-1693" fmla="*/ 779421 w 9397013"/>
              <a:gd name="connsiteY14-1694" fmla="*/ 6125606 h 7134208"/>
              <a:gd name="connsiteX15-1695" fmla="*/ 1099910 w 9397013"/>
              <a:gd name="connsiteY15-1696" fmla="*/ 6831395 h 7134208"/>
              <a:gd name="connsiteX16-1697" fmla="*/ 919656 w 9397013"/>
              <a:gd name="connsiteY16-1698" fmla="*/ 6434435 h 7134208"/>
              <a:gd name="connsiteX17-1699" fmla="*/ 5641256 w 9397013"/>
              <a:gd name="connsiteY17-1700" fmla="*/ 212436 h 7134208"/>
              <a:gd name="connsiteX18-1701" fmla="*/ 6077099 w 9397013"/>
              <a:gd name="connsiteY18-1702" fmla="*/ 225638 h 7134208"/>
              <a:gd name="connsiteX19-1703" fmla="*/ 1099910 w 9397013"/>
              <a:gd name="connsiteY19-1704" fmla="*/ 6831395 h 7134208"/>
              <a:gd name="connsiteX20-1705" fmla="*/ 6958778 w 9397013"/>
              <a:gd name="connsiteY20-1706" fmla="*/ 7124971 h 7134208"/>
              <a:gd name="connsiteX21-1707" fmla="*/ 6560038 w 9397013"/>
              <a:gd name="connsiteY21-1708" fmla="*/ 7134207 h 7134208"/>
              <a:gd name="connsiteX22-1709" fmla="*/ 3849932 w 9397013"/>
              <a:gd name="connsiteY22-1710" fmla="*/ 3596670 h 7134208"/>
              <a:gd name="connsiteX23-1711" fmla="*/ 4086202 w 9397013"/>
              <a:gd name="connsiteY23-1712" fmla="*/ 3287229 h 7134208"/>
              <a:gd name="connsiteX24-1713" fmla="*/ 6958778 w 9397013"/>
              <a:gd name="connsiteY24-1714" fmla="*/ 7124971 h 7134208"/>
              <a:gd name="connsiteX25-1715" fmla="*/ 7777211 w 9397013"/>
              <a:gd name="connsiteY25-1716" fmla="*/ 7124972 h 7134208"/>
              <a:gd name="connsiteX26-1717" fmla="*/ 7324729 w 9397013"/>
              <a:gd name="connsiteY26-1718" fmla="*/ 7124972 h 7134208"/>
              <a:gd name="connsiteX27-1719" fmla="*/ 4245793 w 9397013"/>
              <a:gd name="connsiteY27-1720" fmla="*/ 3078214 h 7134208"/>
              <a:gd name="connsiteX28-1721" fmla="*/ 4490696 w 9397013"/>
              <a:gd name="connsiteY28-1722" fmla="*/ 2757469 h 7134208"/>
              <a:gd name="connsiteX29-1723" fmla="*/ 7777211 w 9397013"/>
              <a:gd name="connsiteY29-1724" fmla="*/ 7124972 h 7134208"/>
              <a:gd name="connsiteX30-1725" fmla="*/ 8567691 w 9397013"/>
              <a:gd name="connsiteY30-1726" fmla="*/ 7124971 h 7134208"/>
              <a:gd name="connsiteX31-1727" fmla="*/ 8159389 w 9397013"/>
              <a:gd name="connsiteY31-1728" fmla="*/ 7134208 h 7134208"/>
              <a:gd name="connsiteX32-1729" fmla="*/ 4650570 w 9397013"/>
              <a:gd name="connsiteY32-1730" fmla="*/ 2548084 h 7134208"/>
              <a:gd name="connsiteX33-1731" fmla="*/ 4869244 w 9397013"/>
              <a:gd name="connsiteY33-1732" fmla="*/ 2261689 h 7134208"/>
              <a:gd name="connsiteX34-1733" fmla="*/ 8567691 w 9397013"/>
              <a:gd name="connsiteY34-1734" fmla="*/ 7124971 h 7134208"/>
              <a:gd name="connsiteX35-1735" fmla="*/ 9397013 w 9397013"/>
              <a:gd name="connsiteY35-1736" fmla="*/ 7134207 h 7134208"/>
              <a:gd name="connsiteX36-1737" fmla="*/ 8921338 w 9397013"/>
              <a:gd name="connsiteY36-1738" fmla="*/ 7115735 h 7134208"/>
              <a:gd name="connsiteX37-1739" fmla="*/ 5045299 w 9397013"/>
              <a:gd name="connsiteY37-1740" fmla="*/ 2031113 h 7134208"/>
              <a:gd name="connsiteX38-1741" fmla="*/ 5273037 w 9397013"/>
              <a:gd name="connsiteY38-1742" fmla="*/ 1732846 h 7134208"/>
              <a:gd name="connsiteX39-1743" fmla="*/ 9397013 w 9397013"/>
              <a:gd name="connsiteY39-1744" fmla="*/ 7134207 h 7134208"/>
              <a:gd name="connsiteX0-1745" fmla="*/ 168369 w 9397013"/>
              <a:gd name="connsiteY0-1746" fmla="*/ 4571581 h 6925856"/>
              <a:gd name="connsiteX1-1747" fmla="*/ 0 w 9397013"/>
              <a:gd name="connsiteY1-1748" fmla="*/ 4200794 h 6925856"/>
              <a:gd name="connsiteX2-1749" fmla="*/ 3175788 w 9397013"/>
              <a:gd name="connsiteY2-1750" fmla="*/ 4084 h 6925856"/>
              <a:gd name="connsiteX3-1751" fmla="*/ 3628305 w 9397013"/>
              <a:gd name="connsiteY3-1752" fmla="*/ 0 h 6925856"/>
              <a:gd name="connsiteX4-1753" fmla="*/ 168369 w 9397013"/>
              <a:gd name="connsiteY4-1754" fmla="*/ 4571581 h 6925856"/>
              <a:gd name="connsiteX5-1755" fmla="*/ 488220 w 9397013"/>
              <a:gd name="connsiteY5-1756" fmla="*/ 5275963 h 6925856"/>
              <a:gd name="connsiteX6-1757" fmla="*/ 299082 w 9397013"/>
              <a:gd name="connsiteY6-1758" fmla="*/ 4859439 h 6925856"/>
              <a:gd name="connsiteX7-1759" fmla="*/ 3977147 w 9397013"/>
              <a:gd name="connsiteY7-1760" fmla="*/ 3723 h 6925856"/>
              <a:gd name="connsiteX8-1761" fmla="*/ 4465006 w 9397013"/>
              <a:gd name="connsiteY8-1762" fmla="*/ 840 h 6925856"/>
              <a:gd name="connsiteX9-1763" fmla="*/ 488220 w 9397013"/>
              <a:gd name="connsiteY9-1764" fmla="*/ 5275963 h 6925856"/>
              <a:gd name="connsiteX10-1765" fmla="*/ 779421 w 9397013"/>
              <a:gd name="connsiteY10-1766" fmla="*/ 5917254 h 6925856"/>
              <a:gd name="connsiteX11-1767" fmla="*/ 618065 w 9397013"/>
              <a:gd name="connsiteY11-1768" fmla="*/ 5561911 h 6925856"/>
              <a:gd name="connsiteX12-1769" fmla="*/ 4805164 w 9397013"/>
              <a:gd name="connsiteY12-1770" fmla="*/ 4602 h 6925856"/>
              <a:gd name="connsiteX13-1771" fmla="*/ 5260238 w 9397013"/>
              <a:gd name="connsiteY13-1772" fmla="*/ 25779 h 6925856"/>
              <a:gd name="connsiteX14-1773" fmla="*/ 779421 w 9397013"/>
              <a:gd name="connsiteY14-1774" fmla="*/ 5917254 h 6925856"/>
              <a:gd name="connsiteX15-1775" fmla="*/ 1099910 w 9397013"/>
              <a:gd name="connsiteY15-1776" fmla="*/ 6623043 h 6925856"/>
              <a:gd name="connsiteX16-1777" fmla="*/ 919656 w 9397013"/>
              <a:gd name="connsiteY16-1778" fmla="*/ 6226083 h 6925856"/>
              <a:gd name="connsiteX17-1779" fmla="*/ 5641256 w 9397013"/>
              <a:gd name="connsiteY17-1780" fmla="*/ 4084 h 6925856"/>
              <a:gd name="connsiteX18-1781" fmla="*/ 6077099 w 9397013"/>
              <a:gd name="connsiteY18-1782" fmla="*/ 17286 h 6925856"/>
              <a:gd name="connsiteX19-1783" fmla="*/ 1099910 w 9397013"/>
              <a:gd name="connsiteY19-1784" fmla="*/ 6623043 h 6925856"/>
              <a:gd name="connsiteX20-1785" fmla="*/ 6958778 w 9397013"/>
              <a:gd name="connsiteY20-1786" fmla="*/ 6916619 h 6925856"/>
              <a:gd name="connsiteX21-1787" fmla="*/ 6560038 w 9397013"/>
              <a:gd name="connsiteY21-1788" fmla="*/ 6925855 h 6925856"/>
              <a:gd name="connsiteX22-1789" fmla="*/ 3849932 w 9397013"/>
              <a:gd name="connsiteY22-1790" fmla="*/ 3388318 h 6925856"/>
              <a:gd name="connsiteX23-1791" fmla="*/ 4086202 w 9397013"/>
              <a:gd name="connsiteY23-1792" fmla="*/ 3078877 h 6925856"/>
              <a:gd name="connsiteX24-1793" fmla="*/ 6958778 w 9397013"/>
              <a:gd name="connsiteY24-1794" fmla="*/ 6916619 h 6925856"/>
              <a:gd name="connsiteX25-1795" fmla="*/ 7777211 w 9397013"/>
              <a:gd name="connsiteY25-1796" fmla="*/ 6916620 h 6925856"/>
              <a:gd name="connsiteX26-1797" fmla="*/ 7324729 w 9397013"/>
              <a:gd name="connsiteY26-1798" fmla="*/ 6916620 h 6925856"/>
              <a:gd name="connsiteX27-1799" fmla="*/ 4245793 w 9397013"/>
              <a:gd name="connsiteY27-1800" fmla="*/ 2869862 h 6925856"/>
              <a:gd name="connsiteX28-1801" fmla="*/ 4490696 w 9397013"/>
              <a:gd name="connsiteY28-1802" fmla="*/ 2549117 h 6925856"/>
              <a:gd name="connsiteX29-1803" fmla="*/ 7777211 w 9397013"/>
              <a:gd name="connsiteY29-1804" fmla="*/ 6916620 h 6925856"/>
              <a:gd name="connsiteX30-1805" fmla="*/ 8567691 w 9397013"/>
              <a:gd name="connsiteY30-1806" fmla="*/ 6916619 h 6925856"/>
              <a:gd name="connsiteX31-1807" fmla="*/ 8159389 w 9397013"/>
              <a:gd name="connsiteY31-1808" fmla="*/ 6925856 h 6925856"/>
              <a:gd name="connsiteX32-1809" fmla="*/ 4650570 w 9397013"/>
              <a:gd name="connsiteY32-1810" fmla="*/ 2339732 h 6925856"/>
              <a:gd name="connsiteX33-1811" fmla="*/ 4869244 w 9397013"/>
              <a:gd name="connsiteY33-1812" fmla="*/ 2053337 h 6925856"/>
              <a:gd name="connsiteX34-1813" fmla="*/ 8567691 w 9397013"/>
              <a:gd name="connsiteY34-1814" fmla="*/ 6916619 h 6925856"/>
              <a:gd name="connsiteX35-1815" fmla="*/ 9397013 w 9397013"/>
              <a:gd name="connsiteY35-1816" fmla="*/ 6925855 h 6925856"/>
              <a:gd name="connsiteX36-1817" fmla="*/ 8921338 w 9397013"/>
              <a:gd name="connsiteY36-1818" fmla="*/ 6907383 h 6925856"/>
              <a:gd name="connsiteX37-1819" fmla="*/ 5045299 w 9397013"/>
              <a:gd name="connsiteY37-1820" fmla="*/ 1822761 h 6925856"/>
              <a:gd name="connsiteX38-1821" fmla="*/ 5273037 w 9397013"/>
              <a:gd name="connsiteY38-1822" fmla="*/ 1524494 h 6925856"/>
              <a:gd name="connsiteX39-1823" fmla="*/ 9397013 w 9397013"/>
              <a:gd name="connsiteY39-1824" fmla="*/ 6925855 h 6925856"/>
              <a:gd name="connsiteX0-1825" fmla="*/ 168369 w 9397013"/>
              <a:gd name="connsiteY0-1826" fmla="*/ 4571581 h 6925856"/>
              <a:gd name="connsiteX1-1827" fmla="*/ 0 w 9397013"/>
              <a:gd name="connsiteY1-1828" fmla="*/ 4200794 h 6925856"/>
              <a:gd name="connsiteX2-1829" fmla="*/ 3175788 w 9397013"/>
              <a:gd name="connsiteY2-1830" fmla="*/ 4084 h 6925856"/>
              <a:gd name="connsiteX3-1831" fmla="*/ 3628305 w 9397013"/>
              <a:gd name="connsiteY3-1832" fmla="*/ 0 h 6925856"/>
              <a:gd name="connsiteX4-1833" fmla="*/ 168369 w 9397013"/>
              <a:gd name="connsiteY4-1834" fmla="*/ 4571581 h 6925856"/>
              <a:gd name="connsiteX5-1835" fmla="*/ 488220 w 9397013"/>
              <a:gd name="connsiteY5-1836" fmla="*/ 5275963 h 6925856"/>
              <a:gd name="connsiteX6-1837" fmla="*/ 299082 w 9397013"/>
              <a:gd name="connsiteY6-1838" fmla="*/ 4859439 h 6925856"/>
              <a:gd name="connsiteX7-1839" fmla="*/ 3977147 w 9397013"/>
              <a:gd name="connsiteY7-1840" fmla="*/ 3723 h 6925856"/>
              <a:gd name="connsiteX8-1841" fmla="*/ 4465006 w 9397013"/>
              <a:gd name="connsiteY8-1842" fmla="*/ 840 h 6925856"/>
              <a:gd name="connsiteX9-1843" fmla="*/ 488220 w 9397013"/>
              <a:gd name="connsiteY9-1844" fmla="*/ 5275963 h 6925856"/>
              <a:gd name="connsiteX10-1845" fmla="*/ 779421 w 9397013"/>
              <a:gd name="connsiteY10-1846" fmla="*/ 5917254 h 6925856"/>
              <a:gd name="connsiteX11-1847" fmla="*/ 618065 w 9397013"/>
              <a:gd name="connsiteY11-1848" fmla="*/ 5561911 h 6925856"/>
              <a:gd name="connsiteX12-1849" fmla="*/ 4805164 w 9397013"/>
              <a:gd name="connsiteY12-1850" fmla="*/ 4602 h 6925856"/>
              <a:gd name="connsiteX13-1851" fmla="*/ 5260238 w 9397013"/>
              <a:gd name="connsiteY13-1852" fmla="*/ 25779 h 6925856"/>
              <a:gd name="connsiteX14-1853" fmla="*/ 779421 w 9397013"/>
              <a:gd name="connsiteY14-1854" fmla="*/ 5917254 h 6925856"/>
              <a:gd name="connsiteX15-1855" fmla="*/ 1598673 w 9397013"/>
              <a:gd name="connsiteY15-1856" fmla="*/ 5976498 h 6925856"/>
              <a:gd name="connsiteX16-1857" fmla="*/ 919656 w 9397013"/>
              <a:gd name="connsiteY16-1858" fmla="*/ 6226083 h 6925856"/>
              <a:gd name="connsiteX17-1859" fmla="*/ 5641256 w 9397013"/>
              <a:gd name="connsiteY17-1860" fmla="*/ 4084 h 6925856"/>
              <a:gd name="connsiteX18-1861" fmla="*/ 6077099 w 9397013"/>
              <a:gd name="connsiteY18-1862" fmla="*/ 17286 h 6925856"/>
              <a:gd name="connsiteX19-1863" fmla="*/ 1598673 w 9397013"/>
              <a:gd name="connsiteY19-1864" fmla="*/ 5976498 h 6925856"/>
              <a:gd name="connsiteX20-1865" fmla="*/ 6958778 w 9397013"/>
              <a:gd name="connsiteY20-1866" fmla="*/ 6916619 h 6925856"/>
              <a:gd name="connsiteX21-1867" fmla="*/ 6560038 w 9397013"/>
              <a:gd name="connsiteY21-1868" fmla="*/ 6925855 h 6925856"/>
              <a:gd name="connsiteX22-1869" fmla="*/ 3849932 w 9397013"/>
              <a:gd name="connsiteY22-1870" fmla="*/ 3388318 h 6925856"/>
              <a:gd name="connsiteX23-1871" fmla="*/ 4086202 w 9397013"/>
              <a:gd name="connsiteY23-1872" fmla="*/ 3078877 h 6925856"/>
              <a:gd name="connsiteX24-1873" fmla="*/ 6958778 w 9397013"/>
              <a:gd name="connsiteY24-1874" fmla="*/ 6916619 h 6925856"/>
              <a:gd name="connsiteX25-1875" fmla="*/ 7777211 w 9397013"/>
              <a:gd name="connsiteY25-1876" fmla="*/ 6916620 h 6925856"/>
              <a:gd name="connsiteX26-1877" fmla="*/ 7324729 w 9397013"/>
              <a:gd name="connsiteY26-1878" fmla="*/ 6916620 h 6925856"/>
              <a:gd name="connsiteX27-1879" fmla="*/ 4245793 w 9397013"/>
              <a:gd name="connsiteY27-1880" fmla="*/ 2869862 h 6925856"/>
              <a:gd name="connsiteX28-1881" fmla="*/ 4490696 w 9397013"/>
              <a:gd name="connsiteY28-1882" fmla="*/ 2549117 h 6925856"/>
              <a:gd name="connsiteX29-1883" fmla="*/ 7777211 w 9397013"/>
              <a:gd name="connsiteY29-1884" fmla="*/ 6916620 h 6925856"/>
              <a:gd name="connsiteX30-1885" fmla="*/ 8567691 w 9397013"/>
              <a:gd name="connsiteY30-1886" fmla="*/ 6916619 h 6925856"/>
              <a:gd name="connsiteX31-1887" fmla="*/ 8159389 w 9397013"/>
              <a:gd name="connsiteY31-1888" fmla="*/ 6925856 h 6925856"/>
              <a:gd name="connsiteX32-1889" fmla="*/ 4650570 w 9397013"/>
              <a:gd name="connsiteY32-1890" fmla="*/ 2339732 h 6925856"/>
              <a:gd name="connsiteX33-1891" fmla="*/ 4869244 w 9397013"/>
              <a:gd name="connsiteY33-1892" fmla="*/ 2053337 h 6925856"/>
              <a:gd name="connsiteX34-1893" fmla="*/ 8567691 w 9397013"/>
              <a:gd name="connsiteY34-1894" fmla="*/ 6916619 h 6925856"/>
              <a:gd name="connsiteX35-1895" fmla="*/ 9397013 w 9397013"/>
              <a:gd name="connsiteY35-1896" fmla="*/ 6925855 h 6925856"/>
              <a:gd name="connsiteX36-1897" fmla="*/ 8921338 w 9397013"/>
              <a:gd name="connsiteY36-1898" fmla="*/ 6907383 h 6925856"/>
              <a:gd name="connsiteX37-1899" fmla="*/ 5045299 w 9397013"/>
              <a:gd name="connsiteY37-1900" fmla="*/ 1822761 h 6925856"/>
              <a:gd name="connsiteX38-1901" fmla="*/ 5273037 w 9397013"/>
              <a:gd name="connsiteY38-1902" fmla="*/ 1524494 h 6925856"/>
              <a:gd name="connsiteX39-1903" fmla="*/ 9397013 w 9397013"/>
              <a:gd name="connsiteY39-1904" fmla="*/ 6925855 h 6925856"/>
              <a:gd name="connsiteX0-1905" fmla="*/ 168369 w 9397013"/>
              <a:gd name="connsiteY0-1906" fmla="*/ 4571581 h 6925856"/>
              <a:gd name="connsiteX1-1907" fmla="*/ 0 w 9397013"/>
              <a:gd name="connsiteY1-1908" fmla="*/ 4200794 h 6925856"/>
              <a:gd name="connsiteX2-1909" fmla="*/ 3175788 w 9397013"/>
              <a:gd name="connsiteY2-1910" fmla="*/ 4084 h 6925856"/>
              <a:gd name="connsiteX3-1911" fmla="*/ 3628305 w 9397013"/>
              <a:gd name="connsiteY3-1912" fmla="*/ 0 h 6925856"/>
              <a:gd name="connsiteX4-1913" fmla="*/ 168369 w 9397013"/>
              <a:gd name="connsiteY4-1914" fmla="*/ 4571581 h 6925856"/>
              <a:gd name="connsiteX5-1915" fmla="*/ 488220 w 9397013"/>
              <a:gd name="connsiteY5-1916" fmla="*/ 5275963 h 6925856"/>
              <a:gd name="connsiteX6-1917" fmla="*/ 299082 w 9397013"/>
              <a:gd name="connsiteY6-1918" fmla="*/ 4859439 h 6925856"/>
              <a:gd name="connsiteX7-1919" fmla="*/ 3977147 w 9397013"/>
              <a:gd name="connsiteY7-1920" fmla="*/ 3723 h 6925856"/>
              <a:gd name="connsiteX8-1921" fmla="*/ 4465006 w 9397013"/>
              <a:gd name="connsiteY8-1922" fmla="*/ 840 h 6925856"/>
              <a:gd name="connsiteX9-1923" fmla="*/ 488220 w 9397013"/>
              <a:gd name="connsiteY9-1924" fmla="*/ 5275963 h 6925856"/>
              <a:gd name="connsiteX10-1925" fmla="*/ 779421 w 9397013"/>
              <a:gd name="connsiteY10-1926" fmla="*/ 5917254 h 6925856"/>
              <a:gd name="connsiteX11-1927" fmla="*/ 618065 w 9397013"/>
              <a:gd name="connsiteY11-1928" fmla="*/ 5561911 h 6925856"/>
              <a:gd name="connsiteX12-1929" fmla="*/ 4805164 w 9397013"/>
              <a:gd name="connsiteY12-1930" fmla="*/ 4602 h 6925856"/>
              <a:gd name="connsiteX13-1931" fmla="*/ 5260238 w 9397013"/>
              <a:gd name="connsiteY13-1932" fmla="*/ 25779 h 6925856"/>
              <a:gd name="connsiteX14-1933" fmla="*/ 779421 w 9397013"/>
              <a:gd name="connsiteY14-1934" fmla="*/ 5917254 h 6925856"/>
              <a:gd name="connsiteX15-1935" fmla="*/ 1598673 w 9397013"/>
              <a:gd name="connsiteY15-1936" fmla="*/ 5976498 h 6925856"/>
              <a:gd name="connsiteX16-1937" fmla="*/ 1566201 w 9397013"/>
              <a:gd name="connsiteY16-1938" fmla="*/ 5394811 h 6925856"/>
              <a:gd name="connsiteX17-1939" fmla="*/ 5641256 w 9397013"/>
              <a:gd name="connsiteY17-1940" fmla="*/ 4084 h 6925856"/>
              <a:gd name="connsiteX18-1941" fmla="*/ 6077099 w 9397013"/>
              <a:gd name="connsiteY18-1942" fmla="*/ 17286 h 6925856"/>
              <a:gd name="connsiteX19-1943" fmla="*/ 1598673 w 9397013"/>
              <a:gd name="connsiteY19-1944" fmla="*/ 5976498 h 6925856"/>
              <a:gd name="connsiteX20-1945" fmla="*/ 6958778 w 9397013"/>
              <a:gd name="connsiteY20-1946" fmla="*/ 6916619 h 6925856"/>
              <a:gd name="connsiteX21-1947" fmla="*/ 6560038 w 9397013"/>
              <a:gd name="connsiteY21-1948" fmla="*/ 6925855 h 6925856"/>
              <a:gd name="connsiteX22-1949" fmla="*/ 3849932 w 9397013"/>
              <a:gd name="connsiteY22-1950" fmla="*/ 3388318 h 6925856"/>
              <a:gd name="connsiteX23-1951" fmla="*/ 4086202 w 9397013"/>
              <a:gd name="connsiteY23-1952" fmla="*/ 3078877 h 6925856"/>
              <a:gd name="connsiteX24-1953" fmla="*/ 6958778 w 9397013"/>
              <a:gd name="connsiteY24-1954" fmla="*/ 6916619 h 6925856"/>
              <a:gd name="connsiteX25-1955" fmla="*/ 7777211 w 9397013"/>
              <a:gd name="connsiteY25-1956" fmla="*/ 6916620 h 6925856"/>
              <a:gd name="connsiteX26-1957" fmla="*/ 7324729 w 9397013"/>
              <a:gd name="connsiteY26-1958" fmla="*/ 6916620 h 6925856"/>
              <a:gd name="connsiteX27-1959" fmla="*/ 4245793 w 9397013"/>
              <a:gd name="connsiteY27-1960" fmla="*/ 2869862 h 6925856"/>
              <a:gd name="connsiteX28-1961" fmla="*/ 4490696 w 9397013"/>
              <a:gd name="connsiteY28-1962" fmla="*/ 2549117 h 6925856"/>
              <a:gd name="connsiteX29-1963" fmla="*/ 7777211 w 9397013"/>
              <a:gd name="connsiteY29-1964" fmla="*/ 6916620 h 6925856"/>
              <a:gd name="connsiteX30-1965" fmla="*/ 8567691 w 9397013"/>
              <a:gd name="connsiteY30-1966" fmla="*/ 6916619 h 6925856"/>
              <a:gd name="connsiteX31-1967" fmla="*/ 8159389 w 9397013"/>
              <a:gd name="connsiteY31-1968" fmla="*/ 6925856 h 6925856"/>
              <a:gd name="connsiteX32-1969" fmla="*/ 4650570 w 9397013"/>
              <a:gd name="connsiteY32-1970" fmla="*/ 2339732 h 6925856"/>
              <a:gd name="connsiteX33-1971" fmla="*/ 4869244 w 9397013"/>
              <a:gd name="connsiteY33-1972" fmla="*/ 2053337 h 6925856"/>
              <a:gd name="connsiteX34-1973" fmla="*/ 8567691 w 9397013"/>
              <a:gd name="connsiteY34-1974" fmla="*/ 6916619 h 6925856"/>
              <a:gd name="connsiteX35-1975" fmla="*/ 9397013 w 9397013"/>
              <a:gd name="connsiteY35-1976" fmla="*/ 6925855 h 6925856"/>
              <a:gd name="connsiteX36-1977" fmla="*/ 8921338 w 9397013"/>
              <a:gd name="connsiteY36-1978" fmla="*/ 6907383 h 6925856"/>
              <a:gd name="connsiteX37-1979" fmla="*/ 5045299 w 9397013"/>
              <a:gd name="connsiteY37-1980" fmla="*/ 1822761 h 6925856"/>
              <a:gd name="connsiteX38-1981" fmla="*/ 5273037 w 9397013"/>
              <a:gd name="connsiteY38-1982" fmla="*/ 1524494 h 6925856"/>
              <a:gd name="connsiteX39-1983" fmla="*/ 9397013 w 9397013"/>
              <a:gd name="connsiteY39-1984" fmla="*/ 6925855 h 6925856"/>
              <a:gd name="connsiteX0-1985" fmla="*/ 168369 w 9397013"/>
              <a:gd name="connsiteY0-1986" fmla="*/ 4571581 h 6925856"/>
              <a:gd name="connsiteX1-1987" fmla="*/ 0 w 9397013"/>
              <a:gd name="connsiteY1-1988" fmla="*/ 4200794 h 6925856"/>
              <a:gd name="connsiteX2-1989" fmla="*/ 3175788 w 9397013"/>
              <a:gd name="connsiteY2-1990" fmla="*/ 4084 h 6925856"/>
              <a:gd name="connsiteX3-1991" fmla="*/ 3628305 w 9397013"/>
              <a:gd name="connsiteY3-1992" fmla="*/ 0 h 6925856"/>
              <a:gd name="connsiteX4-1993" fmla="*/ 168369 w 9397013"/>
              <a:gd name="connsiteY4-1994" fmla="*/ 4571581 h 6925856"/>
              <a:gd name="connsiteX5-1995" fmla="*/ 488220 w 9397013"/>
              <a:gd name="connsiteY5-1996" fmla="*/ 5275963 h 6925856"/>
              <a:gd name="connsiteX6-1997" fmla="*/ 299082 w 9397013"/>
              <a:gd name="connsiteY6-1998" fmla="*/ 4859439 h 6925856"/>
              <a:gd name="connsiteX7-1999" fmla="*/ 3977147 w 9397013"/>
              <a:gd name="connsiteY7-2000" fmla="*/ 3723 h 6925856"/>
              <a:gd name="connsiteX8-2001" fmla="*/ 4465006 w 9397013"/>
              <a:gd name="connsiteY8-2002" fmla="*/ 840 h 6925856"/>
              <a:gd name="connsiteX9-2003" fmla="*/ 488220 w 9397013"/>
              <a:gd name="connsiteY9-2004" fmla="*/ 5275963 h 6925856"/>
              <a:gd name="connsiteX10-2005" fmla="*/ 779421 w 9397013"/>
              <a:gd name="connsiteY10-2006" fmla="*/ 5917254 h 6925856"/>
              <a:gd name="connsiteX11-2007" fmla="*/ 618065 w 9397013"/>
              <a:gd name="connsiteY11-2008" fmla="*/ 5561911 h 6925856"/>
              <a:gd name="connsiteX12-2009" fmla="*/ 4805164 w 9397013"/>
              <a:gd name="connsiteY12-2010" fmla="*/ 4602 h 6925856"/>
              <a:gd name="connsiteX13-2011" fmla="*/ 5260238 w 9397013"/>
              <a:gd name="connsiteY13-2012" fmla="*/ 25779 h 6925856"/>
              <a:gd name="connsiteX14-2013" fmla="*/ 779421 w 9397013"/>
              <a:gd name="connsiteY14-2014" fmla="*/ 5917254 h 6925856"/>
              <a:gd name="connsiteX15-2015" fmla="*/ 1580200 w 9397013"/>
              <a:gd name="connsiteY15-2016" fmla="*/ 5985735 h 6925856"/>
              <a:gd name="connsiteX16-2017" fmla="*/ 1566201 w 9397013"/>
              <a:gd name="connsiteY16-2018" fmla="*/ 5394811 h 6925856"/>
              <a:gd name="connsiteX17-2019" fmla="*/ 5641256 w 9397013"/>
              <a:gd name="connsiteY17-2020" fmla="*/ 4084 h 6925856"/>
              <a:gd name="connsiteX18-2021" fmla="*/ 6077099 w 9397013"/>
              <a:gd name="connsiteY18-2022" fmla="*/ 17286 h 6925856"/>
              <a:gd name="connsiteX19-2023" fmla="*/ 1580200 w 9397013"/>
              <a:gd name="connsiteY19-2024" fmla="*/ 5985735 h 6925856"/>
              <a:gd name="connsiteX20-2025" fmla="*/ 6958778 w 9397013"/>
              <a:gd name="connsiteY20-2026" fmla="*/ 6916619 h 6925856"/>
              <a:gd name="connsiteX21-2027" fmla="*/ 6560038 w 9397013"/>
              <a:gd name="connsiteY21-2028" fmla="*/ 6925855 h 6925856"/>
              <a:gd name="connsiteX22-2029" fmla="*/ 3849932 w 9397013"/>
              <a:gd name="connsiteY22-2030" fmla="*/ 3388318 h 6925856"/>
              <a:gd name="connsiteX23-2031" fmla="*/ 4086202 w 9397013"/>
              <a:gd name="connsiteY23-2032" fmla="*/ 3078877 h 6925856"/>
              <a:gd name="connsiteX24-2033" fmla="*/ 6958778 w 9397013"/>
              <a:gd name="connsiteY24-2034" fmla="*/ 6916619 h 6925856"/>
              <a:gd name="connsiteX25-2035" fmla="*/ 7777211 w 9397013"/>
              <a:gd name="connsiteY25-2036" fmla="*/ 6916620 h 6925856"/>
              <a:gd name="connsiteX26-2037" fmla="*/ 7324729 w 9397013"/>
              <a:gd name="connsiteY26-2038" fmla="*/ 6916620 h 6925856"/>
              <a:gd name="connsiteX27-2039" fmla="*/ 4245793 w 9397013"/>
              <a:gd name="connsiteY27-2040" fmla="*/ 2869862 h 6925856"/>
              <a:gd name="connsiteX28-2041" fmla="*/ 4490696 w 9397013"/>
              <a:gd name="connsiteY28-2042" fmla="*/ 2549117 h 6925856"/>
              <a:gd name="connsiteX29-2043" fmla="*/ 7777211 w 9397013"/>
              <a:gd name="connsiteY29-2044" fmla="*/ 6916620 h 6925856"/>
              <a:gd name="connsiteX30-2045" fmla="*/ 8567691 w 9397013"/>
              <a:gd name="connsiteY30-2046" fmla="*/ 6916619 h 6925856"/>
              <a:gd name="connsiteX31-2047" fmla="*/ 8159389 w 9397013"/>
              <a:gd name="connsiteY31-2048" fmla="*/ 6925856 h 6925856"/>
              <a:gd name="connsiteX32-2049" fmla="*/ 4650570 w 9397013"/>
              <a:gd name="connsiteY32-2050" fmla="*/ 2339732 h 6925856"/>
              <a:gd name="connsiteX33-2051" fmla="*/ 4869244 w 9397013"/>
              <a:gd name="connsiteY33-2052" fmla="*/ 2053337 h 6925856"/>
              <a:gd name="connsiteX34-2053" fmla="*/ 8567691 w 9397013"/>
              <a:gd name="connsiteY34-2054" fmla="*/ 6916619 h 6925856"/>
              <a:gd name="connsiteX35-2055" fmla="*/ 9397013 w 9397013"/>
              <a:gd name="connsiteY35-2056" fmla="*/ 6925855 h 6925856"/>
              <a:gd name="connsiteX36-2057" fmla="*/ 8921338 w 9397013"/>
              <a:gd name="connsiteY36-2058" fmla="*/ 6907383 h 6925856"/>
              <a:gd name="connsiteX37-2059" fmla="*/ 5045299 w 9397013"/>
              <a:gd name="connsiteY37-2060" fmla="*/ 1822761 h 6925856"/>
              <a:gd name="connsiteX38-2061" fmla="*/ 5273037 w 9397013"/>
              <a:gd name="connsiteY38-2062" fmla="*/ 1524494 h 6925856"/>
              <a:gd name="connsiteX39-2063" fmla="*/ 9397013 w 9397013"/>
              <a:gd name="connsiteY39-2064" fmla="*/ 6925855 h 6925856"/>
              <a:gd name="connsiteX0-2065" fmla="*/ 168369 w 9397013"/>
              <a:gd name="connsiteY0-2066" fmla="*/ 4571581 h 6925856"/>
              <a:gd name="connsiteX1-2067" fmla="*/ 0 w 9397013"/>
              <a:gd name="connsiteY1-2068" fmla="*/ 4200794 h 6925856"/>
              <a:gd name="connsiteX2-2069" fmla="*/ 3175788 w 9397013"/>
              <a:gd name="connsiteY2-2070" fmla="*/ 4084 h 6925856"/>
              <a:gd name="connsiteX3-2071" fmla="*/ 3628305 w 9397013"/>
              <a:gd name="connsiteY3-2072" fmla="*/ 0 h 6925856"/>
              <a:gd name="connsiteX4-2073" fmla="*/ 168369 w 9397013"/>
              <a:gd name="connsiteY4-2074" fmla="*/ 4571581 h 6925856"/>
              <a:gd name="connsiteX5-2075" fmla="*/ 488220 w 9397013"/>
              <a:gd name="connsiteY5-2076" fmla="*/ 5275963 h 6925856"/>
              <a:gd name="connsiteX6-2077" fmla="*/ 299082 w 9397013"/>
              <a:gd name="connsiteY6-2078" fmla="*/ 4859439 h 6925856"/>
              <a:gd name="connsiteX7-2079" fmla="*/ 3977147 w 9397013"/>
              <a:gd name="connsiteY7-2080" fmla="*/ 3723 h 6925856"/>
              <a:gd name="connsiteX8-2081" fmla="*/ 4465006 w 9397013"/>
              <a:gd name="connsiteY8-2082" fmla="*/ 840 h 6925856"/>
              <a:gd name="connsiteX9-2083" fmla="*/ 488220 w 9397013"/>
              <a:gd name="connsiteY9-2084" fmla="*/ 5275963 h 6925856"/>
              <a:gd name="connsiteX10-2085" fmla="*/ 1601458 w 9397013"/>
              <a:gd name="connsiteY10-2086" fmla="*/ 4845836 h 6925856"/>
              <a:gd name="connsiteX11-2087" fmla="*/ 618065 w 9397013"/>
              <a:gd name="connsiteY11-2088" fmla="*/ 5561911 h 6925856"/>
              <a:gd name="connsiteX12-2089" fmla="*/ 4805164 w 9397013"/>
              <a:gd name="connsiteY12-2090" fmla="*/ 4602 h 6925856"/>
              <a:gd name="connsiteX13-2091" fmla="*/ 5260238 w 9397013"/>
              <a:gd name="connsiteY13-2092" fmla="*/ 25779 h 6925856"/>
              <a:gd name="connsiteX14-2093" fmla="*/ 1601458 w 9397013"/>
              <a:gd name="connsiteY14-2094" fmla="*/ 4845836 h 6925856"/>
              <a:gd name="connsiteX15-2095" fmla="*/ 1580200 w 9397013"/>
              <a:gd name="connsiteY15-2096" fmla="*/ 5985735 h 6925856"/>
              <a:gd name="connsiteX16-2097" fmla="*/ 1566201 w 9397013"/>
              <a:gd name="connsiteY16-2098" fmla="*/ 5394811 h 6925856"/>
              <a:gd name="connsiteX17-2099" fmla="*/ 5641256 w 9397013"/>
              <a:gd name="connsiteY17-2100" fmla="*/ 4084 h 6925856"/>
              <a:gd name="connsiteX18-2101" fmla="*/ 6077099 w 9397013"/>
              <a:gd name="connsiteY18-2102" fmla="*/ 17286 h 6925856"/>
              <a:gd name="connsiteX19-2103" fmla="*/ 1580200 w 9397013"/>
              <a:gd name="connsiteY19-2104" fmla="*/ 5985735 h 6925856"/>
              <a:gd name="connsiteX20-2105" fmla="*/ 6958778 w 9397013"/>
              <a:gd name="connsiteY20-2106" fmla="*/ 6916619 h 6925856"/>
              <a:gd name="connsiteX21-2107" fmla="*/ 6560038 w 9397013"/>
              <a:gd name="connsiteY21-2108" fmla="*/ 6925855 h 6925856"/>
              <a:gd name="connsiteX22-2109" fmla="*/ 3849932 w 9397013"/>
              <a:gd name="connsiteY22-2110" fmla="*/ 3388318 h 6925856"/>
              <a:gd name="connsiteX23-2111" fmla="*/ 4086202 w 9397013"/>
              <a:gd name="connsiteY23-2112" fmla="*/ 3078877 h 6925856"/>
              <a:gd name="connsiteX24-2113" fmla="*/ 6958778 w 9397013"/>
              <a:gd name="connsiteY24-2114" fmla="*/ 6916619 h 6925856"/>
              <a:gd name="connsiteX25-2115" fmla="*/ 7777211 w 9397013"/>
              <a:gd name="connsiteY25-2116" fmla="*/ 6916620 h 6925856"/>
              <a:gd name="connsiteX26-2117" fmla="*/ 7324729 w 9397013"/>
              <a:gd name="connsiteY26-2118" fmla="*/ 6916620 h 6925856"/>
              <a:gd name="connsiteX27-2119" fmla="*/ 4245793 w 9397013"/>
              <a:gd name="connsiteY27-2120" fmla="*/ 2869862 h 6925856"/>
              <a:gd name="connsiteX28-2121" fmla="*/ 4490696 w 9397013"/>
              <a:gd name="connsiteY28-2122" fmla="*/ 2549117 h 6925856"/>
              <a:gd name="connsiteX29-2123" fmla="*/ 7777211 w 9397013"/>
              <a:gd name="connsiteY29-2124" fmla="*/ 6916620 h 6925856"/>
              <a:gd name="connsiteX30-2125" fmla="*/ 8567691 w 9397013"/>
              <a:gd name="connsiteY30-2126" fmla="*/ 6916619 h 6925856"/>
              <a:gd name="connsiteX31-2127" fmla="*/ 8159389 w 9397013"/>
              <a:gd name="connsiteY31-2128" fmla="*/ 6925856 h 6925856"/>
              <a:gd name="connsiteX32-2129" fmla="*/ 4650570 w 9397013"/>
              <a:gd name="connsiteY32-2130" fmla="*/ 2339732 h 6925856"/>
              <a:gd name="connsiteX33-2131" fmla="*/ 4869244 w 9397013"/>
              <a:gd name="connsiteY33-2132" fmla="*/ 2053337 h 6925856"/>
              <a:gd name="connsiteX34-2133" fmla="*/ 8567691 w 9397013"/>
              <a:gd name="connsiteY34-2134" fmla="*/ 6916619 h 6925856"/>
              <a:gd name="connsiteX35-2135" fmla="*/ 9397013 w 9397013"/>
              <a:gd name="connsiteY35-2136" fmla="*/ 6925855 h 6925856"/>
              <a:gd name="connsiteX36-2137" fmla="*/ 8921338 w 9397013"/>
              <a:gd name="connsiteY36-2138" fmla="*/ 6907383 h 6925856"/>
              <a:gd name="connsiteX37-2139" fmla="*/ 5045299 w 9397013"/>
              <a:gd name="connsiteY37-2140" fmla="*/ 1822761 h 6925856"/>
              <a:gd name="connsiteX38-2141" fmla="*/ 5273037 w 9397013"/>
              <a:gd name="connsiteY38-2142" fmla="*/ 1524494 h 6925856"/>
              <a:gd name="connsiteX39-2143" fmla="*/ 9397013 w 9397013"/>
              <a:gd name="connsiteY39-2144" fmla="*/ 6925855 h 6925856"/>
              <a:gd name="connsiteX0-2145" fmla="*/ 168369 w 9397013"/>
              <a:gd name="connsiteY0-2146" fmla="*/ 4571581 h 6925856"/>
              <a:gd name="connsiteX1-2147" fmla="*/ 0 w 9397013"/>
              <a:gd name="connsiteY1-2148" fmla="*/ 4200794 h 6925856"/>
              <a:gd name="connsiteX2-2149" fmla="*/ 3175788 w 9397013"/>
              <a:gd name="connsiteY2-2150" fmla="*/ 4084 h 6925856"/>
              <a:gd name="connsiteX3-2151" fmla="*/ 3628305 w 9397013"/>
              <a:gd name="connsiteY3-2152" fmla="*/ 0 h 6925856"/>
              <a:gd name="connsiteX4-2153" fmla="*/ 168369 w 9397013"/>
              <a:gd name="connsiteY4-2154" fmla="*/ 4571581 h 6925856"/>
              <a:gd name="connsiteX5-2155" fmla="*/ 488220 w 9397013"/>
              <a:gd name="connsiteY5-2156" fmla="*/ 5275963 h 6925856"/>
              <a:gd name="connsiteX6-2157" fmla="*/ 299082 w 9397013"/>
              <a:gd name="connsiteY6-2158" fmla="*/ 4859439 h 6925856"/>
              <a:gd name="connsiteX7-2159" fmla="*/ 3977147 w 9397013"/>
              <a:gd name="connsiteY7-2160" fmla="*/ 3723 h 6925856"/>
              <a:gd name="connsiteX8-2161" fmla="*/ 4465006 w 9397013"/>
              <a:gd name="connsiteY8-2162" fmla="*/ 840 h 6925856"/>
              <a:gd name="connsiteX9-2163" fmla="*/ 488220 w 9397013"/>
              <a:gd name="connsiteY9-2164" fmla="*/ 5275963 h 6925856"/>
              <a:gd name="connsiteX10-2165" fmla="*/ 1601458 w 9397013"/>
              <a:gd name="connsiteY10-2166" fmla="*/ 4845836 h 6925856"/>
              <a:gd name="connsiteX11-2167" fmla="*/ 1550937 w 9397013"/>
              <a:gd name="connsiteY11-2168" fmla="*/ 4315002 h 6925856"/>
              <a:gd name="connsiteX12-2169" fmla="*/ 4805164 w 9397013"/>
              <a:gd name="connsiteY12-2170" fmla="*/ 4602 h 6925856"/>
              <a:gd name="connsiteX13-2171" fmla="*/ 5260238 w 9397013"/>
              <a:gd name="connsiteY13-2172" fmla="*/ 25779 h 6925856"/>
              <a:gd name="connsiteX14-2173" fmla="*/ 1601458 w 9397013"/>
              <a:gd name="connsiteY14-2174" fmla="*/ 4845836 h 6925856"/>
              <a:gd name="connsiteX15-2175" fmla="*/ 1580200 w 9397013"/>
              <a:gd name="connsiteY15-2176" fmla="*/ 5985735 h 6925856"/>
              <a:gd name="connsiteX16-2177" fmla="*/ 1566201 w 9397013"/>
              <a:gd name="connsiteY16-2178" fmla="*/ 5394811 h 6925856"/>
              <a:gd name="connsiteX17-2179" fmla="*/ 5641256 w 9397013"/>
              <a:gd name="connsiteY17-2180" fmla="*/ 4084 h 6925856"/>
              <a:gd name="connsiteX18-2181" fmla="*/ 6077099 w 9397013"/>
              <a:gd name="connsiteY18-2182" fmla="*/ 17286 h 6925856"/>
              <a:gd name="connsiteX19-2183" fmla="*/ 1580200 w 9397013"/>
              <a:gd name="connsiteY19-2184" fmla="*/ 5985735 h 6925856"/>
              <a:gd name="connsiteX20-2185" fmla="*/ 6958778 w 9397013"/>
              <a:gd name="connsiteY20-2186" fmla="*/ 6916619 h 6925856"/>
              <a:gd name="connsiteX21-2187" fmla="*/ 6560038 w 9397013"/>
              <a:gd name="connsiteY21-2188" fmla="*/ 6925855 h 6925856"/>
              <a:gd name="connsiteX22-2189" fmla="*/ 3849932 w 9397013"/>
              <a:gd name="connsiteY22-2190" fmla="*/ 3388318 h 6925856"/>
              <a:gd name="connsiteX23-2191" fmla="*/ 4086202 w 9397013"/>
              <a:gd name="connsiteY23-2192" fmla="*/ 3078877 h 6925856"/>
              <a:gd name="connsiteX24-2193" fmla="*/ 6958778 w 9397013"/>
              <a:gd name="connsiteY24-2194" fmla="*/ 6916619 h 6925856"/>
              <a:gd name="connsiteX25-2195" fmla="*/ 7777211 w 9397013"/>
              <a:gd name="connsiteY25-2196" fmla="*/ 6916620 h 6925856"/>
              <a:gd name="connsiteX26-2197" fmla="*/ 7324729 w 9397013"/>
              <a:gd name="connsiteY26-2198" fmla="*/ 6916620 h 6925856"/>
              <a:gd name="connsiteX27-2199" fmla="*/ 4245793 w 9397013"/>
              <a:gd name="connsiteY27-2200" fmla="*/ 2869862 h 6925856"/>
              <a:gd name="connsiteX28-2201" fmla="*/ 4490696 w 9397013"/>
              <a:gd name="connsiteY28-2202" fmla="*/ 2549117 h 6925856"/>
              <a:gd name="connsiteX29-2203" fmla="*/ 7777211 w 9397013"/>
              <a:gd name="connsiteY29-2204" fmla="*/ 6916620 h 6925856"/>
              <a:gd name="connsiteX30-2205" fmla="*/ 8567691 w 9397013"/>
              <a:gd name="connsiteY30-2206" fmla="*/ 6916619 h 6925856"/>
              <a:gd name="connsiteX31-2207" fmla="*/ 8159389 w 9397013"/>
              <a:gd name="connsiteY31-2208" fmla="*/ 6925856 h 6925856"/>
              <a:gd name="connsiteX32-2209" fmla="*/ 4650570 w 9397013"/>
              <a:gd name="connsiteY32-2210" fmla="*/ 2339732 h 6925856"/>
              <a:gd name="connsiteX33-2211" fmla="*/ 4869244 w 9397013"/>
              <a:gd name="connsiteY33-2212" fmla="*/ 2053337 h 6925856"/>
              <a:gd name="connsiteX34-2213" fmla="*/ 8567691 w 9397013"/>
              <a:gd name="connsiteY34-2214" fmla="*/ 6916619 h 6925856"/>
              <a:gd name="connsiteX35-2215" fmla="*/ 9397013 w 9397013"/>
              <a:gd name="connsiteY35-2216" fmla="*/ 6925855 h 6925856"/>
              <a:gd name="connsiteX36-2217" fmla="*/ 8921338 w 9397013"/>
              <a:gd name="connsiteY36-2218" fmla="*/ 6907383 h 6925856"/>
              <a:gd name="connsiteX37-2219" fmla="*/ 5045299 w 9397013"/>
              <a:gd name="connsiteY37-2220" fmla="*/ 1822761 h 6925856"/>
              <a:gd name="connsiteX38-2221" fmla="*/ 5273037 w 9397013"/>
              <a:gd name="connsiteY38-2222" fmla="*/ 1524494 h 6925856"/>
              <a:gd name="connsiteX39-2223" fmla="*/ 9397013 w 9397013"/>
              <a:gd name="connsiteY39-2224" fmla="*/ 6925855 h 6925856"/>
              <a:gd name="connsiteX0-2225" fmla="*/ 168369 w 9397013"/>
              <a:gd name="connsiteY0-2226" fmla="*/ 4571581 h 6925856"/>
              <a:gd name="connsiteX1-2227" fmla="*/ 0 w 9397013"/>
              <a:gd name="connsiteY1-2228" fmla="*/ 4200794 h 6925856"/>
              <a:gd name="connsiteX2-2229" fmla="*/ 3175788 w 9397013"/>
              <a:gd name="connsiteY2-2230" fmla="*/ 4084 h 6925856"/>
              <a:gd name="connsiteX3-2231" fmla="*/ 3628305 w 9397013"/>
              <a:gd name="connsiteY3-2232" fmla="*/ 0 h 6925856"/>
              <a:gd name="connsiteX4-2233" fmla="*/ 168369 w 9397013"/>
              <a:gd name="connsiteY4-2234" fmla="*/ 4571581 h 6925856"/>
              <a:gd name="connsiteX5-2235" fmla="*/ 488220 w 9397013"/>
              <a:gd name="connsiteY5-2236" fmla="*/ 5275963 h 6925856"/>
              <a:gd name="connsiteX6-2237" fmla="*/ 299082 w 9397013"/>
              <a:gd name="connsiteY6-2238" fmla="*/ 4859439 h 6925856"/>
              <a:gd name="connsiteX7-2239" fmla="*/ 3977147 w 9397013"/>
              <a:gd name="connsiteY7-2240" fmla="*/ 3723 h 6925856"/>
              <a:gd name="connsiteX8-2241" fmla="*/ 4465006 w 9397013"/>
              <a:gd name="connsiteY8-2242" fmla="*/ 840 h 6925856"/>
              <a:gd name="connsiteX9-2243" fmla="*/ 488220 w 9397013"/>
              <a:gd name="connsiteY9-2244" fmla="*/ 5275963 h 6925856"/>
              <a:gd name="connsiteX10-2245" fmla="*/ 1573749 w 9397013"/>
              <a:gd name="connsiteY10-2246" fmla="*/ 4882781 h 6925856"/>
              <a:gd name="connsiteX11-2247" fmla="*/ 1550937 w 9397013"/>
              <a:gd name="connsiteY11-2248" fmla="*/ 4315002 h 6925856"/>
              <a:gd name="connsiteX12-2249" fmla="*/ 4805164 w 9397013"/>
              <a:gd name="connsiteY12-2250" fmla="*/ 4602 h 6925856"/>
              <a:gd name="connsiteX13-2251" fmla="*/ 5260238 w 9397013"/>
              <a:gd name="connsiteY13-2252" fmla="*/ 25779 h 6925856"/>
              <a:gd name="connsiteX14-2253" fmla="*/ 1573749 w 9397013"/>
              <a:gd name="connsiteY14-2254" fmla="*/ 4882781 h 6925856"/>
              <a:gd name="connsiteX15-2255" fmla="*/ 1580200 w 9397013"/>
              <a:gd name="connsiteY15-2256" fmla="*/ 5985735 h 6925856"/>
              <a:gd name="connsiteX16-2257" fmla="*/ 1566201 w 9397013"/>
              <a:gd name="connsiteY16-2258" fmla="*/ 5394811 h 6925856"/>
              <a:gd name="connsiteX17-2259" fmla="*/ 5641256 w 9397013"/>
              <a:gd name="connsiteY17-2260" fmla="*/ 4084 h 6925856"/>
              <a:gd name="connsiteX18-2261" fmla="*/ 6077099 w 9397013"/>
              <a:gd name="connsiteY18-2262" fmla="*/ 17286 h 6925856"/>
              <a:gd name="connsiteX19-2263" fmla="*/ 1580200 w 9397013"/>
              <a:gd name="connsiteY19-2264" fmla="*/ 5985735 h 6925856"/>
              <a:gd name="connsiteX20-2265" fmla="*/ 6958778 w 9397013"/>
              <a:gd name="connsiteY20-2266" fmla="*/ 6916619 h 6925856"/>
              <a:gd name="connsiteX21-2267" fmla="*/ 6560038 w 9397013"/>
              <a:gd name="connsiteY21-2268" fmla="*/ 6925855 h 6925856"/>
              <a:gd name="connsiteX22-2269" fmla="*/ 3849932 w 9397013"/>
              <a:gd name="connsiteY22-2270" fmla="*/ 3388318 h 6925856"/>
              <a:gd name="connsiteX23-2271" fmla="*/ 4086202 w 9397013"/>
              <a:gd name="connsiteY23-2272" fmla="*/ 3078877 h 6925856"/>
              <a:gd name="connsiteX24-2273" fmla="*/ 6958778 w 9397013"/>
              <a:gd name="connsiteY24-2274" fmla="*/ 6916619 h 6925856"/>
              <a:gd name="connsiteX25-2275" fmla="*/ 7777211 w 9397013"/>
              <a:gd name="connsiteY25-2276" fmla="*/ 6916620 h 6925856"/>
              <a:gd name="connsiteX26-2277" fmla="*/ 7324729 w 9397013"/>
              <a:gd name="connsiteY26-2278" fmla="*/ 6916620 h 6925856"/>
              <a:gd name="connsiteX27-2279" fmla="*/ 4245793 w 9397013"/>
              <a:gd name="connsiteY27-2280" fmla="*/ 2869862 h 6925856"/>
              <a:gd name="connsiteX28-2281" fmla="*/ 4490696 w 9397013"/>
              <a:gd name="connsiteY28-2282" fmla="*/ 2549117 h 6925856"/>
              <a:gd name="connsiteX29-2283" fmla="*/ 7777211 w 9397013"/>
              <a:gd name="connsiteY29-2284" fmla="*/ 6916620 h 6925856"/>
              <a:gd name="connsiteX30-2285" fmla="*/ 8567691 w 9397013"/>
              <a:gd name="connsiteY30-2286" fmla="*/ 6916619 h 6925856"/>
              <a:gd name="connsiteX31-2287" fmla="*/ 8159389 w 9397013"/>
              <a:gd name="connsiteY31-2288" fmla="*/ 6925856 h 6925856"/>
              <a:gd name="connsiteX32-2289" fmla="*/ 4650570 w 9397013"/>
              <a:gd name="connsiteY32-2290" fmla="*/ 2339732 h 6925856"/>
              <a:gd name="connsiteX33-2291" fmla="*/ 4869244 w 9397013"/>
              <a:gd name="connsiteY33-2292" fmla="*/ 2053337 h 6925856"/>
              <a:gd name="connsiteX34-2293" fmla="*/ 8567691 w 9397013"/>
              <a:gd name="connsiteY34-2294" fmla="*/ 6916619 h 6925856"/>
              <a:gd name="connsiteX35-2295" fmla="*/ 9397013 w 9397013"/>
              <a:gd name="connsiteY35-2296" fmla="*/ 6925855 h 6925856"/>
              <a:gd name="connsiteX36-2297" fmla="*/ 8921338 w 9397013"/>
              <a:gd name="connsiteY36-2298" fmla="*/ 6907383 h 6925856"/>
              <a:gd name="connsiteX37-2299" fmla="*/ 5045299 w 9397013"/>
              <a:gd name="connsiteY37-2300" fmla="*/ 1822761 h 6925856"/>
              <a:gd name="connsiteX38-2301" fmla="*/ 5273037 w 9397013"/>
              <a:gd name="connsiteY38-2302" fmla="*/ 1524494 h 6925856"/>
              <a:gd name="connsiteX39-2303" fmla="*/ 9397013 w 9397013"/>
              <a:gd name="connsiteY39-2304" fmla="*/ 6925855 h 6925856"/>
              <a:gd name="connsiteX0-2305" fmla="*/ 168369 w 9397013"/>
              <a:gd name="connsiteY0-2306" fmla="*/ 4571581 h 6925856"/>
              <a:gd name="connsiteX1-2307" fmla="*/ 0 w 9397013"/>
              <a:gd name="connsiteY1-2308" fmla="*/ 4200794 h 6925856"/>
              <a:gd name="connsiteX2-2309" fmla="*/ 3175788 w 9397013"/>
              <a:gd name="connsiteY2-2310" fmla="*/ 4084 h 6925856"/>
              <a:gd name="connsiteX3-2311" fmla="*/ 3628305 w 9397013"/>
              <a:gd name="connsiteY3-2312" fmla="*/ 0 h 6925856"/>
              <a:gd name="connsiteX4-2313" fmla="*/ 168369 w 9397013"/>
              <a:gd name="connsiteY4-2314" fmla="*/ 4571581 h 6925856"/>
              <a:gd name="connsiteX5-2315" fmla="*/ 1578111 w 9397013"/>
              <a:gd name="connsiteY5-2316" fmla="*/ 3835090 h 6925856"/>
              <a:gd name="connsiteX6-2317" fmla="*/ 299082 w 9397013"/>
              <a:gd name="connsiteY6-2318" fmla="*/ 4859439 h 6925856"/>
              <a:gd name="connsiteX7-2319" fmla="*/ 3977147 w 9397013"/>
              <a:gd name="connsiteY7-2320" fmla="*/ 3723 h 6925856"/>
              <a:gd name="connsiteX8-2321" fmla="*/ 4465006 w 9397013"/>
              <a:gd name="connsiteY8-2322" fmla="*/ 840 h 6925856"/>
              <a:gd name="connsiteX9-2323" fmla="*/ 1578111 w 9397013"/>
              <a:gd name="connsiteY9-2324" fmla="*/ 3835090 h 6925856"/>
              <a:gd name="connsiteX10-2325" fmla="*/ 1573749 w 9397013"/>
              <a:gd name="connsiteY10-2326" fmla="*/ 4882781 h 6925856"/>
              <a:gd name="connsiteX11-2327" fmla="*/ 1550937 w 9397013"/>
              <a:gd name="connsiteY11-2328" fmla="*/ 4315002 h 6925856"/>
              <a:gd name="connsiteX12-2329" fmla="*/ 4805164 w 9397013"/>
              <a:gd name="connsiteY12-2330" fmla="*/ 4602 h 6925856"/>
              <a:gd name="connsiteX13-2331" fmla="*/ 5260238 w 9397013"/>
              <a:gd name="connsiteY13-2332" fmla="*/ 25779 h 6925856"/>
              <a:gd name="connsiteX14-2333" fmla="*/ 1573749 w 9397013"/>
              <a:gd name="connsiteY14-2334" fmla="*/ 4882781 h 6925856"/>
              <a:gd name="connsiteX15-2335" fmla="*/ 1580200 w 9397013"/>
              <a:gd name="connsiteY15-2336" fmla="*/ 5985735 h 6925856"/>
              <a:gd name="connsiteX16-2337" fmla="*/ 1566201 w 9397013"/>
              <a:gd name="connsiteY16-2338" fmla="*/ 5394811 h 6925856"/>
              <a:gd name="connsiteX17-2339" fmla="*/ 5641256 w 9397013"/>
              <a:gd name="connsiteY17-2340" fmla="*/ 4084 h 6925856"/>
              <a:gd name="connsiteX18-2341" fmla="*/ 6077099 w 9397013"/>
              <a:gd name="connsiteY18-2342" fmla="*/ 17286 h 6925856"/>
              <a:gd name="connsiteX19-2343" fmla="*/ 1580200 w 9397013"/>
              <a:gd name="connsiteY19-2344" fmla="*/ 5985735 h 6925856"/>
              <a:gd name="connsiteX20-2345" fmla="*/ 6958778 w 9397013"/>
              <a:gd name="connsiteY20-2346" fmla="*/ 6916619 h 6925856"/>
              <a:gd name="connsiteX21-2347" fmla="*/ 6560038 w 9397013"/>
              <a:gd name="connsiteY21-2348" fmla="*/ 6925855 h 6925856"/>
              <a:gd name="connsiteX22-2349" fmla="*/ 3849932 w 9397013"/>
              <a:gd name="connsiteY22-2350" fmla="*/ 3388318 h 6925856"/>
              <a:gd name="connsiteX23-2351" fmla="*/ 4086202 w 9397013"/>
              <a:gd name="connsiteY23-2352" fmla="*/ 3078877 h 6925856"/>
              <a:gd name="connsiteX24-2353" fmla="*/ 6958778 w 9397013"/>
              <a:gd name="connsiteY24-2354" fmla="*/ 6916619 h 6925856"/>
              <a:gd name="connsiteX25-2355" fmla="*/ 7777211 w 9397013"/>
              <a:gd name="connsiteY25-2356" fmla="*/ 6916620 h 6925856"/>
              <a:gd name="connsiteX26-2357" fmla="*/ 7324729 w 9397013"/>
              <a:gd name="connsiteY26-2358" fmla="*/ 6916620 h 6925856"/>
              <a:gd name="connsiteX27-2359" fmla="*/ 4245793 w 9397013"/>
              <a:gd name="connsiteY27-2360" fmla="*/ 2869862 h 6925856"/>
              <a:gd name="connsiteX28-2361" fmla="*/ 4490696 w 9397013"/>
              <a:gd name="connsiteY28-2362" fmla="*/ 2549117 h 6925856"/>
              <a:gd name="connsiteX29-2363" fmla="*/ 7777211 w 9397013"/>
              <a:gd name="connsiteY29-2364" fmla="*/ 6916620 h 6925856"/>
              <a:gd name="connsiteX30-2365" fmla="*/ 8567691 w 9397013"/>
              <a:gd name="connsiteY30-2366" fmla="*/ 6916619 h 6925856"/>
              <a:gd name="connsiteX31-2367" fmla="*/ 8159389 w 9397013"/>
              <a:gd name="connsiteY31-2368" fmla="*/ 6925856 h 6925856"/>
              <a:gd name="connsiteX32-2369" fmla="*/ 4650570 w 9397013"/>
              <a:gd name="connsiteY32-2370" fmla="*/ 2339732 h 6925856"/>
              <a:gd name="connsiteX33-2371" fmla="*/ 4869244 w 9397013"/>
              <a:gd name="connsiteY33-2372" fmla="*/ 2053337 h 6925856"/>
              <a:gd name="connsiteX34-2373" fmla="*/ 8567691 w 9397013"/>
              <a:gd name="connsiteY34-2374" fmla="*/ 6916619 h 6925856"/>
              <a:gd name="connsiteX35-2375" fmla="*/ 9397013 w 9397013"/>
              <a:gd name="connsiteY35-2376" fmla="*/ 6925855 h 6925856"/>
              <a:gd name="connsiteX36-2377" fmla="*/ 8921338 w 9397013"/>
              <a:gd name="connsiteY36-2378" fmla="*/ 6907383 h 6925856"/>
              <a:gd name="connsiteX37-2379" fmla="*/ 5045299 w 9397013"/>
              <a:gd name="connsiteY37-2380" fmla="*/ 1822761 h 6925856"/>
              <a:gd name="connsiteX38-2381" fmla="*/ 5273037 w 9397013"/>
              <a:gd name="connsiteY38-2382" fmla="*/ 1524494 h 6925856"/>
              <a:gd name="connsiteX39-2383" fmla="*/ 9397013 w 9397013"/>
              <a:gd name="connsiteY39-2384" fmla="*/ 6925855 h 6925856"/>
              <a:gd name="connsiteX0-2385" fmla="*/ 168369 w 9397013"/>
              <a:gd name="connsiteY0-2386" fmla="*/ 4571581 h 6925856"/>
              <a:gd name="connsiteX1-2387" fmla="*/ 0 w 9397013"/>
              <a:gd name="connsiteY1-2388" fmla="*/ 4200794 h 6925856"/>
              <a:gd name="connsiteX2-2389" fmla="*/ 3175788 w 9397013"/>
              <a:gd name="connsiteY2-2390" fmla="*/ 4084 h 6925856"/>
              <a:gd name="connsiteX3-2391" fmla="*/ 3628305 w 9397013"/>
              <a:gd name="connsiteY3-2392" fmla="*/ 0 h 6925856"/>
              <a:gd name="connsiteX4-2393" fmla="*/ 168369 w 9397013"/>
              <a:gd name="connsiteY4-2394" fmla="*/ 4571581 h 6925856"/>
              <a:gd name="connsiteX5-2395" fmla="*/ 1578111 w 9397013"/>
              <a:gd name="connsiteY5-2396" fmla="*/ 3835090 h 6925856"/>
              <a:gd name="connsiteX6-2397" fmla="*/ 1564463 w 9397013"/>
              <a:gd name="connsiteY6-2398" fmla="*/ 3206130 h 6925856"/>
              <a:gd name="connsiteX7-2399" fmla="*/ 3977147 w 9397013"/>
              <a:gd name="connsiteY7-2400" fmla="*/ 3723 h 6925856"/>
              <a:gd name="connsiteX8-2401" fmla="*/ 4465006 w 9397013"/>
              <a:gd name="connsiteY8-2402" fmla="*/ 840 h 6925856"/>
              <a:gd name="connsiteX9-2403" fmla="*/ 1578111 w 9397013"/>
              <a:gd name="connsiteY9-2404" fmla="*/ 3835090 h 6925856"/>
              <a:gd name="connsiteX10-2405" fmla="*/ 1573749 w 9397013"/>
              <a:gd name="connsiteY10-2406" fmla="*/ 4882781 h 6925856"/>
              <a:gd name="connsiteX11-2407" fmla="*/ 1550937 w 9397013"/>
              <a:gd name="connsiteY11-2408" fmla="*/ 4315002 h 6925856"/>
              <a:gd name="connsiteX12-2409" fmla="*/ 4805164 w 9397013"/>
              <a:gd name="connsiteY12-2410" fmla="*/ 4602 h 6925856"/>
              <a:gd name="connsiteX13-2411" fmla="*/ 5260238 w 9397013"/>
              <a:gd name="connsiteY13-2412" fmla="*/ 25779 h 6925856"/>
              <a:gd name="connsiteX14-2413" fmla="*/ 1573749 w 9397013"/>
              <a:gd name="connsiteY14-2414" fmla="*/ 4882781 h 6925856"/>
              <a:gd name="connsiteX15-2415" fmla="*/ 1580200 w 9397013"/>
              <a:gd name="connsiteY15-2416" fmla="*/ 5985735 h 6925856"/>
              <a:gd name="connsiteX16-2417" fmla="*/ 1566201 w 9397013"/>
              <a:gd name="connsiteY16-2418" fmla="*/ 5394811 h 6925856"/>
              <a:gd name="connsiteX17-2419" fmla="*/ 5641256 w 9397013"/>
              <a:gd name="connsiteY17-2420" fmla="*/ 4084 h 6925856"/>
              <a:gd name="connsiteX18-2421" fmla="*/ 6077099 w 9397013"/>
              <a:gd name="connsiteY18-2422" fmla="*/ 17286 h 6925856"/>
              <a:gd name="connsiteX19-2423" fmla="*/ 1580200 w 9397013"/>
              <a:gd name="connsiteY19-2424" fmla="*/ 5985735 h 6925856"/>
              <a:gd name="connsiteX20-2425" fmla="*/ 6958778 w 9397013"/>
              <a:gd name="connsiteY20-2426" fmla="*/ 6916619 h 6925856"/>
              <a:gd name="connsiteX21-2427" fmla="*/ 6560038 w 9397013"/>
              <a:gd name="connsiteY21-2428" fmla="*/ 6925855 h 6925856"/>
              <a:gd name="connsiteX22-2429" fmla="*/ 3849932 w 9397013"/>
              <a:gd name="connsiteY22-2430" fmla="*/ 3388318 h 6925856"/>
              <a:gd name="connsiteX23-2431" fmla="*/ 4086202 w 9397013"/>
              <a:gd name="connsiteY23-2432" fmla="*/ 3078877 h 6925856"/>
              <a:gd name="connsiteX24-2433" fmla="*/ 6958778 w 9397013"/>
              <a:gd name="connsiteY24-2434" fmla="*/ 6916619 h 6925856"/>
              <a:gd name="connsiteX25-2435" fmla="*/ 7777211 w 9397013"/>
              <a:gd name="connsiteY25-2436" fmla="*/ 6916620 h 6925856"/>
              <a:gd name="connsiteX26-2437" fmla="*/ 7324729 w 9397013"/>
              <a:gd name="connsiteY26-2438" fmla="*/ 6916620 h 6925856"/>
              <a:gd name="connsiteX27-2439" fmla="*/ 4245793 w 9397013"/>
              <a:gd name="connsiteY27-2440" fmla="*/ 2869862 h 6925856"/>
              <a:gd name="connsiteX28-2441" fmla="*/ 4490696 w 9397013"/>
              <a:gd name="connsiteY28-2442" fmla="*/ 2549117 h 6925856"/>
              <a:gd name="connsiteX29-2443" fmla="*/ 7777211 w 9397013"/>
              <a:gd name="connsiteY29-2444" fmla="*/ 6916620 h 6925856"/>
              <a:gd name="connsiteX30-2445" fmla="*/ 8567691 w 9397013"/>
              <a:gd name="connsiteY30-2446" fmla="*/ 6916619 h 6925856"/>
              <a:gd name="connsiteX31-2447" fmla="*/ 8159389 w 9397013"/>
              <a:gd name="connsiteY31-2448" fmla="*/ 6925856 h 6925856"/>
              <a:gd name="connsiteX32-2449" fmla="*/ 4650570 w 9397013"/>
              <a:gd name="connsiteY32-2450" fmla="*/ 2339732 h 6925856"/>
              <a:gd name="connsiteX33-2451" fmla="*/ 4869244 w 9397013"/>
              <a:gd name="connsiteY33-2452" fmla="*/ 2053337 h 6925856"/>
              <a:gd name="connsiteX34-2453" fmla="*/ 8567691 w 9397013"/>
              <a:gd name="connsiteY34-2454" fmla="*/ 6916619 h 6925856"/>
              <a:gd name="connsiteX35-2455" fmla="*/ 9397013 w 9397013"/>
              <a:gd name="connsiteY35-2456" fmla="*/ 6925855 h 6925856"/>
              <a:gd name="connsiteX36-2457" fmla="*/ 8921338 w 9397013"/>
              <a:gd name="connsiteY36-2458" fmla="*/ 6907383 h 6925856"/>
              <a:gd name="connsiteX37-2459" fmla="*/ 5045299 w 9397013"/>
              <a:gd name="connsiteY37-2460" fmla="*/ 1822761 h 6925856"/>
              <a:gd name="connsiteX38-2461" fmla="*/ 5273037 w 9397013"/>
              <a:gd name="connsiteY38-2462" fmla="*/ 1524494 h 6925856"/>
              <a:gd name="connsiteX39-2463" fmla="*/ 9397013 w 9397013"/>
              <a:gd name="connsiteY39-2464" fmla="*/ 6925855 h 6925856"/>
              <a:gd name="connsiteX0-2465" fmla="*/ 1572296 w 9397013"/>
              <a:gd name="connsiteY0-2466" fmla="*/ 2715072 h 6925856"/>
              <a:gd name="connsiteX1-2467" fmla="*/ 0 w 9397013"/>
              <a:gd name="connsiteY1-2468" fmla="*/ 4200794 h 6925856"/>
              <a:gd name="connsiteX2-2469" fmla="*/ 3175788 w 9397013"/>
              <a:gd name="connsiteY2-2470" fmla="*/ 4084 h 6925856"/>
              <a:gd name="connsiteX3-2471" fmla="*/ 3628305 w 9397013"/>
              <a:gd name="connsiteY3-2472" fmla="*/ 0 h 6925856"/>
              <a:gd name="connsiteX4-2473" fmla="*/ 1572296 w 9397013"/>
              <a:gd name="connsiteY4-2474" fmla="*/ 2715072 h 6925856"/>
              <a:gd name="connsiteX5-2475" fmla="*/ 1578111 w 9397013"/>
              <a:gd name="connsiteY5-2476" fmla="*/ 3835090 h 6925856"/>
              <a:gd name="connsiteX6-2477" fmla="*/ 1564463 w 9397013"/>
              <a:gd name="connsiteY6-2478" fmla="*/ 3206130 h 6925856"/>
              <a:gd name="connsiteX7-2479" fmla="*/ 3977147 w 9397013"/>
              <a:gd name="connsiteY7-2480" fmla="*/ 3723 h 6925856"/>
              <a:gd name="connsiteX8-2481" fmla="*/ 4465006 w 9397013"/>
              <a:gd name="connsiteY8-2482" fmla="*/ 840 h 6925856"/>
              <a:gd name="connsiteX9-2483" fmla="*/ 1578111 w 9397013"/>
              <a:gd name="connsiteY9-2484" fmla="*/ 3835090 h 6925856"/>
              <a:gd name="connsiteX10-2485" fmla="*/ 1573749 w 9397013"/>
              <a:gd name="connsiteY10-2486" fmla="*/ 4882781 h 6925856"/>
              <a:gd name="connsiteX11-2487" fmla="*/ 1550937 w 9397013"/>
              <a:gd name="connsiteY11-2488" fmla="*/ 4315002 h 6925856"/>
              <a:gd name="connsiteX12-2489" fmla="*/ 4805164 w 9397013"/>
              <a:gd name="connsiteY12-2490" fmla="*/ 4602 h 6925856"/>
              <a:gd name="connsiteX13-2491" fmla="*/ 5260238 w 9397013"/>
              <a:gd name="connsiteY13-2492" fmla="*/ 25779 h 6925856"/>
              <a:gd name="connsiteX14-2493" fmla="*/ 1573749 w 9397013"/>
              <a:gd name="connsiteY14-2494" fmla="*/ 4882781 h 6925856"/>
              <a:gd name="connsiteX15-2495" fmla="*/ 1580200 w 9397013"/>
              <a:gd name="connsiteY15-2496" fmla="*/ 5985735 h 6925856"/>
              <a:gd name="connsiteX16-2497" fmla="*/ 1566201 w 9397013"/>
              <a:gd name="connsiteY16-2498" fmla="*/ 5394811 h 6925856"/>
              <a:gd name="connsiteX17-2499" fmla="*/ 5641256 w 9397013"/>
              <a:gd name="connsiteY17-2500" fmla="*/ 4084 h 6925856"/>
              <a:gd name="connsiteX18-2501" fmla="*/ 6077099 w 9397013"/>
              <a:gd name="connsiteY18-2502" fmla="*/ 17286 h 6925856"/>
              <a:gd name="connsiteX19-2503" fmla="*/ 1580200 w 9397013"/>
              <a:gd name="connsiteY19-2504" fmla="*/ 5985735 h 6925856"/>
              <a:gd name="connsiteX20-2505" fmla="*/ 6958778 w 9397013"/>
              <a:gd name="connsiteY20-2506" fmla="*/ 6916619 h 6925856"/>
              <a:gd name="connsiteX21-2507" fmla="*/ 6560038 w 9397013"/>
              <a:gd name="connsiteY21-2508" fmla="*/ 6925855 h 6925856"/>
              <a:gd name="connsiteX22-2509" fmla="*/ 3849932 w 9397013"/>
              <a:gd name="connsiteY22-2510" fmla="*/ 3388318 h 6925856"/>
              <a:gd name="connsiteX23-2511" fmla="*/ 4086202 w 9397013"/>
              <a:gd name="connsiteY23-2512" fmla="*/ 3078877 h 6925856"/>
              <a:gd name="connsiteX24-2513" fmla="*/ 6958778 w 9397013"/>
              <a:gd name="connsiteY24-2514" fmla="*/ 6916619 h 6925856"/>
              <a:gd name="connsiteX25-2515" fmla="*/ 7777211 w 9397013"/>
              <a:gd name="connsiteY25-2516" fmla="*/ 6916620 h 6925856"/>
              <a:gd name="connsiteX26-2517" fmla="*/ 7324729 w 9397013"/>
              <a:gd name="connsiteY26-2518" fmla="*/ 6916620 h 6925856"/>
              <a:gd name="connsiteX27-2519" fmla="*/ 4245793 w 9397013"/>
              <a:gd name="connsiteY27-2520" fmla="*/ 2869862 h 6925856"/>
              <a:gd name="connsiteX28-2521" fmla="*/ 4490696 w 9397013"/>
              <a:gd name="connsiteY28-2522" fmla="*/ 2549117 h 6925856"/>
              <a:gd name="connsiteX29-2523" fmla="*/ 7777211 w 9397013"/>
              <a:gd name="connsiteY29-2524" fmla="*/ 6916620 h 6925856"/>
              <a:gd name="connsiteX30-2525" fmla="*/ 8567691 w 9397013"/>
              <a:gd name="connsiteY30-2526" fmla="*/ 6916619 h 6925856"/>
              <a:gd name="connsiteX31-2527" fmla="*/ 8159389 w 9397013"/>
              <a:gd name="connsiteY31-2528" fmla="*/ 6925856 h 6925856"/>
              <a:gd name="connsiteX32-2529" fmla="*/ 4650570 w 9397013"/>
              <a:gd name="connsiteY32-2530" fmla="*/ 2339732 h 6925856"/>
              <a:gd name="connsiteX33-2531" fmla="*/ 4869244 w 9397013"/>
              <a:gd name="connsiteY33-2532" fmla="*/ 2053337 h 6925856"/>
              <a:gd name="connsiteX34-2533" fmla="*/ 8567691 w 9397013"/>
              <a:gd name="connsiteY34-2534" fmla="*/ 6916619 h 6925856"/>
              <a:gd name="connsiteX35-2535" fmla="*/ 9397013 w 9397013"/>
              <a:gd name="connsiteY35-2536" fmla="*/ 6925855 h 6925856"/>
              <a:gd name="connsiteX36-2537" fmla="*/ 8921338 w 9397013"/>
              <a:gd name="connsiteY36-2538" fmla="*/ 6907383 h 6925856"/>
              <a:gd name="connsiteX37-2539" fmla="*/ 5045299 w 9397013"/>
              <a:gd name="connsiteY37-2540" fmla="*/ 1822761 h 6925856"/>
              <a:gd name="connsiteX38-2541" fmla="*/ 5273037 w 9397013"/>
              <a:gd name="connsiteY38-2542" fmla="*/ 1524494 h 6925856"/>
              <a:gd name="connsiteX39-2543" fmla="*/ 9397013 w 9397013"/>
              <a:gd name="connsiteY39-2544" fmla="*/ 6925855 h 6925856"/>
              <a:gd name="connsiteX0-2545" fmla="*/ 21359 w 7846076"/>
              <a:gd name="connsiteY0-2546" fmla="*/ 2715072 h 6925856"/>
              <a:gd name="connsiteX1-2547" fmla="*/ 28481 w 7846076"/>
              <a:gd name="connsiteY1-2548" fmla="*/ 2104139 h 6925856"/>
              <a:gd name="connsiteX2-2549" fmla="*/ 1624851 w 7846076"/>
              <a:gd name="connsiteY2-2550" fmla="*/ 4084 h 6925856"/>
              <a:gd name="connsiteX3-2551" fmla="*/ 2077368 w 7846076"/>
              <a:gd name="connsiteY3-2552" fmla="*/ 0 h 6925856"/>
              <a:gd name="connsiteX4-2553" fmla="*/ 21359 w 7846076"/>
              <a:gd name="connsiteY4-2554" fmla="*/ 2715072 h 6925856"/>
              <a:gd name="connsiteX5-2555" fmla="*/ 27174 w 7846076"/>
              <a:gd name="connsiteY5-2556" fmla="*/ 3835090 h 6925856"/>
              <a:gd name="connsiteX6-2557" fmla="*/ 13526 w 7846076"/>
              <a:gd name="connsiteY6-2558" fmla="*/ 3206130 h 6925856"/>
              <a:gd name="connsiteX7-2559" fmla="*/ 2426210 w 7846076"/>
              <a:gd name="connsiteY7-2560" fmla="*/ 3723 h 6925856"/>
              <a:gd name="connsiteX8-2561" fmla="*/ 2914069 w 7846076"/>
              <a:gd name="connsiteY8-2562" fmla="*/ 840 h 6925856"/>
              <a:gd name="connsiteX9-2563" fmla="*/ 27174 w 7846076"/>
              <a:gd name="connsiteY9-2564" fmla="*/ 3835090 h 6925856"/>
              <a:gd name="connsiteX10-2565" fmla="*/ 22812 w 7846076"/>
              <a:gd name="connsiteY10-2566" fmla="*/ 4882781 h 6925856"/>
              <a:gd name="connsiteX11-2567" fmla="*/ 0 w 7846076"/>
              <a:gd name="connsiteY11-2568" fmla="*/ 4315002 h 6925856"/>
              <a:gd name="connsiteX12-2569" fmla="*/ 3254227 w 7846076"/>
              <a:gd name="connsiteY12-2570" fmla="*/ 4602 h 6925856"/>
              <a:gd name="connsiteX13-2571" fmla="*/ 3709301 w 7846076"/>
              <a:gd name="connsiteY13-2572" fmla="*/ 25779 h 6925856"/>
              <a:gd name="connsiteX14-2573" fmla="*/ 22812 w 7846076"/>
              <a:gd name="connsiteY14-2574" fmla="*/ 4882781 h 6925856"/>
              <a:gd name="connsiteX15-2575" fmla="*/ 29263 w 7846076"/>
              <a:gd name="connsiteY15-2576" fmla="*/ 5985735 h 6925856"/>
              <a:gd name="connsiteX16-2577" fmla="*/ 15264 w 7846076"/>
              <a:gd name="connsiteY16-2578" fmla="*/ 5394811 h 6925856"/>
              <a:gd name="connsiteX17-2579" fmla="*/ 4090319 w 7846076"/>
              <a:gd name="connsiteY17-2580" fmla="*/ 4084 h 6925856"/>
              <a:gd name="connsiteX18-2581" fmla="*/ 4526162 w 7846076"/>
              <a:gd name="connsiteY18-2582" fmla="*/ 17286 h 6925856"/>
              <a:gd name="connsiteX19-2583" fmla="*/ 29263 w 7846076"/>
              <a:gd name="connsiteY19-2584" fmla="*/ 5985735 h 6925856"/>
              <a:gd name="connsiteX20-2585" fmla="*/ 5407841 w 7846076"/>
              <a:gd name="connsiteY20-2586" fmla="*/ 6916619 h 6925856"/>
              <a:gd name="connsiteX21-2587" fmla="*/ 5009101 w 7846076"/>
              <a:gd name="connsiteY21-2588" fmla="*/ 6925855 h 6925856"/>
              <a:gd name="connsiteX22-2589" fmla="*/ 2298995 w 7846076"/>
              <a:gd name="connsiteY22-2590" fmla="*/ 3388318 h 6925856"/>
              <a:gd name="connsiteX23-2591" fmla="*/ 2535265 w 7846076"/>
              <a:gd name="connsiteY23-2592" fmla="*/ 3078877 h 6925856"/>
              <a:gd name="connsiteX24-2593" fmla="*/ 5407841 w 7846076"/>
              <a:gd name="connsiteY24-2594" fmla="*/ 6916619 h 6925856"/>
              <a:gd name="connsiteX25-2595" fmla="*/ 6226274 w 7846076"/>
              <a:gd name="connsiteY25-2596" fmla="*/ 6916620 h 6925856"/>
              <a:gd name="connsiteX26-2597" fmla="*/ 5773792 w 7846076"/>
              <a:gd name="connsiteY26-2598" fmla="*/ 6916620 h 6925856"/>
              <a:gd name="connsiteX27-2599" fmla="*/ 2694856 w 7846076"/>
              <a:gd name="connsiteY27-2600" fmla="*/ 2869862 h 6925856"/>
              <a:gd name="connsiteX28-2601" fmla="*/ 2939759 w 7846076"/>
              <a:gd name="connsiteY28-2602" fmla="*/ 2549117 h 6925856"/>
              <a:gd name="connsiteX29-2603" fmla="*/ 6226274 w 7846076"/>
              <a:gd name="connsiteY29-2604" fmla="*/ 6916620 h 6925856"/>
              <a:gd name="connsiteX30-2605" fmla="*/ 7016754 w 7846076"/>
              <a:gd name="connsiteY30-2606" fmla="*/ 6916619 h 6925856"/>
              <a:gd name="connsiteX31-2607" fmla="*/ 6608452 w 7846076"/>
              <a:gd name="connsiteY31-2608" fmla="*/ 6925856 h 6925856"/>
              <a:gd name="connsiteX32-2609" fmla="*/ 3099633 w 7846076"/>
              <a:gd name="connsiteY32-2610" fmla="*/ 2339732 h 6925856"/>
              <a:gd name="connsiteX33-2611" fmla="*/ 3318307 w 7846076"/>
              <a:gd name="connsiteY33-2612" fmla="*/ 2053337 h 6925856"/>
              <a:gd name="connsiteX34-2613" fmla="*/ 7016754 w 7846076"/>
              <a:gd name="connsiteY34-2614" fmla="*/ 6916619 h 6925856"/>
              <a:gd name="connsiteX35-2615" fmla="*/ 7846076 w 7846076"/>
              <a:gd name="connsiteY35-2616" fmla="*/ 6925855 h 6925856"/>
              <a:gd name="connsiteX36-2617" fmla="*/ 7370401 w 7846076"/>
              <a:gd name="connsiteY36-2618" fmla="*/ 6907383 h 6925856"/>
              <a:gd name="connsiteX37-2619" fmla="*/ 3494362 w 7846076"/>
              <a:gd name="connsiteY37-2620" fmla="*/ 1822761 h 6925856"/>
              <a:gd name="connsiteX38-2621" fmla="*/ 3722100 w 7846076"/>
              <a:gd name="connsiteY38-2622" fmla="*/ 1524494 h 6925856"/>
              <a:gd name="connsiteX39-2623" fmla="*/ 7846076 w 7846076"/>
              <a:gd name="connsiteY39-2624" fmla="*/ 6925855 h 692585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129" y="connsiteY32-130"/>
              </a:cxn>
              <a:cxn ang="0">
                <a:pos x="connsiteX33-131" y="connsiteY33-132"/>
              </a:cxn>
              <a:cxn ang="0">
                <a:pos x="connsiteX34-133" y="connsiteY34-134"/>
              </a:cxn>
              <a:cxn ang="0">
                <a:pos x="connsiteX35-135" y="connsiteY35-136"/>
              </a:cxn>
              <a:cxn ang="0">
                <a:pos x="connsiteX36-137" y="connsiteY36-138"/>
              </a:cxn>
              <a:cxn ang="0">
                <a:pos x="connsiteX37-139" y="connsiteY37-140"/>
              </a:cxn>
              <a:cxn ang="0">
                <a:pos x="connsiteX38-141" y="connsiteY38-142"/>
              </a:cxn>
              <a:cxn ang="0">
                <a:pos x="connsiteX39-143" y="connsiteY39-144"/>
              </a:cxn>
            </a:cxnLst>
            <a:rect l="l" t="t" r="r" b="b"/>
            <a:pathLst>
              <a:path w="7846076" h="6925856">
                <a:moveTo>
                  <a:pt x="21359" y="2715072"/>
                </a:moveTo>
                <a:lnTo>
                  <a:pt x="28481" y="2104139"/>
                </a:lnTo>
                <a:lnTo>
                  <a:pt x="1624851" y="4084"/>
                </a:lnTo>
                <a:lnTo>
                  <a:pt x="2077368" y="0"/>
                </a:lnTo>
                <a:lnTo>
                  <a:pt x="21359" y="2715072"/>
                </a:lnTo>
                <a:close/>
                <a:moveTo>
                  <a:pt x="27174" y="3835090"/>
                </a:moveTo>
                <a:lnTo>
                  <a:pt x="13526" y="3206130"/>
                </a:lnTo>
                <a:lnTo>
                  <a:pt x="2426210" y="3723"/>
                </a:lnTo>
                <a:lnTo>
                  <a:pt x="2914069" y="840"/>
                </a:lnTo>
                <a:lnTo>
                  <a:pt x="27174" y="3835090"/>
                </a:lnTo>
                <a:close/>
                <a:moveTo>
                  <a:pt x="22812" y="4882781"/>
                </a:moveTo>
                <a:lnTo>
                  <a:pt x="0" y="4315002"/>
                </a:lnTo>
                <a:lnTo>
                  <a:pt x="3254227" y="4602"/>
                </a:lnTo>
                <a:lnTo>
                  <a:pt x="3709301" y="25779"/>
                </a:lnTo>
                <a:lnTo>
                  <a:pt x="22812" y="4882781"/>
                </a:lnTo>
                <a:close/>
                <a:moveTo>
                  <a:pt x="29263" y="5985735"/>
                </a:moveTo>
                <a:lnTo>
                  <a:pt x="15264" y="5394811"/>
                </a:lnTo>
                <a:lnTo>
                  <a:pt x="4090319" y="4084"/>
                </a:lnTo>
                <a:lnTo>
                  <a:pt x="4526162" y="17286"/>
                </a:lnTo>
                <a:lnTo>
                  <a:pt x="29263" y="5985735"/>
                </a:lnTo>
                <a:close/>
                <a:moveTo>
                  <a:pt x="5407841" y="6916619"/>
                </a:moveTo>
                <a:lnTo>
                  <a:pt x="5009101" y="6925855"/>
                </a:lnTo>
                <a:lnTo>
                  <a:pt x="2298995" y="3388318"/>
                </a:lnTo>
                <a:lnTo>
                  <a:pt x="2535265" y="3078877"/>
                </a:lnTo>
                <a:lnTo>
                  <a:pt x="5407841" y="6916619"/>
                </a:lnTo>
                <a:close/>
                <a:moveTo>
                  <a:pt x="6226274" y="6916620"/>
                </a:moveTo>
                <a:lnTo>
                  <a:pt x="5773792" y="6916620"/>
                </a:lnTo>
                <a:lnTo>
                  <a:pt x="2694856" y="2869862"/>
                </a:lnTo>
                <a:lnTo>
                  <a:pt x="2939759" y="2549117"/>
                </a:lnTo>
                <a:lnTo>
                  <a:pt x="6226274" y="6916620"/>
                </a:lnTo>
                <a:close/>
                <a:moveTo>
                  <a:pt x="7016754" y="6916619"/>
                </a:moveTo>
                <a:lnTo>
                  <a:pt x="6608452" y="6925856"/>
                </a:lnTo>
                <a:lnTo>
                  <a:pt x="3099633" y="2339732"/>
                </a:lnTo>
                <a:lnTo>
                  <a:pt x="3318307" y="2053337"/>
                </a:lnTo>
                <a:lnTo>
                  <a:pt x="7016754" y="6916619"/>
                </a:lnTo>
                <a:close/>
                <a:moveTo>
                  <a:pt x="7846076" y="6925855"/>
                </a:moveTo>
                <a:lnTo>
                  <a:pt x="7370401" y="6907383"/>
                </a:lnTo>
                <a:lnTo>
                  <a:pt x="3494362" y="1822761"/>
                </a:lnTo>
                <a:lnTo>
                  <a:pt x="3722100" y="1524494"/>
                </a:lnTo>
                <a:lnTo>
                  <a:pt x="7846076" y="6925855"/>
                </a:lnTo>
                <a:close/>
              </a:path>
            </a:pathLst>
          </a:custGeom>
          <a:solidFill>
            <a:schemeClr val="bg1">
              <a:lumMod val="9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5" name="文本框 4"/>
          <p:cNvSpPr txBox="1"/>
          <p:nvPr/>
        </p:nvSpPr>
        <p:spPr>
          <a:xfrm>
            <a:off x="602079" y="1143211"/>
            <a:ext cx="10918408" cy="1289456"/>
          </a:xfrm>
          <a:prstGeom prst="rect">
            <a:avLst/>
          </a:prstGeom>
          <a:noFill/>
        </p:spPr>
        <p:txBody>
          <a:bodyPr wrap="square" rtlCol="0">
            <a:spAutoFit/>
          </a:bodyPr>
          <a:lstStyle/>
          <a:p>
            <a:pPr>
              <a:lnSpc>
                <a:spcPct val="150000"/>
              </a:lnSpc>
            </a:pPr>
            <a:r>
              <a:rPr lang="zh-CN" altLang="en-US" dirty="0"/>
              <a:t>论文创新性与投录时间存在显著的正相关关系，当创新性从</a:t>
            </a:r>
            <a:r>
              <a:rPr lang="en-US" altLang="zh-CN" dirty="0"/>
              <a:t>-0.1</a:t>
            </a:r>
            <a:r>
              <a:rPr lang="zh-CN" altLang="en-US" dirty="0"/>
              <a:t>增长到</a:t>
            </a:r>
            <a:r>
              <a:rPr lang="en-US" altLang="zh-CN" dirty="0"/>
              <a:t>0.1</a:t>
            </a:r>
            <a:r>
              <a:rPr lang="zh-CN" altLang="en-US" dirty="0"/>
              <a:t>时，估计的投录时间可从</a:t>
            </a:r>
            <a:r>
              <a:rPr lang="en-US" altLang="zh-CN" dirty="0"/>
              <a:t>100</a:t>
            </a:r>
            <a:r>
              <a:rPr lang="zh-CN" altLang="en-US" dirty="0"/>
              <a:t>天增长至</a:t>
            </a:r>
            <a:r>
              <a:rPr lang="en-US" altLang="zh-CN" dirty="0"/>
              <a:t>137</a:t>
            </a:r>
            <a:r>
              <a:rPr lang="zh-CN" altLang="en-US" dirty="0"/>
              <a:t>天</a:t>
            </a:r>
            <a:endParaRPr lang="en-US" altLang="zh-CN" dirty="0"/>
          </a:p>
          <a:p>
            <a:pPr>
              <a:lnSpc>
                <a:spcPct val="150000"/>
              </a:lnSpc>
            </a:pPr>
            <a:r>
              <a:rPr lang="zh-CN" altLang="en-US" dirty="0"/>
              <a:t>（注：因部分文献缺少学科信息未纳入回归分析）</a:t>
            </a:r>
            <a:endParaRPr lang="en-US" altLang="zh-CN" dirty="0"/>
          </a:p>
        </p:txBody>
      </p:sp>
      <p:sp>
        <p:nvSpPr>
          <p:cNvPr id="2" name="íšľîḓê"/>
          <p:cNvSpPr>
            <a:spLocks noGrp="1"/>
          </p:cNvSpPr>
          <p:nvPr>
            <p:ph type="title"/>
          </p:nvPr>
        </p:nvSpPr>
        <p:spPr/>
        <p:txBody>
          <a:bodyPr/>
          <a:lstStyle/>
          <a:p>
            <a:r>
              <a:rPr lang="en-US" altLang="zh-CN" dirty="0"/>
              <a:t>3. </a:t>
            </a:r>
            <a:r>
              <a:rPr lang="zh-CN" altLang="en-US" dirty="0"/>
              <a:t>研究结果 </a:t>
            </a:r>
            <a:r>
              <a:rPr lang="en-US" altLang="zh-CN" dirty="0"/>
              <a:t>– </a:t>
            </a:r>
            <a:r>
              <a:rPr lang="zh-CN" altLang="en-US" dirty="0"/>
              <a:t>回归分析</a:t>
            </a:r>
            <a:endParaRPr lang="zh-CN" altLang="en-US" dirty="0"/>
          </a:p>
        </p:txBody>
      </p:sp>
      <p:pic>
        <p:nvPicPr>
          <p:cNvPr id="3" name="图片 2"/>
          <p:cNvPicPr>
            <a:picLocks noChangeAspect="1"/>
          </p:cNvPicPr>
          <p:nvPr/>
        </p:nvPicPr>
        <p:blipFill>
          <a:blip r:embed="rId1"/>
          <a:stretch>
            <a:fillRect/>
          </a:stretch>
        </p:blipFill>
        <p:spPr>
          <a:xfrm>
            <a:off x="669924" y="2667249"/>
            <a:ext cx="7533566" cy="3779595"/>
          </a:xfrm>
          <a:prstGeom prst="rect">
            <a:avLst/>
          </a:prstGeom>
        </p:spPr>
      </p:pic>
      <p:pic>
        <p:nvPicPr>
          <p:cNvPr id="7" name="图片 6"/>
          <p:cNvPicPr>
            <a:picLocks noChangeAspect="1"/>
          </p:cNvPicPr>
          <p:nvPr/>
        </p:nvPicPr>
        <p:blipFill>
          <a:blip r:embed="rId2"/>
          <a:stretch>
            <a:fillRect/>
          </a:stretch>
        </p:blipFill>
        <p:spPr>
          <a:xfrm>
            <a:off x="8101262" y="2859421"/>
            <a:ext cx="3928562" cy="3175418"/>
          </a:xfrm>
          <a:prstGeom prst="rect">
            <a:avLst/>
          </a:prstGeom>
        </p:spPr>
      </p:pic>
    </p:spTree>
    <p:custDataLst>
      <p:tags r:id="rId3"/>
    </p:custData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iṣlide"/>
        <p:cNvGrpSpPr/>
        <p:nvPr/>
      </p:nvGrpSpPr>
      <p:grpSpPr>
        <a:xfrm>
          <a:off x="0" y="0"/>
          <a:ext cx="0" cy="0"/>
          <a:chOff x="0" y="0"/>
          <a:chExt cx="0" cy="0"/>
        </a:xfrm>
      </p:grpSpPr>
      <p:sp>
        <p:nvSpPr>
          <p:cNvPr id="4" name="ïṣḷide"/>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110" name="íṥļîďè"/>
          <p:cNvSpPr/>
          <p:nvPr/>
        </p:nvSpPr>
        <p:spPr>
          <a:xfrm rot="10800000">
            <a:off x="4396104" y="0"/>
            <a:ext cx="7846076" cy="6857999"/>
          </a:xfrm>
          <a:custGeom>
            <a:avLst/>
            <a:gdLst>
              <a:gd name="connsiteX0" fmla="*/ 168369 w 9517086"/>
              <a:gd name="connsiteY0" fmla="*/ 4779933 h 7291226"/>
              <a:gd name="connsiteX1" fmla="*/ 0 w 9517086"/>
              <a:gd name="connsiteY1" fmla="*/ 4409146 h 7291226"/>
              <a:gd name="connsiteX2" fmla="*/ 3332806 w 9517086"/>
              <a:gd name="connsiteY2" fmla="*/ 0 h 7291226"/>
              <a:gd name="connsiteX3" fmla="*/ 3794560 w 9517086"/>
              <a:gd name="connsiteY3" fmla="*/ 32861 h 7291226"/>
              <a:gd name="connsiteX4" fmla="*/ 488220 w 9517086"/>
              <a:gd name="connsiteY4" fmla="*/ 5484315 h 7291226"/>
              <a:gd name="connsiteX5" fmla="*/ 299082 w 9517086"/>
              <a:gd name="connsiteY5" fmla="*/ 5067791 h 7291226"/>
              <a:gd name="connsiteX6" fmla="*/ 4106456 w 9517086"/>
              <a:gd name="connsiteY6" fmla="*/ 55057 h 7291226"/>
              <a:gd name="connsiteX7" fmla="*/ 4585079 w 9517086"/>
              <a:gd name="connsiteY7" fmla="*/ 89119 h 7291226"/>
              <a:gd name="connsiteX8" fmla="*/ 779421 w 9517086"/>
              <a:gd name="connsiteY8" fmla="*/ 6125606 h 7291226"/>
              <a:gd name="connsiteX9" fmla="*/ 618065 w 9517086"/>
              <a:gd name="connsiteY9" fmla="*/ 5770263 h 7291226"/>
              <a:gd name="connsiteX10" fmla="*/ 4897528 w 9517086"/>
              <a:gd name="connsiteY10" fmla="*/ 111354 h 7291226"/>
              <a:gd name="connsiteX11" fmla="*/ 5324893 w 9517086"/>
              <a:gd name="connsiteY11" fmla="*/ 141768 h 7291226"/>
              <a:gd name="connsiteX12" fmla="*/ 1099910 w 9517086"/>
              <a:gd name="connsiteY12" fmla="*/ 6831395 h 7291226"/>
              <a:gd name="connsiteX13" fmla="*/ 919656 w 9517086"/>
              <a:gd name="connsiteY13" fmla="*/ 6434435 h 7291226"/>
              <a:gd name="connsiteX14" fmla="*/ 5668965 w 9517086"/>
              <a:gd name="connsiteY14" fmla="*/ 166254 h 7291226"/>
              <a:gd name="connsiteX15" fmla="*/ 6114044 w 9517086"/>
              <a:gd name="connsiteY15" fmla="*/ 197929 h 7291226"/>
              <a:gd name="connsiteX16" fmla="*/ 7106560 w 9517086"/>
              <a:gd name="connsiteY16" fmla="*/ 7291226 h 7291226"/>
              <a:gd name="connsiteX17" fmla="*/ 6670875 w 9517086"/>
              <a:gd name="connsiteY17" fmla="*/ 7291226 h 7291226"/>
              <a:gd name="connsiteX18" fmla="*/ 3849932 w 9517086"/>
              <a:gd name="connsiteY18" fmla="*/ 3596670 h 7291226"/>
              <a:gd name="connsiteX19" fmla="*/ 4086202 w 9517086"/>
              <a:gd name="connsiteY19" fmla="*/ 3287229 h 7291226"/>
              <a:gd name="connsiteX20" fmla="*/ 7934229 w 9517086"/>
              <a:gd name="connsiteY20" fmla="*/ 7291226 h 7291226"/>
              <a:gd name="connsiteX21" fmla="*/ 7444802 w 9517086"/>
              <a:gd name="connsiteY21" fmla="*/ 7291226 h 7291226"/>
              <a:gd name="connsiteX22" fmla="*/ 4245793 w 9517086"/>
              <a:gd name="connsiteY22" fmla="*/ 3078214 h 7291226"/>
              <a:gd name="connsiteX23" fmla="*/ 4490696 w 9517086"/>
              <a:gd name="connsiteY23" fmla="*/ 2757469 h 7291226"/>
              <a:gd name="connsiteX24" fmla="*/ 8687764 w 9517086"/>
              <a:gd name="connsiteY24" fmla="*/ 7291226 h 7291226"/>
              <a:gd name="connsiteX25" fmla="*/ 8270226 w 9517086"/>
              <a:gd name="connsiteY25" fmla="*/ 7291226 h 7291226"/>
              <a:gd name="connsiteX26" fmla="*/ 4650570 w 9517086"/>
              <a:gd name="connsiteY26" fmla="*/ 2548084 h 7291226"/>
              <a:gd name="connsiteX27" fmla="*/ 4869244 w 9517086"/>
              <a:gd name="connsiteY27" fmla="*/ 2261689 h 7291226"/>
              <a:gd name="connsiteX28" fmla="*/ 9517086 w 9517086"/>
              <a:gd name="connsiteY28" fmla="*/ 7291226 h 7291226"/>
              <a:gd name="connsiteX29" fmla="*/ 9050647 w 9517086"/>
              <a:gd name="connsiteY29" fmla="*/ 7291226 h 7291226"/>
              <a:gd name="connsiteX30" fmla="*/ 5045299 w 9517086"/>
              <a:gd name="connsiteY30" fmla="*/ 2031113 h 7291226"/>
              <a:gd name="connsiteX31" fmla="*/ 5273037 w 9517086"/>
              <a:gd name="connsiteY31" fmla="*/ 1732846 h 7291226"/>
              <a:gd name="connsiteX0-1" fmla="*/ 168369 w 9378540"/>
              <a:gd name="connsiteY0-2" fmla="*/ 4779933 h 7291226"/>
              <a:gd name="connsiteX1-3" fmla="*/ 0 w 9378540"/>
              <a:gd name="connsiteY1-4" fmla="*/ 4409146 h 7291226"/>
              <a:gd name="connsiteX2-5" fmla="*/ 3332806 w 9378540"/>
              <a:gd name="connsiteY2-6" fmla="*/ 0 h 7291226"/>
              <a:gd name="connsiteX3-7" fmla="*/ 3794560 w 9378540"/>
              <a:gd name="connsiteY3-8" fmla="*/ 32861 h 7291226"/>
              <a:gd name="connsiteX4-9" fmla="*/ 168369 w 9378540"/>
              <a:gd name="connsiteY4-10" fmla="*/ 4779933 h 7291226"/>
              <a:gd name="connsiteX5-11" fmla="*/ 488220 w 9378540"/>
              <a:gd name="connsiteY5-12" fmla="*/ 5484315 h 7291226"/>
              <a:gd name="connsiteX6-13" fmla="*/ 299082 w 9378540"/>
              <a:gd name="connsiteY6-14" fmla="*/ 5067791 h 7291226"/>
              <a:gd name="connsiteX7-15" fmla="*/ 4106456 w 9378540"/>
              <a:gd name="connsiteY7-16" fmla="*/ 55057 h 7291226"/>
              <a:gd name="connsiteX8-17" fmla="*/ 4585079 w 9378540"/>
              <a:gd name="connsiteY8-18" fmla="*/ 89119 h 7291226"/>
              <a:gd name="connsiteX9-19" fmla="*/ 488220 w 9378540"/>
              <a:gd name="connsiteY9-20" fmla="*/ 5484315 h 7291226"/>
              <a:gd name="connsiteX10-21" fmla="*/ 779421 w 9378540"/>
              <a:gd name="connsiteY10-22" fmla="*/ 6125606 h 7291226"/>
              <a:gd name="connsiteX11-23" fmla="*/ 618065 w 9378540"/>
              <a:gd name="connsiteY11-24" fmla="*/ 5770263 h 7291226"/>
              <a:gd name="connsiteX12-25" fmla="*/ 4897528 w 9378540"/>
              <a:gd name="connsiteY12-26" fmla="*/ 111354 h 7291226"/>
              <a:gd name="connsiteX13-27" fmla="*/ 5324893 w 9378540"/>
              <a:gd name="connsiteY13-28" fmla="*/ 141768 h 7291226"/>
              <a:gd name="connsiteX14-29" fmla="*/ 779421 w 9378540"/>
              <a:gd name="connsiteY14-30" fmla="*/ 6125606 h 7291226"/>
              <a:gd name="connsiteX15-31" fmla="*/ 1099910 w 9378540"/>
              <a:gd name="connsiteY15-32" fmla="*/ 6831395 h 7291226"/>
              <a:gd name="connsiteX16-33" fmla="*/ 919656 w 9378540"/>
              <a:gd name="connsiteY16-34" fmla="*/ 6434435 h 7291226"/>
              <a:gd name="connsiteX17-35" fmla="*/ 5668965 w 9378540"/>
              <a:gd name="connsiteY17-36" fmla="*/ 166254 h 7291226"/>
              <a:gd name="connsiteX18-37" fmla="*/ 6114044 w 9378540"/>
              <a:gd name="connsiteY18-38" fmla="*/ 197929 h 7291226"/>
              <a:gd name="connsiteX19-39" fmla="*/ 1099910 w 9378540"/>
              <a:gd name="connsiteY19-40" fmla="*/ 6831395 h 7291226"/>
              <a:gd name="connsiteX20-41" fmla="*/ 7106560 w 9378540"/>
              <a:gd name="connsiteY20-42" fmla="*/ 7291226 h 7291226"/>
              <a:gd name="connsiteX21-43" fmla="*/ 6670875 w 9378540"/>
              <a:gd name="connsiteY21-44" fmla="*/ 7291226 h 7291226"/>
              <a:gd name="connsiteX22-45" fmla="*/ 3849932 w 9378540"/>
              <a:gd name="connsiteY22-46" fmla="*/ 3596670 h 7291226"/>
              <a:gd name="connsiteX23-47" fmla="*/ 4086202 w 9378540"/>
              <a:gd name="connsiteY23-48" fmla="*/ 3287229 h 7291226"/>
              <a:gd name="connsiteX24-49" fmla="*/ 7106560 w 9378540"/>
              <a:gd name="connsiteY24-50" fmla="*/ 7291226 h 7291226"/>
              <a:gd name="connsiteX25-51" fmla="*/ 7934229 w 9378540"/>
              <a:gd name="connsiteY25-52" fmla="*/ 7291226 h 7291226"/>
              <a:gd name="connsiteX26-53" fmla="*/ 7444802 w 9378540"/>
              <a:gd name="connsiteY26-54" fmla="*/ 7291226 h 7291226"/>
              <a:gd name="connsiteX27-55" fmla="*/ 4245793 w 9378540"/>
              <a:gd name="connsiteY27-56" fmla="*/ 3078214 h 7291226"/>
              <a:gd name="connsiteX28-57" fmla="*/ 4490696 w 9378540"/>
              <a:gd name="connsiteY28-58" fmla="*/ 2757469 h 7291226"/>
              <a:gd name="connsiteX29-59" fmla="*/ 7934229 w 9378540"/>
              <a:gd name="connsiteY29-60" fmla="*/ 7291226 h 7291226"/>
              <a:gd name="connsiteX30-61" fmla="*/ 8687764 w 9378540"/>
              <a:gd name="connsiteY30-62" fmla="*/ 7291226 h 7291226"/>
              <a:gd name="connsiteX31-63" fmla="*/ 8270226 w 9378540"/>
              <a:gd name="connsiteY31-64" fmla="*/ 7291226 h 7291226"/>
              <a:gd name="connsiteX32" fmla="*/ 4650570 w 9378540"/>
              <a:gd name="connsiteY32" fmla="*/ 2548084 h 7291226"/>
              <a:gd name="connsiteX33" fmla="*/ 4869244 w 9378540"/>
              <a:gd name="connsiteY33" fmla="*/ 2261689 h 7291226"/>
              <a:gd name="connsiteX34" fmla="*/ 8687764 w 9378540"/>
              <a:gd name="connsiteY34" fmla="*/ 7291226 h 7291226"/>
              <a:gd name="connsiteX35" fmla="*/ 9378540 w 9378540"/>
              <a:gd name="connsiteY35" fmla="*/ 7097262 h 7291226"/>
              <a:gd name="connsiteX36" fmla="*/ 9050647 w 9378540"/>
              <a:gd name="connsiteY36" fmla="*/ 7291226 h 7291226"/>
              <a:gd name="connsiteX37" fmla="*/ 5045299 w 9378540"/>
              <a:gd name="connsiteY37" fmla="*/ 2031113 h 7291226"/>
              <a:gd name="connsiteX38" fmla="*/ 5273037 w 9378540"/>
              <a:gd name="connsiteY38" fmla="*/ 1732846 h 7291226"/>
              <a:gd name="connsiteX39" fmla="*/ 9378540 w 9378540"/>
              <a:gd name="connsiteY39" fmla="*/ 7097262 h 7291226"/>
              <a:gd name="connsiteX0-65" fmla="*/ 168369 w 9378540"/>
              <a:gd name="connsiteY0-66" fmla="*/ 4779933 h 7291226"/>
              <a:gd name="connsiteX1-67" fmla="*/ 0 w 9378540"/>
              <a:gd name="connsiteY1-68" fmla="*/ 4409146 h 7291226"/>
              <a:gd name="connsiteX2-69" fmla="*/ 3332806 w 9378540"/>
              <a:gd name="connsiteY2-70" fmla="*/ 0 h 7291226"/>
              <a:gd name="connsiteX3-71" fmla="*/ 3794560 w 9378540"/>
              <a:gd name="connsiteY3-72" fmla="*/ 32861 h 7291226"/>
              <a:gd name="connsiteX4-73" fmla="*/ 168369 w 9378540"/>
              <a:gd name="connsiteY4-74" fmla="*/ 4779933 h 7291226"/>
              <a:gd name="connsiteX5-75" fmla="*/ 488220 w 9378540"/>
              <a:gd name="connsiteY5-76" fmla="*/ 5484315 h 7291226"/>
              <a:gd name="connsiteX6-77" fmla="*/ 299082 w 9378540"/>
              <a:gd name="connsiteY6-78" fmla="*/ 5067791 h 7291226"/>
              <a:gd name="connsiteX7-79" fmla="*/ 4106456 w 9378540"/>
              <a:gd name="connsiteY7-80" fmla="*/ 55057 h 7291226"/>
              <a:gd name="connsiteX8-81" fmla="*/ 4585079 w 9378540"/>
              <a:gd name="connsiteY8-82" fmla="*/ 89119 h 7291226"/>
              <a:gd name="connsiteX9-83" fmla="*/ 488220 w 9378540"/>
              <a:gd name="connsiteY9-84" fmla="*/ 5484315 h 7291226"/>
              <a:gd name="connsiteX10-85" fmla="*/ 779421 w 9378540"/>
              <a:gd name="connsiteY10-86" fmla="*/ 6125606 h 7291226"/>
              <a:gd name="connsiteX11-87" fmla="*/ 618065 w 9378540"/>
              <a:gd name="connsiteY11-88" fmla="*/ 5770263 h 7291226"/>
              <a:gd name="connsiteX12-89" fmla="*/ 4897528 w 9378540"/>
              <a:gd name="connsiteY12-90" fmla="*/ 111354 h 7291226"/>
              <a:gd name="connsiteX13-91" fmla="*/ 5324893 w 9378540"/>
              <a:gd name="connsiteY13-92" fmla="*/ 141768 h 7291226"/>
              <a:gd name="connsiteX14-93" fmla="*/ 779421 w 9378540"/>
              <a:gd name="connsiteY14-94" fmla="*/ 6125606 h 7291226"/>
              <a:gd name="connsiteX15-95" fmla="*/ 1099910 w 9378540"/>
              <a:gd name="connsiteY15-96" fmla="*/ 6831395 h 7291226"/>
              <a:gd name="connsiteX16-97" fmla="*/ 919656 w 9378540"/>
              <a:gd name="connsiteY16-98" fmla="*/ 6434435 h 7291226"/>
              <a:gd name="connsiteX17-99" fmla="*/ 5668965 w 9378540"/>
              <a:gd name="connsiteY17-100" fmla="*/ 166254 h 7291226"/>
              <a:gd name="connsiteX18-101" fmla="*/ 6114044 w 9378540"/>
              <a:gd name="connsiteY18-102" fmla="*/ 197929 h 7291226"/>
              <a:gd name="connsiteX19-103" fmla="*/ 1099910 w 9378540"/>
              <a:gd name="connsiteY19-104" fmla="*/ 6831395 h 7291226"/>
              <a:gd name="connsiteX20-105" fmla="*/ 7106560 w 9378540"/>
              <a:gd name="connsiteY20-106" fmla="*/ 7291226 h 7291226"/>
              <a:gd name="connsiteX21-107" fmla="*/ 6670875 w 9378540"/>
              <a:gd name="connsiteY21-108" fmla="*/ 7291226 h 7291226"/>
              <a:gd name="connsiteX22-109" fmla="*/ 3849932 w 9378540"/>
              <a:gd name="connsiteY22-110" fmla="*/ 3596670 h 7291226"/>
              <a:gd name="connsiteX23-111" fmla="*/ 4086202 w 9378540"/>
              <a:gd name="connsiteY23-112" fmla="*/ 3287229 h 7291226"/>
              <a:gd name="connsiteX24-113" fmla="*/ 7106560 w 9378540"/>
              <a:gd name="connsiteY24-114" fmla="*/ 7291226 h 7291226"/>
              <a:gd name="connsiteX25-115" fmla="*/ 7934229 w 9378540"/>
              <a:gd name="connsiteY25-116" fmla="*/ 7291226 h 7291226"/>
              <a:gd name="connsiteX26-117" fmla="*/ 7444802 w 9378540"/>
              <a:gd name="connsiteY26-118" fmla="*/ 7291226 h 7291226"/>
              <a:gd name="connsiteX27-119" fmla="*/ 4245793 w 9378540"/>
              <a:gd name="connsiteY27-120" fmla="*/ 3078214 h 7291226"/>
              <a:gd name="connsiteX28-121" fmla="*/ 4490696 w 9378540"/>
              <a:gd name="connsiteY28-122" fmla="*/ 2757469 h 7291226"/>
              <a:gd name="connsiteX29-123" fmla="*/ 7934229 w 9378540"/>
              <a:gd name="connsiteY29-124" fmla="*/ 7291226 h 7291226"/>
              <a:gd name="connsiteX30-125" fmla="*/ 8687764 w 9378540"/>
              <a:gd name="connsiteY30-126" fmla="*/ 7291226 h 7291226"/>
              <a:gd name="connsiteX31-127" fmla="*/ 8270226 w 9378540"/>
              <a:gd name="connsiteY31-128" fmla="*/ 7291226 h 7291226"/>
              <a:gd name="connsiteX32-129" fmla="*/ 4650570 w 9378540"/>
              <a:gd name="connsiteY32-130" fmla="*/ 2548084 h 7291226"/>
              <a:gd name="connsiteX33-131" fmla="*/ 4869244 w 9378540"/>
              <a:gd name="connsiteY33-132" fmla="*/ 2261689 h 7291226"/>
              <a:gd name="connsiteX34-133" fmla="*/ 8687764 w 9378540"/>
              <a:gd name="connsiteY34-134" fmla="*/ 7291226 h 7291226"/>
              <a:gd name="connsiteX35-135" fmla="*/ 9378540 w 9378540"/>
              <a:gd name="connsiteY35-136" fmla="*/ 7097262 h 7291226"/>
              <a:gd name="connsiteX36-137" fmla="*/ 8921338 w 9378540"/>
              <a:gd name="connsiteY36-138" fmla="*/ 7115735 h 7291226"/>
              <a:gd name="connsiteX37-139" fmla="*/ 5045299 w 9378540"/>
              <a:gd name="connsiteY37-140" fmla="*/ 2031113 h 7291226"/>
              <a:gd name="connsiteX38-141" fmla="*/ 5273037 w 9378540"/>
              <a:gd name="connsiteY38-142" fmla="*/ 1732846 h 7291226"/>
              <a:gd name="connsiteX39-143" fmla="*/ 9378540 w 9378540"/>
              <a:gd name="connsiteY39-144" fmla="*/ 7097262 h 7291226"/>
              <a:gd name="connsiteX0-145" fmla="*/ 168369 w 9397013"/>
              <a:gd name="connsiteY0-146" fmla="*/ 4779933 h 7291226"/>
              <a:gd name="connsiteX1-147" fmla="*/ 0 w 9397013"/>
              <a:gd name="connsiteY1-148" fmla="*/ 4409146 h 7291226"/>
              <a:gd name="connsiteX2-149" fmla="*/ 3332806 w 9397013"/>
              <a:gd name="connsiteY2-150" fmla="*/ 0 h 7291226"/>
              <a:gd name="connsiteX3-151" fmla="*/ 3794560 w 9397013"/>
              <a:gd name="connsiteY3-152" fmla="*/ 32861 h 7291226"/>
              <a:gd name="connsiteX4-153" fmla="*/ 168369 w 9397013"/>
              <a:gd name="connsiteY4-154" fmla="*/ 4779933 h 7291226"/>
              <a:gd name="connsiteX5-155" fmla="*/ 488220 w 9397013"/>
              <a:gd name="connsiteY5-156" fmla="*/ 5484315 h 7291226"/>
              <a:gd name="connsiteX6-157" fmla="*/ 299082 w 9397013"/>
              <a:gd name="connsiteY6-158" fmla="*/ 5067791 h 7291226"/>
              <a:gd name="connsiteX7-159" fmla="*/ 4106456 w 9397013"/>
              <a:gd name="connsiteY7-160" fmla="*/ 55057 h 7291226"/>
              <a:gd name="connsiteX8-161" fmla="*/ 4585079 w 9397013"/>
              <a:gd name="connsiteY8-162" fmla="*/ 89119 h 7291226"/>
              <a:gd name="connsiteX9-163" fmla="*/ 488220 w 9397013"/>
              <a:gd name="connsiteY9-164" fmla="*/ 5484315 h 7291226"/>
              <a:gd name="connsiteX10-165" fmla="*/ 779421 w 9397013"/>
              <a:gd name="connsiteY10-166" fmla="*/ 6125606 h 7291226"/>
              <a:gd name="connsiteX11-167" fmla="*/ 618065 w 9397013"/>
              <a:gd name="connsiteY11-168" fmla="*/ 5770263 h 7291226"/>
              <a:gd name="connsiteX12-169" fmla="*/ 4897528 w 9397013"/>
              <a:gd name="connsiteY12-170" fmla="*/ 111354 h 7291226"/>
              <a:gd name="connsiteX13-171" fmla="*/ 5324893 w 9397013"/>
              <a:gd name="connsiteY13-172" fmla="*/ 141768 h 7291226"/>
              <a:gd name="connsiteX14-173" fmla="*/ 779421 w 9397013"/>
              <a:gd name="connsiteY14-174" fmla="*/ 6125606 h 7291226"/>
              <a:gd name="connsiteX15-175" fmla="*/ 1099910 w 9397013"/>
              <a:gd name="connsiteY15-176" fmla="*/ 6831395 h 7291226"/>
              <a:gd name="connsiteX16-177" fmla="*/ 919656 w 9397013"/>
              <a:gd name="connsiteY16-178" fmla="*/ 6434435 h 7291226"/>
              <a:gd name="connsiteX17-179" fmla="*/ 5668965 w 9397013"/>
              <a:gd name="connsiteY17-180" fmla="*/ 166254 h 7291226"/>
              <a:gd name="connsiteX18-181" fmla="*/ 6114044 w 9397013"/>
              <a:gd name="connsiteY18-182" fmla="*/ 197929 h 7291226"/>
              <a:gd name="connsiteX19-183" fmla="*/ 1099910 w 9397013"/>
              <a:gd name="connsiteY19-184" fmla="*/ 6831395 h 7291226"/>
              <a:gd name="connsiteX20-185" fmla="*/ 7106560 w 9397013"/>
              <a:gd name="connsiteY20-186" fmla="*/ 7291226 h 7291226"/>
              <a:gd name="connsiteX21-187" fmla="*/ 6670875 w 9397013"/>
              <a:gd name="connsiteY21-188" fmla="*/ 7291226 h 7291226"/>
              <a:gd name="connsiteX22-189" fmla="*/ 3849932 w 9397013"/>
              <a:gd name="connsiteY22-190" fmla="*/ 3596670 h 7291226"/>
              <a:gd name="connsiteX23-191" fmla="*/ 4086202 w 9397013"/>
              <a:gd name="connsiteY23-192" fmla="*/ 3287229 h 7291226"/>
              <a:gd name="connsiteX24-193" fmla="*/ 7106560 w 9397013"/>
              <a:gd name="connsiteY24-194" fmla="*/ 7291226 h 7291226"/>
              <a:gd name="connsiteX25-195" fmla="*/ 7934229 w 9397013"/>
              <a:gd name="connsiteY25-196" fmla="*/ 7291226 h 7291226"/>
              <a:gd name="connsiteX26-197" fmla="*/ 7444802 w 9397013"/>
              <a:gd name="connsiteY26-198" fmla="*/ 7291226 h 7291226"/>
              <a:gd name="connsiteX27-199" fmla="*/ 4245793 w 9397013"/>
              <a:gd name="connsiteY27-200" fmla="*/ 3078214 h 7291226"/>
              <a:gd name="connsiteX28-201" fmla="*/ 4490696 w 9397013"/>
              <a:gd name="connsiteY28-202" fmla="*/ 2757469 h 7291226"/>
              <a:gd name="connsiteX29-203" fmla="*/ 7934229 w 9397013"/>
              <a:gd name="connsiteY29-204" fmla="*/ 7291226 h 7291226"/>
              <a:gd name="connsiteX30-205" fmla="*/ 8687764 w 9397013"/>
              <a:gd name="connsiteY30-206" fmla="*/ 7291226 h 7291226"/>
              <a:gd name="connsiteX31-207" fmla="*/ 8270226 w 9397013"/>
              <a:gd name="connsiteY31-208" fmla="*/ 7291226 h 7291226"/>
              <a:gd name="connsiteX32-209" fmla="*/ 4650570 w 9397013"/>
              <a:gd name="connsiteY32-210" fmla="*/ 2548084 h 7291226"/>
              <a:gd name="connsiteX33-211" fmla="*/ 4869244 w 9397013"/>
              <a:gd name="connsiteY33-212" fmla="*/ 2261689 h 7291226"/>
              <a:gd name="connsiteX34-213" fmla="*/ 8687764 w 9397013"/>
              <a:gd name="connsiteY34-214" fmla="*/ 7291226 h 7291226"/>
              <a:gd name="connsiteX35-215" fmla="*/ 9397013 w 9397013"/>
              <a:gd name="connsiteY35-216" fmla="*/ 7134207 h 7291226"/>
              <a:gd name="connsiteX36-217" fmla="*/ 8921338 w 9397013"/>
              <a:gd name="connsiteY36-218" fmla="*/ 7115735 h 7291226"/>
              <a:gd name="connsiteX37-219" fmla="*/ 5045299 w 9397013"/>
              <a:gd name="connsiteY37-220" fmla="*/ 2031113 h 7291226"/>
              <a:gd name="connsiteX38-221" fmla="*/ 5273037 w 9397013"/>
              <a:gd name="connsiteY38-222" fmla="*/ 1732846 h 7291226"/>
              <a:gd name="connsiteX39-223" fmla="*/ 9397013 w 9397013"/>
              <a:gd name="connsiteY39-224" fmla="*/ 7134207 h 7291226"/>
              <a:gd name="connsiteX0-225" fmla="*/ 168369 w 9397013"/>
              <a:gd name="connsiteY0-226" fmla="*/ 4779933 h 7291226"/>
              <a:gd name="connsiteX1-227" fmla="*/ 0 w 9397013"/>
              <a:gd name="connsiteY1-228" fmla="*/ 4409146 h 7291226"/>
              <a:gd name="connsiteX2-229" fmla="*/ 3332806 w 9397013"/>
              <a:gd name="connsiteY2-230" fmla="*/ 0 h 7291226"/>
              <a:gd name="connsiteX3-231" fmla="*/ 3794560 w 9397013"/>
              <a:gd name="connsiteY3-232" fmla="*/ 32861 h 7291226"/>
              <a:gd name="connsiteX4-233" fmla="*/ 168369 w 9397013"/>
              <a:gd name="connsiteY4-234" fmla="*/ 4779933 h 7291226"/>
              <a:gd name="connsiteX5-235" fmla="*/ 488220 w 9397013"/>
              <a:gd name="connsiteY5-236" fmla="*/ 5484315 h 7291226"/>
              <a:gd name="connsiteX6-237" fmla="*/ 299082 w 9397013"/>
              <a:gd name="connsiteY6-238" fmla="*/ 5067791 h 7291226"/>
              <a:gd name="connsiteX7-239" fmla="*/ 4106456 w 9397013"/>
              <a:gd name="connsiteY7-240" fmla="*/ 55057 h 7291226"/>
              <a:gd name="connsiteX8-241" fmla="*/ 4585079 w 9397013"/>
              <a:gd name="connsiteY8-242" fmla="*/ 89119 h 7291226"/>
              <a:gd name="connsiteX9-243" fmla="*/ 488220 w 9397013"/>
              <a:gd name="connsiteY9-244" fmla="*/ 5484315 h 7291226"/>
              <a:gd name="connsiteX10-245" fmla="*/ 779421 w 9397013"/>
              <a:gd name="connsiteY10-246" fmla="*/ 6125606 h 7291226"/>
              <a:gd name="connsiteX11-247" fmla="*/ 618065 w 9397013"/>
              <a:gd name="connsiteY11-248" fmla="*/ 5770263 h 7291226"/>
              <a:gd name="connsiteX12-249" fmla="*/ 4897528 w 9397013"/>
              <a:gd name="connsiteY12-250" fmla="*/ 111354 h 7291226"/>
              <a:gd name="connsiteX13-251" fmla="*/ 5324893 w 9397013"/>
              <a:gd name="connsiteY13-252" fmla="*/ 141768 h 7291226"/>
              <a:gd name="connsiteX14-253" fmla="*/ 779421 w 9397013"/>
              <a:gd name="connsiteY14-254" fmla="*/ 6125606 h 7291226"/>
              <a:gd name="connsiteX15-255" fmla="*/ 1099910 w 9397013"/>
              <a:gd name="connsiteY15-256" fmla="*/ 6831395 h 7291226"/>
              <a:gd name="connsiteX16-257" fmla="*/ 919656 w 9397013"/>
              <a:gd name="connsiteY16-258" fmla="*/ 6434435 h 7291226"/>
              <a:gd name="connsiteX17-259" fmla="*/ 5668965 w 9397013"/>
              <a:gd name="connsiteY17-260" fmla="*/ 166254 h 7291226"/>
              <a:gd name="connsiteX18-261" fmla="*/ 6114044 w 9397013"/>
              <a:gd name="connsiteY18-262" fmla="*/ 197929 h 7291226"/>
              <a:gd name="connsiteX19-263" fmla="*/ 1099910 w 9397013"/>
              <a:gd name="connsiteY19-264" fmla="*/ 6831395 h 7291226"/>
              <a:gd name="connsiteX20-265" fmla="*/ 7106560 w 9397013"/>
              <a:gd name="connsiteY20-266" fmla="*/ 7291226 h 7291226"/>
              <a:gd name="connsiteX21-267" fmla="*/ 6670875 w 9397013"/>
              <a:gd name="connsiteY21-268" fmla="*/ 7291226 h 7291226"/>
              <a:gd name="connsiteX22-269" fmla="*/ 3849932 w 9397013"/>
              <a:gd name="connsiteY22-270" fmla="*/ 3596670 h 7291226"/>
              <a:gd name="connsiteX23-271" fmla="*/ 4086202 w 9397013"/>
              <a:gd name="connsiteY23-272" fmla="*/ 3287229 h 7291226"/>
              <a:gd name="connsiteX24-273" fmla="*/ 7106560 w 9397013"/>
              <a:gd name="connsiteY24-274" fmla="*/ 7291226 h 7291226"/>
              <a:gd name="connsiteX25-275" fmla="*/ 7934229 w 9397013"/>
              <a:gd name="connsiteY25-276" fmla="*/ 7291226 h 7291226"/>
              <a:gd name="connsiteX26-277" fmla="*/ 7444802 w 9397013"/>
              <a:gd name="connsiteY26-278" fmla="*/ 7291226 h 7291226"/>
              <a:gd name="connsiteX27-279" fmla="*/ 4245793 w 9397013"/>
              <a:gd name="connsiteY27-280" fmla="*/ 3078214 h 7291226"/>
              <a:gd name="connsiteX28-281" fmla="*/ 4490696 w 9397013"/>
              <a:gd name="connsiteY28-282" fmla="*/ 2757469 h 7291226"/>
              <a:gd name="connsiteX29-283" fmla="*/ 7934229 w 9397013"/>
              <a:gd name="connsiteY29-284" fmla="*/ 7291226 h 7291226"/>
              <a:gd name="connsiteX30-285" fmla="*/ 8530746 w 9397013"/>
              <a:gd name="connsiteY30-286" fmla="*/ 7088026 h 7291226"/>
              <a:gd name="connsiteX31-287" fmla="*/ 8270226 w 9397013"/>
              <a:gd name="connsiteY31-288" fmla="*/ 7291226 h 7291226"/>
              <a:gd name="connsiteX32-289" fmla="*/ 4650570 w 9397013"/>
              <a:gd name="connsiteY32-290" fmla="*/ 2548084 h 7291226"/>
              <a:gd name="connsiteX33-291" fmla="*/ 4869244 w 9397013"/>
              <a:gd name="connsiteY33-292" fmla="*/ 2261689 h 7291226"/>
              <a:gd name="connsiteX34-293" fmla="*/ 8530746 w 9397013"/>
              <a:gd name="connsiteY34-294" fmla="*/ 7088026 h 7291226"/>
              <a:gd name="connsiteX35-295" fmla="*/ 9397013 w 9397013"/>
              <a:gd name="connsiteY35-296" fmla="*/ 7134207 h 7291226"/>
              <a:gd name="connsiteX36-297" fmla="*/ 8921338 w 9397013"/>
              <a:gd name="connsiteY36-298" fmla="*/ 7115735 h 7291226"/>
              <a:gd name="connsiteX37-299" fmla="*/ 5045299 w 9397013"/>
              <a:gd name="connsiteY37-300" fmla="*/ 2031113 h 7291226"/>
              <a:gd name="connsiteX38-301" fmla="*/ 5273037 w 9397013"/>
              <a:gd name="connsiteY38-302" fmla="*/ 1732846 h 7291226"/>
              <a:gd name="connsiteX39-303" fmla="*/ 9397013 w 9397013"/>
              <a:gd name="connsiteY39-304" fmla="*/ 7134207 h 7291226"/>
              <a:gd name="connsiteX0-305" fmla="*/ 168369 w 9397013"/>
              <a:gd name="connsiteY0-306" fmla="*/ 4779933 h 7291226"/>
              <a:gd name="connsiteX1-307" fmla="*/ 0 w 9397013"/>
              <a:gd name="connsiteY1-308" fmla="*/ 4409146 h 7291226"/>
              <a:gd name="connsiteX2-309" fmla="*/ 3332806 w 9397013"/>
              <a:gd name="connsiteY2-310" fmla="*/ 0 h 7291226"/>
              <a:gd name="connsiteX3-311" fmla="*/ 3794560 w 9397013"/>
              <a:gd name="connsiteY3-312" fmla="*/ 32861 h 7291226"/>
              <a:gd name="connsiteX4-313" fmla="*/ 168369 w 9397013"/>
              <a:gd name="connsiteY4-314" fmla="*/ 4779933 h 7291226"/>
              <a:gd name="connsiteX5-315" fmla="*/ 488220 w 9397013"/>
              <a:gd name="connsiteY5-316" fmla="*/ 5484315 h 7291226"/>
              <a:gd name="connsiteX6-317" fmla="*/ 299082 w 9397013"/>
              <a:gd name="connsiteY6-318" fmla="*/ 5067791 h 7291226"/>
              <a:gd name="connsiteX7-319" fmla="*/ 4106456 w 9397013"/>
              <a:gd name="connsiteY7-320" fmla="*/ 55057 h 7291226"/>
              <a:gd name="connsiteX8-321" fmla="*/ 4585079 w 9397013"/>
              <a:gd name="connsiteY8-322" fmla="*/ 89119 h 7291226"/>
              <a:gd name="connsiteX9-323" fmla="*/ 488220 w 9397013"/>
              <a:gd name="connsiteY9-324" fmla="*/ 5484315 h 7291226"/>
              <a:gd name="connsiteX10-325" fmla="*/ 779421 w 9397013"/>
              <a:gd name="connsiteY10-326" fmla="*/ 6125606 h 7291226"/>
              <a:gd name="connsiteX11-327" fmla="*/ 618065 w 9397013"/>
              <a:gd name="connsiteY11-328" fmla="*/ 5770263 h 7291226"/>
              <a:gd name="connsiteX12-329" fmla="*/ 4897528 w 9397013"/>
              <a:gd name="connsiteY12-330" fmla="*/ 111354 h 7291226"/>
              <a:gd name="connsiteX13-331" fmla="*/ 5324893 w 9397013"/>
              <a:gd name="connsiteY13-332" fmla="*/ 141768 h 7291226"/>
              <a:gd name="connsiteX14-333" fmla="*/ 779421 w 9397013"/>
              <a:gd name="connsiteY14-334" fmla="*/ 6125606 h 7291226"/>
              <a:gd name="connsiteX15-335" fmla="*/ 1099910 w 9397013"/>
              <a:gd name="connsiteY15-336" fmla="*/ 6831395 h 7291226"/>
              <a:gd name="connsiteX16-337" fmla="*/ 919656 w 9397013"/>
              <a:gd name="connsiteY16-338" fmla="*/ 6434435 h 7291226"/>
              <a:gd name="connsiteX17-339" fmla="*/ 5668965 w 9397013"/>
              <a:gd name="connsiteY17-340" fmla="*/ 166254 h 7291226"/>
              <a:gd name="connsiteX18-341" fmla="*/ 6114044 w 9397013"/>
              <a:gd name="connsiteY18-342" fmla="*/ 197929 h 7291226"/>
              <a:gd name="connsiteX19-343" fmla="*/ 1099910 w 9397013"/>
              <a:gd name="connsiteY19-344" fmla="*/ 6831395 h 7291226"/>
              <a:gd name="connsiteX20-345" fmla="*/ 7106560 w 9397013"/>
              <a:gd name="connsiteY20-346" fmla="*/ 7291226 h 7291226"/>
              <a:gd name="connsiteX21-347" fmla="*/ 6670875 w 9397013"/>
              <a:gd name="connsiteY21-348" fmla="*/ 7291226 h 7291226"/>
              <a:gd name="connsiteX22-349" fmla="*/ 3849932 w 9397013"/>
              <a:gd name="connsiteY22-350" fmla="*/ 3596670 h 7291226"/>
              <a:gd name="connsiteX23-351" fmla="*/ 4086202 w 9397013"/>
              <a:gd name="connsiteY23-352" fmla="*/ 3287229 h 7291226"/>
              <a:gd name="connsiteX24-353" fmla="*/ 7106560 w 9397013"/>
              <a:gd name="connsiteY24-354" fmla="*/ 7291226 h 7291226"/>
              <a:gd name="connsiteX25-355" fmla="*/ 7934229 w 9397013"/>
              <a:gd name="connsiteY25-356" fmla="*/ 7291226 h 7291226"/>
              <a:gd name="connsiteX26-357" fmla="*/ 7444802 w 9397013"/>
              <a:gd name="connsiteY26-358" fmla="*/ 7291226 h 7291226"/>
              <a:gd name="connsiteX27-359" fmla="*/ 4245793 w 9397013"/>
              <a:gd name="connsiteY27-360" fmla="*/ 3078214 h 7291226"/>
              <a:gd name="connsiteX28-361" fmla="*/ 4490696 w 9397013"/>
              <a:gd name="connsiteY28-362" fmla="*/ 2757469 h 7291226"/>
              <a:gd name="connsiteX29-363" fmla="*/ 7934229 w 9397013"/>
              <a:gd name="connsiteY29-364" fmla="*/ 7291226 h 7291226"/>
              <a:gd name="connsiteX30-365" fmla="*/ 8530746 w 9397013"/>
              <a:gd name="connsiteY30-366" fmla="*/ 7088026 h 7291226"/>
              <a:gd name="connsiteX31-367" fmla="*/ 8150153 w 9397013"/>
              <a:gd name="connsiteY31-368" fmla="*/ 7097262 h 7291226"/>
              <a:gd name="connsiteX32-369" fmla="*/ 4650570 w 9397013"/>
              <a:gd name="connsiteY32-370" fmla="*/ 2548084 h 7291226"/>
              <a:gd name="connsiteX33-371" fmla="*/ 4869244 w 9397013"/>
              <a:gd name="connsiteY33-372" fmla="*/ 2261689 h 7291226"/>
              <a:gd name="connsiteX34-373" fmla="*/ 8530746 w 9397013"/>
              <a:gd name="connsiteY34-374" fmla="*/ 7088026 h 7291226"/>
              <a:gd name="connsiteX35-375" fmla="*/ 9397013 w 9397013"/>
              <a:gd name="connsiteY35-376" fmla="*/ 7134207 h 7291226"/>
              <a:gd name="connsiteX36-377" fmla="*/ 8921338 w 9397013"/>
              <a:gd name="connsiteY36-378" fmla="*/ 7115735 h 7291226"/>
              <a:gd name="connsiteX37-379" fmla="*/ 5045299 w 9397013"/>
              <a:gd name="connsiteY37-380" fmla="*/ 2031113 h 7291226"/>
              <a:gd name="connsiteX38-381" fmla="*/ 5273037 w 9397013"/>
              <a:gd name="connsiteY38-382" fmla="*/ 1732846 h 7291226"/>
              <a:gd name="connsiteX39-383" fmla="*/ 9397013 w 9397013"/>
              <a:gd name="connsiteY39-384" fmla="*/ 7134207 h 7291226"/>
              <a:gd name="connsiteX0-385" fmla="*/ 168369 w 9397013"/>
              <a:gd name="connsiteY0-386" fmla="*/ 4779933 h 7291226"/>
              <a:gd name="connsiteX1-387" fmla="*/ 0 w 9397013"/>
              <a:gd name="connsiteY1-388" fmla="*/ 4409146 h 7291226"/>
              <a:gd name="connsiteX2-389" fmla="*/ 3332806 w 9397013"/>
              <a:gd name="connsiteY2-390" fmla="*/ 0 h 7291226"/>
              <a:gd name="connsiteX3-391" fmla="*/ 3794560 w 9397013"/>
              <a:gd name="connsiteY3-392" fmla="*/ 32861 h 7291226"/>
              <a:gd name="connsiteX4-393" fmla="*/ 168369 w 9397013"/>
              <a:gd name="connsiteY4-394" fmla="*/ 4779933 h 7291226"/>
              <a:gd name="connsiteX5-395" fmla="*/ 488220 w 9397013"/>
              <a:gd name="connsiteY5-396" fmla="*/ 5484315 h 7291226"/>
              <a:gd name="connsiteX6-397" fmla="*/ 299082 w 9397013"/>
              <a:gd name="connsiteY6-398" fmla="*/ 5067791 h 7291226"/>
              <a:gd name="connsiteX7-399" fmla="*/ 4106456 w 9397013"/>
              <a:gd name="connsiteY7-400" fmla="*/ 55057 h 7291226"/>
              <a:gd name="connsiteX8-401" fmla="*/ 4585079 w 9397013"/>
              <a:gd name="connsiteY8-402" fmla="*/ 89119 h 7291226"/>
              <a:gd name="connsiteX9-403" fmla="*/ 488220 w 9397013"/>
              <a:gd name="connsiteY9-404" fmla="*/ 5484315 h 7291226"/>
              <a:gd name="connsiteX10-405" fmla="*/ 779421 w 9397013"/>
              <a:gd name="connsiteY10-406" fmla="*/ 6125606 h 7291226"/>
              <a:gd name="connsiteX11-407" fmla="*/ 618065 w 9397013"/>
              <a:gd name="connsiteY11-408" fmla="*/ 5770263 h 7291226"/>
              <a:gd name="connsiteX12-409" fmla="*/ 4897528 w 9397013"/>
              <a:gd name="connsiteY12-410" fmla="*/ 111354 h 7291226"/>
              <a:gd name="connsiteX13-411" fmla="*/ 5324893 w 9397013"/>
              <a:gd name="connsiteY13-412" fmla="*/ 141768 h 7291226"/>
              <a:gd name="connsiteX14-413" fmla="*/ 779421 w 9397013"/>
              <a:gd name="connsiteY14-414" fmla="*/ 6125606 h 7291226"/>
              <a:gd name="connsiteX15-415" fmla="*/ 1099910 w 9397013"/>
              <a:gd name="connsiteY15-416" fmla="*/ 6831395 h 7291226"/>
              <a:gd name="connsiteX16-417" fmla="*/ 919656 w 9397013"/>
              <a:gd name="connsiteY16-418" fmla="*/ 6434435 h 7291226"/>
              <a:gd name="connsiteX17-419" fmla="*/ 5668965 w 9397013"/>
              <a:gd name="connsiteY17-420" fmla="*/ 166254 h 7291226"/>
              <a:gd name="connsiteX18-421" fmla="*/ 6114044 w 9397013"/>
              <a:gd name="connsiteY18-422" fmla="*/ 197929 h 7291226"/>
              <a:gd name="connsiteX19-423" fmla="*/ 1099910 w 9397013"/>
              <a:gd name="connsiteY19-424" fmla="*/ 6831395 h 7291226"/>
              <a:gd name="connsiteX20-425" fmla="*/ 7106560 w 9397013"/>
              <a:gd name="connsiteY20-426" fmla="*/ 7291226 h 7291226"/>
              <a:gd name="connsiteX21-427" fmla="*/ 6670875 w 9397013"/>
              <a:gd name="connsiteY21-428" fmla="*/ 7291226 h 7291226"/>
              <a:gd name="connsiteX22-429" fmla="*/ 3849932 w 9397013"/>
              <a:gd name="connsiteY22-430" fmla="*/ 3596670 h 7291226"/>
              <a:gd name="connsiteX23-431" fmla="*/ 4086202 w 9397013"/>
              <a:gd name="connsiteY23-432" fmla="*/ 3287229 h 7291226"/>
              <a:gd name="connsiteX24-433" fmla="*/ 7106560 w 9397013"/>
              <a:gd name="connsiteY24-434" fmla="*/ 7291226 h 7291226"/>
              <a:gd name="connsiteX25-435" fmla="*/ 7934229 w 9397013"/>
              <a:gd name="connsiteY25-436" fmla="*/ 7291226 h 7291226"/>
              <a:gd name="connsiteX26-437" fmla="*/ 7444802 w 9397013"/>
              <a:gd name="connsiteY26-438" fmla="*/ 7291226 h 7291226"/>
              <a:gd name="connsiteX27-439" fmla="*/ 4245793 w 9397013"/>
              <a:gd name="connsiteY27-440" fmla="*/ 3078214 h 7291226"/>
              <a:gd name="connsiteX28-441" fmla="*/ 4490696 w 9397013"/>
              <a:gd name="connsiteY28-442" fmla="*/ 2757469 h 7291226"/>
              <a:gd name="connsiteX29-443" fmla="*/ 7934229 w 9397013"/>
              <a:gd name="connsiteY29-444" fmla="*/ 7291226 h 7291226"/>
              <a:gd name="connsiteX30-445" fmla="*/ 8567691 w 9397013"/>
              <a:gd name="connsiteY30-446" fmla="*/ 7124971 h 7291226"/>
              <a:gd name="connsiteX31-447" fmla="*/ 8150153 w 9397013"/>
              <a:gd name="connsiteY31-448" fmla="*/ 7097262 h 7291226"/>
              <a:gd name="connsiteX32-449" fmla="*/ 4650570 w 9397013"/>
              <a:gd name="connsiteY32-450" fmla="*/ 2548084 h 7291226"/>
              <a:gd name="connsiteX33-451" fmla="*/ 4869244 w 9397013"/>
              <a:gd name="connsiteY33-452" fmla="*/ 2261689 h 7291226"/>
              <a:gd name="connsiteX34-453" fmla="*/ 8567691 w 9397013"/>
              <a:gd name="connsiteY34-454" fmla="*/ 7124971 h 7291226"/>
              <a:gd name="connsiteX35-455" fmla="*/ 9397013 w 9397013"/>
              <a:gd name="connsiteY35-456" fmla="*/ 7134207 h 7291226"/>
              <a:gd name="connsiteX36-457" fmla="*/ 8921338 w 9397013"/>
              <a:gd name="connsiteY36-458" fmla="*/ 7115735 h 7291226"/>
              <a:gd name="connsiteX37-459" fmla="*/ 5045299 w 9397013"/>
              <a:gd name="connsiteY37-460" fmla="*/ 2031113 h 7291226"/>
              <a:gd name="connsiteX38-461" fmla="*/ 5273037 w 9397013"/>
              <a:gd name="connsiteY38-462" fmla="*/ 1732846 h 7291226"/>
              <a:gd name="connsiteX39-463" fmla="*/ 9397013 w 9397013"/>
              <a:gd name="connsiteY39-464" fmla="*/ 7134207 h 7291226"/>
              <a:gd name="connsiteX0-465" fmla="*/ 168369 w 9397013"/>
              <a:gd name="connsiteY0-466" fmla="*/ 4779933 h 7291226"/>
              <a:gd name="connsiteX1-467" fmla="*/ 0 w 9397013"/>
              <a:gd name="connsiteY1-468" fmla="*/ 4409146 h 7291226"/>
              <a:gd name="connsiteX2-469" fmla="*/ 3332806 w 9397013"/>
              <a:gd name="connsiteY2-470" fmla="*/ 0 h 7291226"/>
              <a:gd name="connsiteX3-471" fmla="*/ 3794560 w 9397013"/>
              <a:gd name="connsiteY3-472" fmla="*/ 32861 h 7291226"/>
              <a:gd name="connsiteX4-473" fmla="*/ 168369 w 9397013"/>
              <a:gd name="connsiteY4-474" fmla="*/ 4779933 h 7291226"/>
              <a:gd name="connsiteX5-475" fmla="*/ 488220 w 9397013"/>
              <a:gd name="connsiteY5-476" fmla="*/ 5484315 h 7291226"/>
              <a:gd name="connsiteX6-477" fmla="*/ 299082 w 9397013"/>
              <a:gd name="connsiteY6-478" fmla="*/ 5067791 h 7291226"/>
              <a:gd name="connsiteX7-479" fmla="*/ 4106456 w 9397013"/>
              <a:gd name="connsiteY7-480" fmla="*/ 55057 h 7291226"/>
              <a:gd name="connsiteX8-481" fmla="*/ 4585079 w 9397013"/>
              <a:gd name="connsiteY8-482" fmla="*/ 89119 h 7291226"/>
              <a:gd name="connsiteX9-483" fmla="*/ 488220 w 9397013"/>
              <a:gd name="connsiteY9-484" fmla="*/ 5484315 h 7291226"/>
              <a:gd name="connsiteX10-485" fmla="*/ 779421 w 9397013"/>
              <a:gd name="connsiteY10-486" fmla="*/ 6125606 h 7291226"/>
              <a:gd name="connsiteX11-487" fmla="*/ 618065 w 9397013"/>
              <a:gd name="connsiteY11-488" fmla="*/ 5770263 h 7291226"/>
              <a:gd name="connsiteX12-489" fmla="*/ 4897528 w 9397013"/>
              <a:gd name="connsiteY12-490" fmla="*/ 111354 h 7291226"/>
              <a:gd name="connsiteX13-491" fmla="*/ 5324893 w 9397013"/>
              <a:gd name="connsiteY13-492" fmla="*/ 141768 h 7291226"/>
              <a:gd name="connsiteX14-493" fmla="*/ 779421 w 9397013"/>
              <a:gd name="connsiteY14-494" fmla="*/ 6125606 h 7291226"/>
              <a:gd name="connsiteX15-495" fmla="*/ 1099910 w 9397013"/>
              <a:gd name="connsiteY15-496" fmla="*/ 6831395 h 7291226"/>
              <a:gd name="connsiteX16-497" fmla="*/ 919656 w 9397013"/>
              <a:gd name="connsiteY16-498" fmla="*/ 6434435 h 7291226"/>
              <a:gd name="connsiteX17-499" fmla="*/ 5668965 w 9397013"/>
              <a:gd name="connsiteY17-500" fmla="*/ 166254 h 7291226"/>
              <a:gd name="connsiteX18-501" fmla="*/ 6114044 w 9397013"/>
              <a:gd name="connsiteY18-502" fmla="*/ 197929 h 7291226"/>
              <a:gd name="connsiteX19-503" fmla="*/ 1099910 w 9397013"/>
              <a:gd name="connsiteY19-504" fmla="*/ 6831395 h 7291226"/>
              <a:gd name="connsiteX20-505" fmla="*/ 7106560 w 9397013"/>
              <a:gd name="connsiteY20-506" fmla="*/ 7291226 h 7291226"/>
              <a:gd name="connsiteX21-507" fmla="*/ 6670875 w 9397013"/>
              <a:gd name="connsiteY21-508" fmla="*/ 7291226 h 7291226"/>
              <a:gd name="connsiteX22-509" fmla="*/ 3849932 w 9397013"/>
              <a:gd name="connsiteY22-510" fmla="*/ 3596670 h 7291226"/>
              <a:gd name="connsiteX23-511" fmla="*/ 4086202 w 9397013"/>
              <a:gd name="connsiteY23-512" fmla="*/ 3287229 h 7291226"/>
              <a:gd name="connsiteX24-513" fmla="*/ 7106560 w 9397013"/>
              <a:gd name="connsiteY24-514" fmla="*/ 7291226 h 7291226"/>
              <a:gd name="connsiteX25-515" fmla="*/ 7934229 w 9397013"/>
              <a:gd name="connsiteY25-516" fmla="*/ 7291226 h 7291226"/>
              <a:gd name="connsiteX26-517" fmla="*/ 7444802 w 9397013"/>
              <a:gd name="connsiteY26-518" fmla="*/ 7291226 h 7291226"/>
              <a:gd name="connsiteX27-519" fmla="*/ 4245793 w 9397013"/>
              <a:gd name="connsiteY27-520" fmla="*/ 3078214 h 7291226"/>
              <a:gd name="connsiteX28-521" fmla="*/ 4490696 w 9397013"/>
              <a:gd name="connsiteY28-522" fmla="*/ 2757469 h 7291226"/>
              <a:gd name="connsiteX29-523" fmla="*/ 7934229 w 9397013"/>
              <a:gd name="connsiteY29-524" fmla="*/ 7291226 h 7291226"/>
              <a:gd name="connsiteX30-525" fmla="*/ 8567691 w 9397013"/>
              <a:gd name="connsiteY30-526" fmla="*/ 7124971 h 7291226"/>
              <a:gd name="connsiteX31-527" fmla="*/ 8159389 w 9397013"/>
              <a:gd name="connsiteY31-528" fmla="*/ 7134208 h 7291226"/>
              <a:gd name="connsiteX32-529" fmla="*/ 4650570 w 9397013"/>
              <a:gd name="connsiteY32-530" fmla="*/ 2548084 h 7291226"/>
              <a:gd name="connsiteX33-531" fmla="*/ 4869244 w 9397013"/>
              <a:gd name="connsiteY33-532" fmla="*/ 2261689 h 7291226"/>
              <a:gd name="connsiteX34-533" fmla="*/ 8567691 w 9397013"/>
              <a:gd name="connsiteY34-534" fmla="*/ 7124971 h 7291226"/>
              <a:gd name="connsiteX35-535" fmla="*/ 9397013 w 9397013"/>
              <a:gd name="connsiteY35-536" fmla="*/ 7134207 h 7291226"/>
              <a:gd name="connsiteX36-537" fmla="*/ 8921338 w 9397013"/>
              <a:gd name="connsiteY36-538" fmla="*/ 7115735 h 7291226"/>
              <a:gd name="connsiteX37-539" fmla="*/ 5045299 w 9397013"/>
              <a:gd name="connsiteY37-540" fmla="*/ 2031113 h 7291226"/>
              <a:gd name="connsiteX38-541" fmla="*/ 5273037 w 9397013"/>
              <a:gd name="connsiteY38-542" fmla="*/ 1732846 h 7291226"/>
              <a:gd name="connsiteX39-543" fmla="*/ 9397013 w 9397013"/>
              <a:gd name="connsiteY39-544" fmla="*/ 7134207 h 7291226"/>
              <a:gd name="connsiteX0-545" fmla="*/ 168369 w 9397013"/>
              <a:gd name="connsiteY0-546" fmla="*/ 4779933 h 7291226"/>
              <a:gd name="connsiteX1-547" fmla="*/ 0 w 9397013"/>
              <a:gd name="connsiteY1-548" fmla="*/ 4409146 h 7291226"/>
              <a:gd name="connsiteX2-549" fmla="*/ 3332806 w 9397013"/>
              <a:gd name="connsiteY2-550" fmla="*/ 0 h 7291226"/>
              <a:gd name="connsiteX3-551" fmla="*/ 3794560 w 9397013"/>
              <a:gd name="connsiteY3-552" fmla="*/ 32861 h 7291226"/>
              <a:gd name="connsiteX4-553" fmla="*/ 168369 w 9397013"/>
              <a:gd name="connsiteY4-554" fmla="*/ 4779933 h 7291226"/>
              <a:gd name="connsiteX5-555" fmla="*/ 488220 w 9397013"/>
              <a:gd name="connsiteY5-556" fmla="*/ 5484315 h 7291226"/>
              <a:gd name="connsiteX6-557" fmla="*/ 299082 w 9397013"/>
              <a:gd name="connsiteY6-558" fmla="*/ 5067791 h 7291226"/>
              <a:gd name="connsiteX7-559" fmla="*/ 4106456 w 9397013"/>
              <a:gd name="connsiteY7-560" fmla="*/ 55057 h 7291226"/>
              <a:gd name="connsiteX8-561" fmla="*/ 4585079 w 9397013"/>
              <a:gd name="connsiteY8-562" fmla="*/ 89119 h 7291226"/>
              <a:gd name="connsiteX9-563" fmla="*/ 488220 w 9397013"/>
              <a:gd name="connsiteY9-564" fmla="*/ 5484315 h 7291226"/>
              <a:gd name="connsiteX10-565" fmla="*/ 779421 w 9397013"/>
              <a:gd name="connsiteY10-566" fmla="*/ 6125606 h 7291226"/>
              <a:gd name="connsiteX11-567" fmla="*/ 618065 w 9397013"/>
              <a:gd name="connsiteY11-568" fmla="*/ 5770263 h 7291226"/>
              <a:gd name="connsiteX12-569" fmla="*/ 4897528 w 9397013"/>
              <a:gd name="connsiteY12-570" fmla="*/ 111354 h 7291226"/>
              <a:gd name="connsiteX13-571" fmla="*/ 5324893 w 9397013"/>
              <a:gd name="connsiteY13-572" fmla="*/ 141768 h 7291226"/>
              <a:gd name="connsiteX14-573" fmla="*/ 779421 w 9397013"/>
              <a:gd name="connsiteY14-574" fmla="*/ 6125606 h 7291226"/>
              <a:gd name="connsiteX15-575" fmla="*/ 1099910 w 9397013"/>
              <a:gd name="connsiteY15-576" fmla="*/ 6831395 h 7291226"/>
              <a:gd name="connsiteX16-577" fmla="*/ 919656 w 9397013"/>
              <a:gd name="connsiteY16-578" fmla="*/ 6434435 h 7291226"/>
              <a:gd name="connsiteX17-579" fmla="*/ 5668965 w 9397013"/>
              <a:gd name="connsiteY17-580" fmla="*/ 166254 h 7291226"/>
              <a:gd name="connsiteX18-581" fmla="*/ 6114044 w 9397013"/>
              <a:gd name="connsiteY18-582" fmla="*/ 197929 h 7291226"/>
              <a:gd name="connsiteX19-583" fmla="*/ 1099910 w 9397013"/>
              <a:gd name="connsiteY19-584" fmla="*/ 6831395 h 7291226"/>
              <a:gd name="connsiteX20-585" fmla="*/ 7106560 w 9397013"/>
              <a:gd name="connsiteY20-586" fmla="*/ 7291226 h 7291226"/>
              <a:gd name="connsiteX21-587" fmla="*/ 6670875 w 9397013"/>
              <a:gd name="connsiteY21-588" fmla="*/ 7291226 h 7291226"/>
              <a:gd name="connsiteX22-589" fmla="*/ 3849932 w 9397013"/>
              <a:gd name="connsiteY22-590" fmla="*/ 3596670 h 7291226"/>
              <a:gd name="connsiteX23-591" fmla="*/ 4086202 w 9397013"/>
              <a:gd name="connsiteY23-592" fmla="*/ 3287229 h 7291226"/>
              <a:gd name="connsiteX24-593" fmla="*/ 7106560 w 9397013"/>
              <a:gd name="connsiteY24-594" fmla="*/ 7291226 h 7291226"/>
              <a:gd name="connsiteX25-595" fmla="*/ 7777211 w 9397013"/>
              <a:gd name="connsiteY25-596" fmla="*/ 7124972 h 7291226"/>
              <a:gd name="connsiteX26-597" fmla="*/ 7444802 w 9397013"/>
              <a:gd name="connsiteY26-598" fmla="*/ 7291226 h 7291226"/>
              <a:gd name="connsiteX27-599" fmla="*/ 4245793 w 9397013"/>
              <a:gd name="connsiteY27-600" fmla="*/ 3078214 h 7291226"/>
              <a:gd name="connsiteX28-601" fmla="*/ 4490696 w 9397013"/>
              <a:gd name="connsiteY28-602" fmla="*/ 2757469 h 7291226"/>
              <a:gd name="connsiteX29-603" fmla="*/ 7777211 w 9397013"/>
              <a:gd name="connsiteY29-604" fmla="*/ 7124972 h 7291226"/>
              <a:gd name="connsiteX30-605" fmla="*/ 8567691 w 9397013"/>
              <a:gd name="connsiteY30-606" fmla="*/ 7124971 h 7291226"/>
              <a:gd name="connsiteX31-607" fmla="*/ 8159389 w 9397013"/>
              <a:gd name="connsiteY31-608" fmla="*/ 7134208 h 7291226"/>
              <a:gd name="connsiteX32-609" fmla="*/ 4650570 w 9397013"/>
              <a:gd name="connsiteY32-610" fmla="*/ 2548084 h 7291226"/>
              <a:gd name="connsiteX33-611" fmla="*/ 4869244 w 9397013"/>
              <a:gd name="connsiteY33-612" fmla="*/ 2261689 h 7291226"/>
              <a:gd name="connsiteX34-613" fmla="*/ 8567691 w 9397013"/>
              <a:gd name="connsiteY34-614" fmla="*/ 7124971 h 7291226"/>
              <a:gd name="connsiteX35-615" fmla="*/ 9397013 w 9397013"/>
              <a:gd name="connsiteY35-616" fmla="*/ 7134207 h 7291226"/>
              <a:gd name="connsiteX36-617" fmla="*/ 8921338 w 9397013"/>
              <a:gd name="connsiteY36-618" fmla="*/ 7115735 h 7291226"/>
              <a:gd name="connsiteX37-619" fmla="*/ 5045299 w 9397013"/>
              <a:gd name="connsiteY37-620" fmla="*/ 2031113 h 7291226"/>
              <a:gd name="connsiteX38-621" fmla="*/ 5273037 w 9397013"/>
              <a:gd name="connsiteY38-622" fmla="*/ 1732846 h 7291226"/>
              <a:gd name="connsiteX39-623" fmla="*/ 9397013 w 9397013"/>
              <a:gd name="connsiteY39-624" fmla="*/ 7134207 h 7291226"/>
              <a:gd name="connsiteX0-625" fmla="*/ 168369 w 9397013"/>
              <a:gd name="connsiteY0-626" fmla="*/ 4779933 h 7291226"/>
              <a:gd name="connsiteX1-627" fmla="*/ 0 w 9397013"/>
              <a:gd name="connsiteY1-628" fmla="*/ 4409146 h 7291226"/>
              <a:gd name="connsiteX2-629" fmla="*/ 3332806 w 9397013"/>
              <a:gd name="connsiteY2-630" fmla="*/ 0 h 7291226"/>
              <a:gd name="connsiteX3-631" fmla="*/ 3794560 w 9397013"/>
              <a:gd name="connsiteY3-632" fmla="*/ 32861 h 7291226"/>
              <a:gd name="connsiteX4-633" fmla="*/ 168369 w 9397013"/>
              <a:gd name="connsiteY4-634" fmla="*/ 4779933 h 7291226"/>
              <a:gd name="connsiteX5-635" fmla="*/ 488220 w 9397013"/>
              <a:gd name="connsiteY5-636" fmla="*/ 5484315 h 7291226"/>
              <a:gd name="connsiteX6-637" fmla="*/ 299082 w 9397013"/>
              <a:gd name="connsiteY6-638" fmla="*/ 5067791 h 7291226"/>
              <a:gd name="connsiteX7-639" fmla="*/ 4106456 w 9397013"/>
              <a:gd name="connsiteY7-640" fmla="*/ 55057 h 7291226"/>
              <a:gd name="connsiteX8-641" fmla="*/ 4585079 w 9397013"/>
              <a:gd name="connsiteY8-642" fmla="*/ 89119 h 7291226"/>
              <a:gd name="connsiteX9-643" fmla="*/ 488220 w 9397013"/>
              <a:gd name="connsiteY9-644" fmla="*/ 5484315 h 7291226"/>
              <a:gd name="connsiteX10-645" fmla="*/ 779421 w 9397013"/>
              <a:gd name="connsiteY10-646" fmla="*/ 6125606 h 7291226"/>
              <a:gd name="connsiteX11-647" fmla="*/ 618065 w 9397013"/>
              <a:gd name="connsiteY11-648" fmla="*/ 5770263 h 7291226"/>
              <a:gd name="connsiteX12-649" fmla="*/ 4897528 w 9397013"/>
              <a:gd name="connsiteY12-650" fmla="*/ 111354 h 7291226"/>
              <a:gd name="connsiteX13-651" fmla="*/ 5324893 w 9397013"/>
              <a:gd name="connsiteY13-652" fmla="*/ 141768 h 7291226"/>
              <a:gd name="connsiteX14-653" fmla="*/ 779421 w 9397013"/>
              <a:gd name="connsiteY14-654" fmla="*/ 6125606 h 7291226"/>
              <a:gd name="connsiteX15-655" fmla="*/ 1099910 w 9397013"/>
              <a:gd name="connsiteY15-656" fmla="*/ 6831395 h 7291226"/>
              <a:gd name="connsiteX16-657" fmla="*/ 919656 w 9397013"/>
              <a:gd name="connsiteY16-658" fmla="*/ 6434435 h 7291226"/>
              <a:gd name="connsiteX17-659" fmla="*/ 5668965 w 9397013"/>
              <a:gd name="connsiteY17-660" fmla="*/ 166254 h 7291226"/>
              <a:gd name="connsiteX18-661" fmla="*/ 6114044 w 9397013"/>
              <a:gd name="connsiteY18-662" fmla="*/ 197929 h 7291226"/>
              <a:gd name="connsiteX19-663" fmla="*/ 1099910 w 9397013"/>
              <a:gd name="connsiteY19-664" fmla="*/ 6831395 h 7291226"/>
              <a:gd name="connsiteX20-665" fmla="*/ 7106560 w 9397013"/>
              <a:gd name="connsiteY20-666" fmla="*/ 7291226 h 7291226"/>
              <a:gd name="connsiteX21-667" fmla="*/ 6670875 w 9397013"/>
              <a:gd name="connsiteY21-668" fmla="*/ 7291226 h 7291226"/>
              <a:gd name="connsiteX22-669" fmla="*/ 3849932 w 9397013"/>
              <a:gd name="connsiteY22-670" fmla="*/ 3596670 h 7291226"/>
              <a:gd name="connsiteX23-671" fmla="*/ 4086202 w 9397013"/>
              <a:gd name="connsiteY23-672" fmla="*/ 3287229 h 7291226"/>
              <a:gd name="connsiteX24-673" fmla="*/ 7106560 w 9397013"/>
              <a:gd name="connsiteY24-674" fmla="*/ 7291226 h 7291226"/>
              <a:gd name="connsiteX25-675" fmla="*/ 7777211 w 9397013"/>
              <a:gd name="connsiteY25-676" fmla="*/ 7124972 h 7291226"/>
              <a:gd name="connsiteX26-677" fmla="*/ 7324729 w 9397013"/>
              <a:gd name="connsiteY26-678" fmla="*/ 7124972 h 7291226"/>
              <a:gd name="connsiteX27-679" fmla="*/ 4245793 w 9397013"/>
              <a:gd name="connsiteY27-680" fmla="*/ 3078214 h 7291226"/>
              <a:gd name="connsiteX28-681" fmla="*/ 4490696 w 9397013"/>
              <a:gd name="connsiteY28-682" fmla="*/ 2757469 h 7291226"/>
              <a:gd name="connsiteX29-683" fmla="*/ 7777211 w 9397013"/>
              <a:gd name="connsiteY29-684" fmla="*/ 7124972 h 7291226"/>
              <a:gd name="connsiteX30-685" fmla="*/ 8567691 w 9397013"/>
              <a:gd name="connsiteY30-686" fmla="*/ 7124971 h 7291226"/>
              <a:gd name="connsiteX31-687" fmla="*/ 8159389 w 9397013"/>
              <a:gd name="connsiteY31-688" fmla="*/ 7134208 h 7291226"/>
              <a:gd name="connsiteX32-689" fmla="*/ 4650570 w 9397013"/>
              <a:gd name="connsiteY32-690" fmla="*/ 2548084 h 7291226"/>
              <a:gd name="connsiteX33-691" fmla="*/ 4869244 w 9397013"/>
              <a:gd name="connsiteY33-692" fmla="*/ 2261689 h 7291226"/>
              <a:gd name="connsiteX34-693" fmla="*/ 8567691 w 9397013"/>
              <a:gd name="connsiteY34-694" fmla="*/ 7124971 h 7291226"/>
              <a:gd name="connsiteX35-695" fmla="*/ 9397013 w 9397013"/>
              <a:gd name="connsiteY35-696" fmla="*/ 7134207 h 7291226"/>
              <a:gd name="connsiteX36-697" fmla="*/ 8921338 w 9397013"/>
              <a:gd name="connsiteY36-698" fmla="*/ 7115735 h 7291226"/>
              <a:gd name="connsiteX37-699" fmla="*/ 5045299 w 9397013"/>
              <a:gd name="connsiteY37-700" fmla="*/ 2031113 h 7291226"/>
              <a:gd name="connsiteX38-701" fmla="*/ 5273037 w 9397013"/>
              <a:gd name="connsiteY38-702" fmla="*/ 1732846 h 7291226"/>
              <a:gd name="connsiteX39-703" fmla="*/ 9397013 w 9397013"/>
              <a:gd name="connsiteY39-704" fmla="*/ 7134207 h 7291226"/>
              <a:gd name="connsiteX0-705" fmla="*/ 168369 w 9397013"/>
              <a:gd name="connsiteY0-706" fmla="*/ 4779933 h 7291226"/>
              <a:gd name="connsiteX1-707" fmla="*/ 0 w 9397013"/>
              <a:gd name="connsiteY1-708" fmla="*/ 4409146 h 7291226"/>
              <a:gd name="connsiteX2-709" fmla="*/ 3332806 w 9397013"/>
              <a:gd name="connsiteY2-710" fmla="*/ 0 h 7291226"/>
              <a:gd name="connsiteX3-711" fmla="*/ 3794560 w 9397013"/>
              <a:gd name="connsiteY3-712" fmla="*/ 32861 h 7291226"/>
              <a:gd name="connsiteX4-713" fmla="*/ 168369 w 9397013"/>
              <a:gd name="connsiteY4-714" fmla="*/ 4779933 h 7291226"/>
              <a:gd name="connsiteX5-715" fmla="*/ 488220 w 9397013"/>
              <a:gd name="connsiteY5-716" fmla="*/ 5484315 h 7291226"/>
              <a:gd name="connsiteX6-717" fmla="*/ 299082 w 9397013"/>
              <a:gd name="connsiteY6-718" fmla="*/ 5067791 h 7291226"/>
              <a:gd name="connsiteX7-719" fmla="*/ 4106456 w 9397013"/>
              <a:gd name="connsiteY7-720" fmla="*/ 55057 h 7291226"/>
              <a:gd name="connsiteX8-721" fmla="*/ 4585079 w 9397013"/>
              <a:gd name="connsiteY8-722" fmla="*/ 89119 h 7291226"/>
              <a:gd name="connsiteX9-723" fmla="*/ 488220 w 9397013"/>
              <a:gd name="connsiteY9-724" fmla="*/ 5484315 h 7291226"/>
              <a:gd name="connsiteX10-725" fmla="*/ 779421 w 9397013"/>
              <a:gd name="connsiteY10-726" fmla="*/ 6125606 h 7291226"/>
              <a:gd name="connsiteX11-727" fmla="*/ 618065 w 9397013"/>
              <a:gd name="connsiteY11-728" fmla="*/ 5770263 h 7291226"/>
              <a:gd name="connsiteX12-729" fmla="*/ 4897528 w 9397013"/>
              <a:gd name="connsiteY12-730" fmla="*/ 111354 h 7291226"/>
              <a:gd name="connsiteX13-731" fmla="*/ 5324893 w 9397013"/>
              <a:gd name="connsiteY13-732" fmla="*/ 141768 h 7291226"/>
              <a:gd name="connsiteX14-733" fmla="*/ 779421 w 9397013"/>
              <a:gd name="connsiteY14-734" fmla="*/ 6125606 h 7291226"/>
              <a:gd name="connsiteX15-735" fmla="*/ 1099910 w 9397013"/>
              <a:gd name="connsiteY15-736" fmla="*/ 6831395 h 7291226"/>
              <a:gd name="connsiteX16-737" fmla="*/ 919656 w 9397013"/>
              <a:gd name="connsiteY16-738" fmla="*/ 6434435 h 7291226"/>
              <a:gd name="connsiteX17-739" fmla="*/ 5668965 w 9397013"/>
              <a:gd name="connsiteY17-740" fmla="*/ 166254 h 7291226"/>
              <a:gd name="connsiteX18-741" fmla="*/ 6114044 w 9397013"/>
              <a:gd name="connsiteY18-742" fmla="*/ 197929 h 7291226"/>
              <a:gd name="connsiteX19-743" fmla="*/ 1099910 w 9397013"/>
              <a:gd name="connsiteY19-744" fmla="*/ 6831395 h 7291226"/>
              <a:gd name="connsiteX20-745" fmla="*/ 6968015 w 9397013"/>
              <a:gd name="connsiteY20-746" fmla="*/ 7143444 h 7291226"/>
              <a:gd name="connsiteX21-747" fmla="*/ 6670875 w 9397013"/>
              <a:gd name="connsiteY21-748" fmla="*/ 7291226 h 7291226"/>
              <a:gd name="connsiteX22-749" fmla="*/ 3849932 w 9397013"/>
              <a:gd name="connsiteY22-750" fmla="*/ 3596670 h 7291226"/>
              <a:gd name="connsiteX23-751" fmla="*/ 4086202 w 9397013"/>
              <a:gd name="connsiteY23-752" fmla="*/ 3287229 h 7291226"/>
              <a:gd name="connsiteX24-753" fmla="*/ 6968015 w 9397013"/>
              <a:gd name="connsiteY24-754" fmla="*/ 7143444 h 7291226"/>
              <a:gd name="connsiteX25-755" fmla="*/ 7777211 w 9397013"/>
              <a:gd name="connsiteY25-756" fmla="*/ 7124972 h 7291226"/>
              <a:gd name="connsiteX26-757" fmla="*/ 7324729 w 9397013"/>
              <a:gd name="connsiteY26-758" fmla="*/ 7124972 h 7291226"/>
              <a:gd name="connsiteX27-759" fmla="*/ 4245793 w 9397013"/>
              <a:gd name="connsiteY27-760" fmla="*/ 3078214 h 7291226"/>
              <a:gd name="connsiteX28-761" fmla="*/ 4490696 w 9397013"/>
              <a:gd name="connsiteY28-762" fmla="*/ 2757469 h 7291226"/>
              <a:gd name="connsiteX29-763" fmla="*/ 7777211 w 9397013"/>
              <a:gd name="connsiteY29-764" fmla="*/ 7124972 h 7291226"/>
              <a:gd name="connsiteX30-765" fmla="*/ 8567691 w 9397013"/>
              <a:gd name="connsiteY30-766" fmla="*/ 7124971 h 7291226"/>
              <a:gd name="connsiteX31-767" fmla="*/ 8159389 w 9397013"/>
              <a:gd name="connsiteY31-768" fmla="*/ 7134208 h 7291226"/>
              <a:gd name="connsiteX32-769" fmla="*/ 4650570 w 9397013"/>
              <a:gd name="connsiteY32-770" fmla="*/ 2548084 h 7291226"/>
              <a:gd name="connsiteX33-771" fmla="*/ 4869244 w 9397013"/>
              <a:gd name="connsiteY33-772" fmla="*/ 2261689 h 7291226"/>
              <a:gd name="connsiteX34-773" fmla="*/ 8567691 w 9397013"/>
              <a:gd name="connsiteY34-774" fmla="*/ 7124971 h 7291226"/>
              <a:gd name="connsiteX35-775" fmla="*/ 9397013 w 9397013"/>
              <a:gd name="connsiteY35-776" fmla="*/ 7134207 h 7291226"/>
              <a:gd name="connsiteX36-777" fmla="*/ 8921338 w 9397013"/>
              <a:gd name="connsiteY36-778" fmla="*/ 7115735 h 7291226"/>
              <a:gd name="connsiteX37-779" fmla="*/ 5045299 w 9397013"/>
              <a:gd name="connsiteY37-780" fmla="*/ 2031113 h 7291226"/>
              <a:gd name="connsiteX38-781" fmla="*/ 5273037 w 9397013"/>
              <a:gd name="connsiteY38-782" fmla="*/ 1732846 h 7291226"/>
              <a:gd name="connsiteX39-783" fmla="*/ 9397013 w 9397013"/>
              <a:gd name="connsiteY39-784" fmla="*/ 7134207 h 7291226"/>
              <a:gd name="connsiteX0-785" fmla="*/ 168369 w 9397013"/>
              <a:gd name="connsiteY0-786" fmla="*/ 4779933 h 7143444"/>
              <a:gd name="connsiteX1-787" fmla="*/ 0 w 9397013"/>
              <a:gd name="connsiteY1-788" fmla="*/ 4409146 h 7143444"/>
              <a:gd name="connsiteX2-789" fmla="*/ 3332806 w 9397013"/>
              <a:gd name="connsiteY2-790" fmla="*/ 0 h 7143444"/>
              <a:gd name="connsiteX3-791" fmla="*/ 3794560 w 9397013"/>
              <a:gd name="connsiteY3-792" fmla="*/ 32861 h 7143444"/>
              <a:gd name="connsiteX4-793" fmla="*/ 168369 w 9397013"/>
              <a:gd name="connsiteY4-794" fmla="*/ 4779933 h 7143444"/>
              <a:gd name="connsiteX5-795" fmla="*/ 488220 w 9397013"/>
              <a:gd name="connsiteY5-796" fmla="*/ 5484315 h 7143444"/>
              <a:gd name="connsiteX6-797" fmla="*/ 299082 w 9397013"/>
              <a:gd name="connsiteY6-798" fmla="*/ 5067791 h 7143444"/>
              <a:gd name="connsiteX7-799" fmla="*/ 4106456 w 9397013"/>
              <a:gd name="connsiteY7-800" fmla="*/ 55057 h 7143444"/>
              <a:gd name="connsiteX8-801" fmla="*/ 4585079 w 9397013"/>
              <a:gd name="connsiteY8-802" fmla="*/ 89119 h 7143444"/>
              <a:gd name="connsiteX9-803" fmla="*/ 488220 w 9397013"/>
              <a:gd name="connsiteY9-804" fmla="*/ 5484315 h 7143444"/>
              <a:gd name="connsiteX10-805" fmla="*/ 779421 w 9397013"/>
              <a:gd name="connsiteY10-806" fmla="*/ 6125606 h 7143444"/>
              <a:gd name="connsiteX11-807" fmla="*/ 618065 w 9397013"/>
              <a:gd name="connsiteY11-808" fmla="*/ 5770263 h 7143444"/>
              <a:gd name="connsiteX12-809" fmla="*/ 4897528 w 9397013"/>
              <a:gd name="connsiteY12-810" fmla="*/ 111354 h 7143444"/>
              <a:gd name="connsiteX13-811" fmla="*/ 5324893 w 9397013"/>
              <a:gd name="connsiteY13-812" fmla="*/ 141768 h 7143444"/>
              <a:gd name="connsiteX14-813" fmla="*/ 779421 w 9397013"/>
              <a:gd name="connsiteY14-814" fmla="*/ 6125606 h 7143444"/>
              <a:gd name="connsiteX15-815" fmla="*/ 1099910 w 9397013"/>
              <a:gd name="connsiteY15-816" fmla="*/ 6831395 h 7143444"/>
              <a:gd name="connsiteX16-817" fmla="*/ 919656 w 9397013"/>
              <a:gd name="connsiteY16-818" fmla="*/ 6434435 h 7143444"/>
              <a:gd name="connsiteX17-819" fmla="*/ 5668965 w 9397013"/>
              <a:gd name="connsiteY17-820" fmla="*/ 166254 h 7143444"/>
              <a:gd name="connsiteX18-821" fmla="*/ 6114044 w 9397013"/>
              <a:gd name="connsiteY18-822" fmla="*/ 197929 h 7143444"/>
              <a:gd name="connsiteX19-823" fmla="*/ 1099910 w 9397013"/>
              <a:gd name="connsiteY19-824" fmla="*/ 6831395 h 7143444"/>
              <a:gd name="connsiteX20-825" fmla="*/ 6968015 w 9397013"/>
              <a:gd name="connsiteY20-826" fmla="*/ 7143444 h 7143444"/>
              <a:gd name="connsiteX21-827" fmla="*/ 6550802 w 9397013"/>
              <a:gd name="connsiteY21-828" fmla="*/ 7143444 h 7143444"/>
              <a:gd name="connsiteX22-829" fmla="*/ 3849932 w 9397013"/>
              <a:gd name="connsiteY22-830" fmla="*/ 3596670 h 7143444"/>
              <a:gd name="connsiteX23-831" fmla="*/ 4086202 w 9397013"/>
              <a:gd name="connsiteY23-832" fmla="*/ 3287229 h 7143444"/>
              <a:gd name="connsiteX24-833" fmla="*/ 6968015 w 9397013"/>
              <a:gd name="connsiteY24-834" fmla="*/ 7143444 h 7143444"/>
              <a:gd name="connsiteX25-835" fmla="*/ 7777211 w 9397013"/>
              <a:gd name="connsiteY25-836" fmla="*/ 7124972 h 7143444"/>
              <a:gd name="connsiteX26-837" fmla="*/ 7324729 w 9397013"/>
              <a:gd name="connsiteY26-838" fmla="*/ 7124972 h 7143444"/>
              <a:gd name="connsiteX27-839" fmla="*/ 4245793 w 9397013"/>
              <a:gd name="connsiteY27-840" fmla="*/ 3078214 h 7143444"/>
              <a:gd name="connsiteX28-841" fmla="*/ 4490696 w 9397013"/>
              <a:gd name="connsiteY28-842" fmla="*/ 2757469 h 7143444"/>
              <a:gd name="connsiteX29-843" fmla="*/ 7777211 w 9397013"/>
              <a:gd name="connsiteY29-844" fmla="*/ 7124972 h 7143444"/>
              <a:gd name="connsiteX30-845" fmla="*/ 8567691 w 9397013"/>
              <a:gd name="connsiteY30-846" fmla="*/ 7124971 h 7143444"/>
              <a:gd name="connsiteX31-847" fmla="*/ 8159389 w 9397013"/>
              <a:gd name="connsiteY31-848" fmla="*/ 7134208 h 7143444"/>
              <a:gd name="connsiteX32-849" fmla="*/ 4650570 w 9397013"/>
              <a:gd name="connsiteY32-850" fmla="*/ 2548084 h 7143444"/>
              <a:gd name="connsiteX33-851" fmla="*/ 4869244 w 9397013"/>
              <a:gd name="connsiteY33-852" fmla="*/ 2261689 h 7143444"/>
              <a:gd name="connsiteX34-853" fmla="*/ 8567691 w 9397013"/>
              <a:gd name="connsiteY34-854" fmla="*/ 7124971 h 7143444"/>
              <a:gd name="connsiteX35-855" fmla="*/ 9397013 w 9397013"/>
              <a:gd name="connsiteY35-856" fmla="*/ 7134207 h 7143444"/>
              <a:gd name="connsiteX36-857" fmla="*/ 8921338 w 9397013"/>
              <a:gd name="connsiteY36-858" fmla="*/ 7115735 h 7143444"/>
              <a:gd name="connsiteX37-859" fmla="*/ 5045299 w 9397013"/>
              <a:gd name="connsiteY37-860" fmla="*/ 2031113 h 7143444"/>
              <a:gd name="connsiteX38-861" fmla="*/ 5273037 w 9397013"/>
              <a:gd name="connsiteY38-862" fmla="*/ 1732846 h 7143444"/>
              <a:gd name="connsiteX39-863" fmla="*/ 9397013 w 9397013"/>
              <a:gd name="connsiteY39-864" fmla="*/ 7134207 h 7143444"/>
              <a:gd name="connsiteX0-865" fmla="*/ 168369 w 9397013"/>
              <a:gd name="connsiteY0-866" fmla="*/ 4779933 h 7143444"/>
              <a:gd name="connsiteX1-867" fmla="*/ 0 w 9397013"/>
              <a:gd name="connsiteY1-868" fmla="*/ 4409146 h 7143444"/>
              <a:gd name="connsiteX2-869" fmla="*/ 3332806 w 9397013"/>
              <a:gd name="connsiteY2-870" fmla="*/ 0 h 7143444"/>
              <a:gd name="connsiteX3-871" fmla="*/ 3794560 w 9397013"/>
              <a:gd name="connsiteY3-872" fmla="*/ 32861 h 7143444"/>
              <a:gd name="connsiteX4-873" fmla="*/ 168369 w 9397013"/>
              <a:gd name="connsiteY4-874" fmla="*/ 4779933 h 7143444"/>
              <a:gd name="connsiteX5-875" fmla="*/ 488220 w 9397013"/>
              <a:gd name="connsiteY5-876" fmla="*/ 5484315 h 7143444"/>
              <a:gd name="connsiteX6-877" fmla="*/ 299082 w 9397013"/>
              <a:gd name="connsiteY6-878" fmla="*/ 5067791 h 7143444"/>
              <a:gd name="connsiteX7-879" fmla="*/ 4106456 w 9397013"/>
              <a:gd name="connsiteY7-880" fmla="*/ 55057 h 7143444"/>
              <a:gd name="connsiteX8-881" fmla="*/ 4585079 w 9397013"/>
              <a:gd name="connsiteY8-882" fmla="*/ 89119 h 7143444"/>
              <a:gd name="connsiteX9-883" fmla="*/ 488220 w 9397013"/>
              <a:gd name="connsiteY9-884" fmla="*/ 5484315 h 7143444"/>
              <a:gd name="connsiteX10-885" fmla="*/ 779421 w 9397013"/>
              <a:gd name="connsiteY10-886" fmla="*/ 6125606 h 7143444"/>
              <a:gd name="connsiteX11-887" fmla="*/ 618065 w 9397013"/>
              <a:gd name="connsiteY11-888" fmla="*/ 5770263 h 7143444"/>
              <a:gd name="connsiteX12-889" fmla="*/ 4897528 w 9397013"/>
              <a:gd name="connsiteY12-890" fmla="*/ 111354 h 7143444"/>
              <a:gd name="connsiteX13-891" fmla="*/ 5324893 w 9397013"/>
              <a:gd name="connsiteY13-892" fmla="*/ 141768 h 7143444"/>
              <a:gd name="connsiteX14-893" fmla="*/ 779421 w 9397013"/>
              <a:gd name="connsiteY14-894" fmla="*/ 6125606 h 7143444"/>
              <a:gd name="connsiteX15-895" fmla="*/ 1099910 w 9397013"/>
              <a:gd name="connsiteY15-896" fmla="*/ 6831395 h 7143444"/>
              <a:gd name="connsiteX16-897" fmla="*/ 919656 w 9397013"/>
              <a:gd name="connsiteY16-898" fmla="*/ 6434435 h 7143444"/>
              <a:gd name="connsiteX17-899" fmla="*/ 5668965 w 9397013"/>
              <a:gd name="connsiteY17-900" fmla="*/ 166254 h 7143444"/>
              <a:gd name="connsiteX18-901" fmla="*/ 6114044 w 9397013"/>
              <a:gd name="connsiteY18-902" fmla="*/ 197929 h 7143444"/>
              <a:gd name="connsiteX19-903" fmla="*/ 1099910 w 9397013"/>
              <a:gd name="connsiteY19-904" fmla="*/ 6831395 h 7143444"/>
              <a:gd name="connsiteX20-905" fmla="*/ 6958778 w 9397013"/>
              <a:gd name="connsiteY20-906" fmla="*/ 7124971 h 7143444"/>
              <a:gd name="connsiteX21-907" fmla="*/ 6550802 w 9397013"/>
              <a:gd name="connsiteY21-908" fmla="*/ 7143444 h 7143444"/>
              <a:gd name="connsiteX22-909" fmla="*/ 3849932 w 9397013"/>
              <a:gd name="connsiteY22-910" fmla="*/ 3596670 h 7143444"/>
              <a:gd name="connsiteX23-911" fmla="*/ 4086202 w 9397013"/>
              <a:gd name="connsiteY23-912" fmla="*/ 3287229 h 7143444"/>
              <a:gd name="connsiteX24-913" fmla="*/ 6958778 w 9397013"/>
              <a:gd name="connsiteY24-914" fmla="*/ 7124971 h 7143444"/>
              <a:gd name="connsiteX25-915" fmla="*/ 7777211 w 9397013"/>
              <a:gd name="connsiteY25-916" fmla="*/ 7124972 h 7143444"/>
              <a:gd name="connsiteX26-917" fmla="*/ 7324729 w 9397013"/>
              <a:gd name="connsiteY26-918" fmla="*/ 7124972 h 7143444"/>
              <a:gd name="connsiteX27-919" fmla="*/ 4245793 w 9397013"/>
              <a:gd name="connsiteY27-920" fmla="*/ 3078214 h 7143444"/>
              <a:gd name="connsiteX28-921" fmla="*/ 4490696 w 9397013"/>
              <a:gd name="connsiteY28-922" fmla="*/ 2757469 h 7143444"/>
              <a:gd name="connsiteX29-923" fmla="*/ 7777211 w 9397013"/>
              <a:gd name="connsiteY29-924" fmla="*/ 7124972 h 7143444"/>
              <a:gd name="connsiteX30-925" fmla="*/ 8567691 w 9397013"/>
              <a:gd name="connsiteY30-926" fmla="*/ 7124971 h 7143444"/>
              <a:gd name="connsiteX31-927" fmla="*/ 8159389 w 9397013"/>
              <a:gd name="connsiteY31-928" fmla="*/ 7134208 h 7143444"/>
              <a:gd name="connsiteX32-929" fmla="*/ 4650570 w 9397013"/>
              <a:gd name="connsiteY32-930" fmla="*/ 2548084 h 7143444"/>
              <a:gd name="connsiteX33-931" fmla="*/ 4869244 w 9397013"/>
              <a:gd name="connsiteY33-932" fmla="*/ 2261689 h 7143444"/>
              <a:gd name="connsiteX34-933" fmla="*/ 8567691 w 9397013"/>
              <a:gd name="connsiteY34-934" fmla="*/ 7124971 h 7143444"/>
              <a:gd name="connsiteX35-935" fmla="*/ 9397013 w 9397013"/>
              <a:gd name="connsiteY35-936" fmla="*/ 7134207 h 7143444"/>
              <a:gd name="connsiteX36-937" fmla="*/ 8921338 w 9397013"/>
              <a:gd name="connsiteY36-938" fmla="*/ 7115735 h 7143444"/>
              <a:gd name="connsiteX37-939" fmla="*/ 5045299 w 9397013"/>
              <a:gd name="connsiteY37-940" fmla="*/ 2031113 h 7143444"/>
              <a:gd name="connsiteX38-941" fmla="*/ 5273037 w 9397013"/>
              <a:gd name="connsiteY38-942" fmla="*/ 1732846 h 7143444"/>
              <a:gd name="connsiteX39-943" fmla="*/ 9397013 w 9397013"/>
              <a:gd name="connsiteY39-944" fmla="*/ 7134207 h 7143444"/>
              <a:gd name="connsiteX0-945" fmla="*/ 168369 w 9397013"/>
              <a:gd name="connsiteY0-946" fmla="*/ 4779933 h 7134208"/>
              <a:gd name="connsiteX1-947" fmla="*/ 0 w 9397013"/>
              <a:gd name="connsiteY1-948" fmla="*/ 4409146 h 7134208"/>
              <a:gd name="connsiteX2-949" fmla="*/ 3332806 w 9397013"/>
              <a:gd name="connsiteY2-950" fmla="*/ 0 h 7134208"/>
              <a:gd name="connsiteX3-951" fmla="*/ 3794560 w 9397013"/>
              <a:gd name="connsiteY3-952" fmla="*/ 32861 h 7134208"/>
              <a:gd name="connsiteX4-953" fmla="*/ 168369 w 9397013"/>
              <a:gd name="connsiteY4-954" fmla="*/ 4779933 h 7134208"/>
              <a:gd name="connsiteX5-955" fmla="*/ 488220 w 9397013"/>
              <a:gd name="connsiteY5-956" fmla="*/ 5484315 h 7134208"/>
              <a:gd name="connsiteX6-957" fmla="*/ 299082 w 9397013"/>
              <a:gd name="connsiteY6-958" fmla="*/ 5067791 h 7134208"/>
              <a:gd name="connsiteX7-959" fmla="*/ 4106456 w 9397013"/>
              <a:gd name="connsiteY7-960" fmla="*/ 55057 h 7134208"/>
              <a:gd name="connsiteX8-961" fmla="*/ 4585079 w 9397013"/>
              <a:gd name="connsiteY8-962" fmla="*/ 89119 h 7134208"/>
              <a:gd name="connsiteX9-963" fmla="*/ 488220 w 9397013"/>
              <a:gd name="connsiteY9-964" fmla="*/ 5484315 h 7134208"/>
              <a:gd name="connsiteX10-965" fmla="*/ 779421 w 9397013"/>
              <a:gd name="connsiteY10-966" fmla="*/ 6125606 h 7134208"/>
              <a:gd name="connsiteX11-967" fmla="*/ 618065 w 9397013"/>
              <a:gd name="connsiteY11-968" fmla="*/ 5770263 h 7134208"/>
              <a:gd name="connsiteX12-969" fmla="*/ 4897528 w 9397013"/>
              <a:gd name="connsiteY12-970" fmla="*/ 111354 h 7134208"/>
              <a:gd name="connsiteX13-971" fmla="*/ 5324893 w 9397013"/>
              <a:gd name="connsiteY13-972" fmla="*/ 141768 h 7134208"/>
              <a:gd name="connsiteX14-973" fmla="*/ 779421 w 9397013"/>
              <a:gd name="connsiteY14-974" fmla="*/ 6125606 h 7134208"/>
              <a:gd name="connsiteX15-975" fmla="*/ 1099910 w 9397013"/>
              <a:gd name="connsiteY15-976" fmla="*/ 6831395 h 7134208"/>
              <a:gd name="connsiteX16-977" fmla="*/ 919656 w 9397013"/>
              <a:gd name="connsiteY16-978" fmla="*/ 6434435 h 7134208"/>
              <a:gd name="connsiteX17-979" fmla="*/ 5668965 w 9397013"/>
              <a:gd name="connsiteY17-980" fmla="*/ 166254 h 7134208"/>
              <a:gd name="connsiteX18-981" fmla="*/ 6114044 w 9397013"/>
              <a:gd name="connsiteY18-982" fmla="*/ 197929 h 7134208"/>
              <a:gd name="connsiteX19-983" fmla="*/ 1099910 w 9397013"/>
              <a:gd name="connsiteY19-984" fmla="*/ 6831395 h 7134208"/>
              <a:gd name="connsiteX20-985" fmla="*/ 6958778 w 9397013"/>
              <a:gd name="connsiteY20-986" fmla="*/ 7124971 h 7134208"/>
              <a:gd name="connsiteX21-987" fmla="*/ 6541566 w 9397013"/>
              <a:gd name="connsiteY21-988" fmla="*/ 7115735 h 7134208"/>
              <a:gd name="connsiteX22-989" fmla="*/ 3849932 w 9397013"/>
              <a:gd name="connsiteY22-990" fmla="*/ 3596670 h 7134208"/>
              <a:gd name="connsiteX23-991" fmla="*/ 4086202 w 9397013"/>
              <a:gd name="connsiteY23-992" fmla="*/ 3287229 h 7134208"/>
              <a:gd name="connsiteX24-993" fmla="*/ 6958778 w 9397013"/>
              <a:gd name="connsiteY24-994" fmla="*/ 7124971 h 7134208"/>
              <a:gd name="connsiteX25-995" fmla="*/ 7777211 w 9397013"/>
              <a:gd name="connsiteY25-996" fmla="*/ 7124972 h 7134208"/>
              <a:gd name="connsiteX26-997" fmla="*/ 7324729 w 9397013"/>
              <a:gd name="connsiteY26-998" fmla="*/ 7124972 h 7134208"/>
              <a:gd name="connsiteX27-999" fmla="*/ 4245793 w 9397013"/>
              <a:gd name="connsiteY27-1000" fmla="*/ 3078214 h 7134208"/>
              <a:gd name="connsiteX28-1001" fmla="*/ 4490696 w 9397013"/>
              <a:gd name="connsiteY28-1002" fmla="*/ 2757469 h 7134208"/>
              <a:gd name="connsiteX29-1003" fmla="*/ 7777211 w 9397013"/>
              <a:gd name="connsiteY29-1004" fmla="*/ 7124972 h 7134208"/>
              <a:gd name="connsiteX30-1005" fmla="*/ 8567691 w 9397013"/>
              <a:gd name="connsiteY30-1006" fmla="*/ 7124971 h 7134208"/>
              <a:gd name="connsiteX31-1007" fmla="*/ 8159389 w 9397013"/>
              <a:gd name="connsiteY31-1008" fmla="*/ 7134208 h 7134208"/>
              <a:gd name="connsiteX32-1009" fmla="*/ 4650570 w 9397013"/>
              <a:gd name="connsiteY32-1010" fmla="*/ 2548084 h 7134208"/>
              <a:gd name="connsiteX33-1011" fmla="*/ 4869244 w 9397013"/>
              <a:gd name="connsiteY33-1012" fmla="*/ 2261689 h 7134208"/>
              <a:gd name="connsiteX34-1013" fmla="*/ 8567691 w 9397013"/>
              <a:gd name="connsiteY34-1014" fmla="*/ 7124971 h 7134208"/>
              <a:gd name="connsiteX35-1015" fmla="*/ 9397013 w 9397013"/>
              <a:gd name="connsiteY35-1016" fmla="*/ 7134207 h 7134208"/>
              <a:gd name="connsiteX36-1017" fmla="*/ 8921338 w 9397013"/>
              <a:gd name="connsiteY36-1018" fmla="*/ 7115735 h 7134208"/>
              <a:gd name="connsiteX37-1019" fmla="*/ 5045299 w 9397013"/>
              <a:gd name="connsiteY37-1020" fmla="*/ 2031113 h 7134208"/>
              <a:gd name="connsiteX38-1021" fmla="*/ 5273037 w 9397013"/>
              <a:gd name="connsiteY38-1022" fmla="*/ 1732846 h 7134208"/>
              <a:gd name="connsiteX39-1023" fmla="*/ 9397013 w 9397013"/>
              <a:gd name="connsiteY39-1024" fmla="*/ 7134207 h 7134208"/>
              <a:gd name="connsiteX0-1025" fmla="*/ 168369 w 9397013"/>
              <a:gd name="connsiteY0-1026" fmla="*/ 4779933 h 7134208"/>
              <a:gd name="connsiteX1-1027" fmla="*/ 0 w 9397013"/>
              <a:gd name="connsiteY1-1028" fmla="*/ 4409146 h 7134208"/>
              <a:gd name="connsiteX2-1029" fmla="*/ 3332806 w 9397013"/>
              <a:gd name="connsiteY2-1030" fmla="*/ 0 h 7134208"/>
              <a:gd name="connsiteX3-1031" fmla="*/ 3794560 w 9397013"/>
              <a:gd name="connsiteY3-1032" fmla="*/ 32861 h 7134208"/>
              <a:gd name="connsiteX4-1033" fmla="*/ 168369 w 9397013"/>
              <a:gd name="connsiteY4-1034" fmla="*/ 4779933 h 7134208"/>
              <a:gd name="connsiteX5-1035" fmla="*/ 488220 w 9397013"/>
              <a:gd name="connsiteY5-1036" fmla="*/ 5484315 h 7134208"/>
              <a:gd name="connsiteX6-1037" fmla="*/ 299082 w 9397013"/>
              <a:gd name="connsiteY6-1038" fmla="*/ 5067791 h 7134208"/>
              <a:gd name="connsiteX7-1039" fmla="*/ 4106456 w 9397013"/>
              <a:gd name="connsiteY7-1040" fmla="*/ 55057 h 7134208"/>
              <a:gd name="connsiteX8-1041" fmla="*/ 4585079 w 9397013"/>
              <a:gd name="connsiteY8-1042" fmla="*/ 89119 h 7134208"/>
              <a:gd name="connsiteX9-1043" fmla="*/ 488220 w 9397013"/>
              <a:gd name="connsiteY9-1044" fmla="*/ 5484315 h 7134208"/>
              <a:gd name="connsiteX10-1045" fmla="*/ 779421 w 9397013"/>
              <a:gd name="connsiteY10-1046" fmla="*/ 6125606 h 7134208"/>
              <a:gd name="connsiteX11-1047" fmla="*/ 618065 w 9397013"/>
              <a:gd name="connsiteY11-1048" fmla="*/ 5770263 h 7134208"/>
              <a:gd name="connsiteX12-1049" fmla="*/ 4897528 w 9397013"/>
              <a:gd name="connsiteY12-1050" fmla="*/ 111354 h 7134208"/>
              <a:gd name="connsiteX13-1051" fmla="*/ 5324893 w 9397013"/>
              <a:gd name="connsiteY13-1052" fmla="*/ 141768 h 7134208"/>
              <a:gd name="connsiteX14-1053" fmla="*/ 779421 w 9397013"/>
              <a:gd name="connsiteY14-1054" fmla="*/ 6125606 h 7134208"/>
              <a:gd name="connsiteX15-1055" fmla="*/ 1099910 w 9397013"/>
              <a:gd name="connsiteY15-1056" fmla="*/ 6831395 h 7134208"/>
              <a:gd name="connsiteX16-1057" fmla="*/ 919656 w 9397013"/>
              <a:gd name="connsiteY16-1058" fmla="*/ 6434435 h 7134208"/>
              <a:gd name="connsiteX17-1059" fmla="*/ 5668965 w 9397013"/>
              <a:gd name="connsiteY17-1060" fmla="*/ 166254 h 7134208"/>
              <a:gd name="connsiteX18-1061" fmla="*/ 6114044 w 9397013"/>
              <a:gd name="connsiteY18-1062" fmla="*/ 197929 h 7134208"/>
              <a:gd name="connsiteX19-1063" fmla="*/ 1099910 w 9397013"/>
              <a:gd name="connsiteY19-1064" fmla="*/ 6831395 h 7134208"/>
              <a:gd name="connsiteX20-1065" fmla="*/ 6958778 w 9397013"/>
              <a:gd name="connsiteY20-1066" fmla="*/ 7124971 h 7134208"/>
              <a:gd name="connsiteX21-1067" fmla="*/ 6560038 w 9397013"/>
              <a:gd name="connsiteY21-1068" fmla="*/ 7134207 h 7134208"/>
              <a:gd name="connsiteX22-1069" fmla="*/ 3849932 w 9397013"/>
              <a:gd name="connsiteY22-1070" fmla="*/ 3596670 h 7134208"/>
              <a:gd name="connsiteX23-1071" fmla="*/ 4086202 w 9397013"/>
              <a:gd name="connsiteY23-1072" fmla="*/ 3287229 h 7134208"/>
              <a:gd name="connsiteX24-1073" fmla="*/ 6958778 w 9397013"/>
              <a:gd name="connsiteY24-1074" fmla="*/ 7124971 h 7134208"/>
              <a:gd name="connsiteX25-1075" fmla="*/ 7777211 w 9397013"/>
              <a:gd name="connsiteY25-1076" fmla="*/ 7124972 h 7134208"/>
              <a:gd name="connsiteX26-1077" fmla="*/ 7324729 w 9397013"/>
              <a:gd name="connsiteY26-1078" fmla="*/ 7124972 h 7134208"/>
              <a:gd name="connsiteX27-1079" fmla="*/ 4245793 w 9397013"/>
              <a:gd name="connsiteY27-1080" fmla="*/ 3078214 h 7134208"/>
              <a:gd name="connsiteX28-1081" fmla="*/ 4490696 w 9397013"/>
              <a:gd name="connsiteY28-1082" fmla="*/ 2757469 h 7134208"/>
              <a:gd name="connsiteX29-1083" fmla="*/ 7777211 w 9397013"/>
              <a:gd name="connsiteY29-1084" fmla="*/ 7124972 h 7134208"/>
              <a:gd name="connsiteX30-1085" fmla="*/ 8567691 w 9397013"/>
              <a:gd name="connsiteY30-1086" fmla="*/ 7124971 h 7134208"/>
              <a:gd name="connsiteX31-1087" fmla="*/ 8159389 w 9397013"/>
              <a:gd name="connsiteY31-1088" fmla="*/ 7134208 h 7134208"/>
              <a:gd name="connsiteX32-1089" fmla="*/ 4650570 w 9397013"/>
              <a:gd name="connsiteY32-1090" fmla="*/ 2548084 h 7134208"/>
              <a:gd name="connsiteX33-1091" fmla="*/ 4869244 w 9397013"/>
              <a:gd name="connsiteY33-1092" fmla="*/ 2261689 h 7134208"/>
              <a:gd name="connsiteX34-1093" fmla="*/ 8567691 w 9397013"/>
              <a:gd name="connsiteY34-1094" fmla="*/ 7124971 h 7134208"/>
              <a:gd name="connsiteX35-1095" fmla="*/ 9397013 w 9397013"/>
              <a:gd name="connsiteY35-1096" fmla="*/ 7134207 h 7134208"/>
              <a:gd name="connsiteX36-1097" fmla="*/ 8921338 w 9397013"/>
              <a:gd name="connsiteY36-1098" fmla="*/ 7115735 h 7134208"/>
              <a:gd name="connsiteX37-1099" fmla="*/ 5045299 w 9397013"/>
              <a:gd name="connsiteY37-1100" fmla="*/ 2031113 h 7134208"/>
              <a:gd name="connsiteX38-1101" fmla="*/ 5273037 w 9397013"/>
              <a:gd name="connsiteY38-1102" fmla="*/ 1732846 h 7134208"/>
              <a:gd name="connsiteX39-1103" fmla="*/ 9397013 w 9397013"/>
              <a:gd name="connsiteY39-1104" fmla="*/ 7134207 h 7134208"/>
              <a:gd name="connsiteX0-1105" fmla="*/ 168369 w 9397013"/>
              <a:gd name="connsiteY0-1106" fmla="*/ 4779933 h 7134208"/>
              <a:gd name="connsiteX1-1107" fmla="*/ 0 w 9397013"/>
              <a:gd name="connsiteY1-1108" fmla="*/ 4409146 h 7134208"/>
              <a:gd name="connsiteX2-1109" fmla="*/ 3332806 w 9397013"/>
              <a:gd name="connsiteY2-1110" fmla="*/ 0 h 7134208"/>
              <a:gd name="connsiteX3-1111" fmla="*/ 3794560 w 9397013"/>
              <a:gd name="connsiteY3-1112" fmla="*/ 32861 h 7134208"/>
              <a:gd name="connsiteX4-1113" fmla="*/ 168369 w 9397013"/>
              <a:gd name="connsiteY4-1114" fmla="*/ 4779933 h 7134208"/>
              <a:gd name="connsiteX5-1115" fmla="*/ 488220 w 9397013"/>
              <a:gd name="connsiteY5-1116" fmla="*/ 5484315 h 7134208"/>
              <a:gd name="connsiteX6-1117" fmla="*/ 299082 w 9397013"/>
              <a:gd name="connsiteY6-1118" fmla="*/ 5067791 h 7134208"/>
              <a:gd name="connsiteX7-1119" fmla="*/ 4106456 w 9397013"/>
              <a:gd name="connsiteY7-1120" fmla="*/ 55057 h 7134208"/>
              <a:gd name="connsiteX8-1121" fmla="*/ 4585079 w 9397013"/>
              <a:gd name="connsiteY8-1122" fmla="*/ 89119 h 7134208"/>
              <a:gd name="connsiteX9-1123" fmla="*/ 488220 w 9397013"/>
              <a:gd name="connsiteY9-1124" fmla="*/ 5484315 h 7134208"/>
              <a:gd name="connsiteX10-1125" fmla="*/ 779421 w 9397013"/>
              <a:gd name="connsiteY10-1126" fmla="*/ 6125606 h 7134208"/>
              <a:gd name="connsiteX11-1127" fmla="*/ 618065 w 9397013"/>
              <a:gd name="connsiteY11-1128" fmla="*/ 5770263 h 7134208"/>
              <a:gd name="connsiteX12-1129" fmla="*/ 4897528 w 9397013"/>
              <a:gd name="connsiteY12-1130" fmla="*/ 111354 h 7134208"/>
              <a:gd name="connsiteX13-1131" fmla="*/ 5324893 w 9397013"/>
              <a:gd name="connsiteY13-1132" fmla="*/ 141768 h 7134208"/>
              <a:gd name="connsiteX14-1133" fmla="*/ 779421 w 9397013"/>
              <a:gd name="connsiteY14-1134" fmla="*/ 6125606 h 7134208"/>
              <a:gd name="connsiteX15-1135" fmla="*/ 1099910 w 9397013"/>
              <a:gd name="connsiteY15-1136" fmla="*/ 6831395 h 7134208"/>
              <a:gd name="connsiteX16-1137" fmla="*/ 919656 w 9397013"/>
              <a:gd name="connsiteY16-1138" fmla="*/ 6434435 h 7134208"/>
              <a:gd name="connsiteX17-1139" fmla="*/ 5668965 w 9397013"/>
              <a:gd name="connsiteY17-1140" fmla="*/ 166254 h 7134208"/>
              <a:gd name="connsiteX18-1141" fmla="*/ 6077099 w 9397013"/>
              <a:gd name="connsiteY18-1142" fmla="*/ 225638 h 7134208"/>
              <a:gd name="connsiteX19-1143" fmla="*/ 1099910 w 9397013"/>
              <a:gd name="connsiteY19-1144" fmla="*/ 6831395 h 7134208"/>
              <a:gd name="connsiteX20-1145" fmla="*/ 6958778 w 9397013"/>
              <a:gd name="connsiteY20-1146" fmla="*/ 7124971 h 7134208"/>
              <a:gd name="connsiteX21-1147" fmla="*/ 6560038 w 9397013"/>
              <a:gd name="connsiteY21-1148" fmla="*/ 7134207 h 7134208"/>
              <a:gd name="connsiteX22-1149" fmla="*/ 3849932 w 9397013"/>
              <a:gd name="connsiteY22-1150" fmla="*/ 3596670 h 7134208"/>
              <a:gd name="connsiteX23-1151" fmla="*/ 4086202 w 9397013"/>
              <a:gd name="connsiteY23-1152" fmla="*/ 3287229 h 7134208"/>
              <a:gd name="connsiteX24-1153" fmla="*/ 6958778 w 9397013"/>
              <a:gd name="connsiteY24-1154" fmla="*/ 7124971 h 7134208"/>
              <a:gd name="connsiteX25-1155" fmla="*/ 7777211 w 9397013"/>
              <a:gd name="connsiteY25-1156" fmla="*/ 7124972 h 7134208"/>
              <a:gd name="connsiteX26-1157" fmla="*/ 7324729 w 9397013"/>
              <a:gd name="connsiteY26-1158" fmla="*/ 7124972 h 7134208"/>
              <a:gd name="connsiteX27-1159" fmla="*/ 4245793 w 9397013"/>
              <a:gd name="connsiteY27-1160" fmla="*/ 3078214 h 7134208"/>
              <a:gd name="connsiteX28-1161" fmla="*/ 4490696 w 9397013"/>
              <a:gd name="connsiteY28-1162" fmla="*/ 2757469 h 7134208"/>
              <a:gd name="connsiteX29-1163" fmla="*/ 7777211 w 9397013"/>
              <a:gd name="connsiteY29-1164" fmla="*/ 7124972 h 7134208"/>
              <a:gd name="connsiteX30-1165" fmla="*/ 8567691 w 9397013"/>
              <a:gd name="connsiteY30-1166" fmla="*/ 7124971 h 7134208"/>
              <a:gd name="connsiteX31-1167" fmla="*/ 8159389 w 9397013"/>
              <a:gd name="connsiteY31-1168" fmla="*/ 7134208 h 7134208"/>
              <a:gd name="connsiteX32-1169" fmla="*/ 4650570 w 9397013"/>
              <a:gd name="connsiteY32-1170" fmla="*/ 2548084 h 7134208"/>
              <a:gd name="connsiteX33-1171" fmla="*/ 4869244 w 9397013"/>
              <a:gd name="connsiteY33-1172" fmla="*/ 2261689 h 7134208"/>
              <a:gd name="connsiteX34-1173" fmla="*/ 8567691 w 9397013"/>
              <a:gd name="connsiteY34-1174" fmla="*/ 7124971 h 7134208"/>
              <a:gd name="connsiteX35-1175" fmla="*/ 9397013 w 9397013"/>
              <a:gd name="connsiteY35-1176" fmla="*/ 7134207 h 7134208"/>
              <a:gd name="connsiteX36-1177" fmla="*/ 8921338 w 9397013"/>
              <a:gd name="connsiteY36-1178" fmla="*/ 7115735 h 7134208"/>
              <a:gd name="connsiteX37-1179" fmla="*/ 5045299 w 9397013"/>
              <a:gd name="connsiteY37-1180" fmla="*/ 2031113 h 7134208"/>
              <a:gd name="connsiteX38-1181" fmla="*/ 5273037 w 9397013"/>
              <a:gd name="connsiteY38-1182" fmla="*/ 1732846 h 7134208"/>
              <a:gd name="connsiteX39-1183" fmla="*/ 9397013 w 9397013"/>
              <a:gd name="connsiteY39-1184" fmla="*/ 7134207 h 7134208"/>
              <a:gd name="connsiteX0-1185" fmla="*/ 168369 w 9397013"/>
              <a:gd name="connsiteY0-1186" fmla="*/ 4779933 h 7134208"/>
              <a:gd name="connsiteX1-1187" fmla="*/ 0 w 9397013"/>
              <a:gd name="connsiteY1-1188" fmla="*/ 4409146 h 7134208"/>
              <a:gd name="connsiteX2-1189" fmla="*/ 3332806 w 9397013"/>
              <a:gd name="connsiteY2-1190" fmla="*/ 0 h 7134208"/>
              <a:gd name="connsiteX3-1191" fmla="*/ 3794560 w 9397013"/>
              <a:gd name="connsiteY3-1192" fmla="*/ 32861 h 7134208"/>
              <a:gd name="connsiteX4-1193" fmla="*/ 168369 w 9397013"/>
              <a:gd name="connsiteY4-1194" fmla="*/ 4779933 h 7134208"/>
              <a:gd name="connsiteX5-1195" fmla="*/ 488220 w 9397013"/>
              <a:gd name="connsiteY5-1196" fmla="*/ 5484315 h 7134208"/>
              <a:gd name="connsiteX6-1197" fmla="*/ 299082 w 9397013"/>
              <a:gd name="connsiteY6-1198" fmla="*/ 5067791 h 7134208"/>
              <a:gd name="connsiteX7-1199" fmla="*/ 4106456 w 9397013"/>
              <a:gd name="connsiteY7-1200" fmla="*/ 55057 h 7134208"/>
              <a:gd name="connsiteX8-1201" fmla="*/ 4585079 w 9397013"/>
              <a:gd name="connsiteY8-1202" fmla="*/ 89119 h 7134208"/>
              <a:gd name="connsiteX9-1203" fmla="*/ 488220 w 9397013"/>
              <a:gd name="connsiteY9-1204" fmla="*/ 5484315 h 7134208"/>
              <a:gd name="connsiteX10-1205" fmla="*/ 779421 w 9397013"/>
              <a:gd name="connsiteY10-1206" fmla="*/ 6125606 h 7134208"/>
              <a:gd name="connsiteX11-1207" fmla="*/ 618065 w 9397013"/>
              <a:gd name="connsiteY11-1208" fmla="*/ 5770263 h 7134208"/>
              <a:gd name="connsiteX12-1209" fmla="*/ 4897528 w 9397013"/>
              <a:gd name="connsiteY12-1210" fmla="*/ 111354 h 7134208"/>
              <a:gd name="connsiteX13-1211" fmla="*/ 5324893 w 9397013"/>
              <a:gd name="connsiteY13-1212" fmla="*/ 141768 h 7134208"/>
              <a:gd name="connsiteX14-1213" fmla="*/ 779421 w 9397013"/>
              <a:gd name="connsiteY14-1214" fmla="*/ 6125606 h 7134208"/>
              <a:gd name="connsiteX15-1215" fmla="*/ 1099910 w 9397013"/>
              <a:gd name="connsiteY15-1216" fmla="*/ 6831395 h 7134208"/>
              <a:gd name="connsiteX16-1217" fmla="*/ 919656 w 9397013"/>
              <a:gd name="connsiteY16-1218" fmla="*/ 6434435 h 7134208"/>
              <a:gd name="connsiteX17-1219" fmla="*/ 5613547 w 9397013"/>
              <a:gd name="connsiteY17-1220" fmla="*/ 240145 h 7134208"/>
              <a:gd name="connsiteX18-1221" fmla="*/ 6077099 w 9397013"/>
              <a:gd name="connsiteY18-1222" fmla="*/ 225638 h 7134208"/>
              <a:gd name="connsiteX19-1223" fmla="*/ 1099910 w 9397013"/>
              <a:gd name="connsiteY19-1224" fmla="*/ 6831395 h 7134208"/>
              <a:gd name="connsiteX20-1225" fmla="*/ 6958778 w 9397013"/>
              <a:gd name="connsiteY20-1226" fmla="*/ 7124971 h 7134208"/>
              <a:gd name="connsiteX21-1227" fmla="*/ 6560038 w 9397013"/>
              <a:gd name="connsiteY21-1228" fmla="*/ 7134207 h 7134208"/>
              <a:gd name="connsiteX22-1229" fmla="*/ 3849932 w 9397013"/>
              <a:gd name="connsiteY22-1230" fmla="*/ 3596670 h 7134208"/>
              <a:gd name="connsiteX23-1231" fmla="*/ 4086202 w 9397013"/>
              <a:gd name="connsiteY23-1232" fmla="*/ 3287229 h 7134208"/>
              <a:gd name="connsiteX24-1233" fmla="*/ 6958778 w 9397013"/>
              <a:gd name="connsiteY24-1234" fmla="*/ 7124971 h 7134208"/>
              <a:gd name="connsiteX25-1235" fmla="*/ 7777211 w 9397013"/>
              <a:gd name="connsiteY25-1236" fmla="*/ 7124972 h 7134208"/>
              <a:gd name="connsiteX26-1237" fmla="*/ 7324729 w 9397013"/>
              <a:gd name="connsiteY26-1238" fmla="*/ 7124972 h 7134208"/>
              <a:gd name="connsiteX27-1239" fmla="*/ 4245793 w 9397013"/>
              <a:gd name="connsiteY27-1240" fmla="*/ 3078214 h 7134208"/>
              <a:gd name="connsiteX28-1241" fmla="*/ 4490696 w 9397013"/>
              <a:gd name="connsiteY28-1242" fmla="*/ 2757469 h 7134208"/>
              <a:gd name="connsiteX29-1243" fmla="*/ 7777211 w 9397013"/>
              <a:gd name="connsiteY29-1244" fmla="*/ 7124972 h 7134208"/>
              <a:gd name="connsiteX30-1245" fmla="*/ 8567691 w 9397013"/>
              <a:gd name="connsiteY30-1246" fmla="*/ 7124971 h 7134208"/>
              <a:gd name="connsiteX31-1247" fmla="*/ 8159389 w 9397013"/>
              <a:gd name="connsiteY31-1248" fmla="*/ 7134208 h 7134208"/>
              <a:gd name="connsiteX32-1249" fmla="*/ 4650570 w 9397013"/>
              <a:gd name="connsiteY32-1250" fmla="*/ 2548084 h 7134208"/>
              <a:gd name="connsiteX33-1251" fmla="*/ 4869244 w 9397013"/>
              <a:gd name="connsiteY33-1252" fmla="*/ 2261689 h 7134208"/>
              <a:gd name="connsiteX34-1253" fmla="*/ 8567691 w 9397013"/>
              <a:gd name="connsiteY34-1254" fmla="*/ 7124971 h 7134208"/>
              <a:gd name="connsiteX35-1255" fmla="*/ 9397013 w 9397013"/>
              <a:gd name="connsiteY35-1256" fmla="*/ 7134207 h 7134208"/>
              <a:gd name="connsiteX36-1257" fmla="*/ 8921338 w 9397013"/>
              <a:gd name="connsiteY36-1258" fmla="*/ 7115735 h 7134208"/>
              <a:gd name="connsiteX37-1259" fmla="*/ 5045299 w 9397013"/>
              <a:gd name="connsiteY37-1260" fmla="*/ 2031113 h 7134208"/>
              <a:gd name="connsiteX38-1261" fmla="*/ 5273037 w 9397013"/>
              <a:gd name="connsiteY38-1262" fmla="*/ 1732846 h 7134208"/>
              <a:gd name="connsiteX39-1263" fmla="*/ 9397013 w 9397013"/>
              <a:gd name="connsiteY39-1264" fmla="*/ 7134207 h 7134208"/>
              <a:gd name="connsiteX0-1265" fmla="*/ 168369 w 9397013"/>
              <a:gd name="connsiteY0-1266" fmla="*/ 4779933 h 7134208"/>
              <a:gd name="connsiteX1-1267" fmla="*/ 0 w 9397013"/>
              <a:gd name="connsiteY1-1268" fmla="*/ 4409146 h 7134208"/>
              <a:gd name="connsiteX2-1269" fmla="*/ 3332806 w 9397013"/>
              <a:gd name="connsiteY2-1270" fmla="*/ 0 h 7134208"/>
              <a:gd name="connsiteX3-1271" fmla="*/ 3794560 w 9397013"/>
              <a:gd name="connsiteY3-1272" fmla="*/ 32861 h 7134208"/>
              <a:gd name="connsiteX4-1273" fmla="*/ 168369 w 9397013"/>
              <a:gd name="connsiteY4-1274" fmla="*/ 4779933 h 7134208"/>
              <a:gd name="connsiteX5-1275" fmla="*/ 488220 w 9397013"/>
              <a:gd name="connsiteY5-1276" fmla="*/ 5484315 h 7134208"/>
              <a:gd name="connsiteX6-1277" fmla="*/ 299082 w 9397013"/>
              <a:gd name="connsiteY6-1278" fmla="*/ 5067791 h 7134208"/>
              <a:gd name="connsiteX7-1279" fmla="*/ 4106456 w 9397013"/>
              <a:gd name="connsiteY7-1280" fmla="*/ 55057 h 7134208"/>
              <a:gd name="connsiteX8-1281" fmla="*/ 4585079 w 9397013"/>
              <a:gd name="connsiteY8-1282" fmla="*/ 89119 h 7134208"/>
              <a:gd name="connsiteX9-1283" fmla="*/ 488220 w 9397013"/>
              <a:gd name="connsiteY9-1284" fmla="*/ 5484315 h 7134208"/>
              <a:gd name="connsiteX10-1285" fmla="*/ 779421 w 9397013"/>
              <a:gd name="connsiteY10-1286" fmla="*/ 6125606 h 7134208"/>
              <a:gd name="connsiteX11-1287" fmla="*/ 618065 w 9397013"/>
              <a:gd name="connsiteY11-1288" fmla="*/ 5770263 h 7134208"/>
              <a:gd name="connsiteX12-1289" fmla="*/ 4897528 w 9397013"/>
              <a:gd name="connsiteY12-1290" fmla="*/ 111354 h 7134208"/>
              <a:gd name="connsiteX13-1291" fmla="*/ 5324893 w 9397013"/>
              <a:gd name="connsiteY13-1292" fmla="*/ 141768 h 7134208"/>
              <a:gd name="connsiteX14-1293" fmla="*/ 779421 w 9397013"/>
              <a:gd name="connsiteY14-1294" fmla="*/ 6125606 h 7134208"/>
              <a:gd name="connsiteX15-1295" fmla="*/ 1099910 w 9397013"/>
              <a:gd name="connsiteY15-1296" fmla="*/ 6831395 h 7134208"/>
              <a:gd name="connsiteX16-1297" fmla="*/ 919656 w 9397013"/>
              <a:gd name="connsiteY16-1298" fmla="*/ 6434435 h 7134208"/>
              <a:gd name="connsiteX17-1299" fmla="*/ 5641256 w 9397013"/>
              <a:gd name="connsiteY17-1300" fmla="*/ 212436 h 7134208"/>
              <a:gd name="connsiteX18-1301" fmla="*/ 6077099 w 9397013"/>
              <a:gd name="connsiteY18-1302" fmla="*/ 225638 h 7134208"/>
              <a:gd name="connsiteX19-1303" fmla="*/ 1099910 w 9397013"/>
              <a:gd name="connsiteY19-1304" fmla="*/ 6831395 h 7134208"/>
              <a:gd name="connsiteX20-1305" fmla="*/ 6958778 w 9397013"/>
              <a:gd name="connsiteY20-1306" fmla="*/ 7124971 h 7134208"/>
              <a:gd name="connsiteX21-1307" fmla="*/ 6560038 w 9397013"/>
              <a:gd name="connsiteY21-1308" fmla="*/ 7134207 h 7134208"/>
              <a:gd name="connsiteX22-1309" fmla="*/ 3849932 w 9397013"/>
              <a:gd name="connsiteY22-1310" fmla="*/ 3596670 h 7134208"/>
              <a:gd name="connsiteX23-1311" fmla="*/ 4086202 w 9397013"/>
              <a:gd name="connsiteY23-1312" fmla="*/ 3287229 h 7134208"/>
              <a:gd name="connsiteX24-1313" fmla="*/ 6958778 w 9397013"/>
              <a:gd name="connsiteY24-1314" fmla="*/ 7124971 h 7134208"/>
              <a:gd name="connsiteX25-1315" fmla="*/ 7777211 w 9397013"/>
              <a:gd name="connsiteY25-1316" fmla="*/ 7124972 h 7134208"/>
              <a:gd name="connsiteX26-1317" fmla="*/ 7324729 w 9397013"/>
              <a:gd name="connsiteY26-1318" fmla="*/ 7124972 h 7134208"/>
              <a:gd name="connsiteX27-1319" fmla="*/ 4245793 w 9397013"/>
              <a:gd name="connsiteY27-1320" fmla="*/ 3078214 h 7134208"/>
              <a:gd name="connsiteX28-1321" fmla="*/ 4490696 w 9397013"/>
              <a:gd name="connsiteY28-1322" fmla="*/ 2757469 h 7134208"/>
              <a:gd name="connsiteX29-1323" fmla="*/ 7777211 w 9397013"/>
              <a:gd name="connsiteY29-1324" fmla="*/ 7124972 h 7134208"/>
              <a:gd name="connsiteX30-1325" fmla="*/ 8567691 w 9397013"/>
              <a:gd name="connsiteY30-1326" fmla="*/ 7124971 h 7134208"/>
              <a:gd name="connsiteX31-1327" fmla="*/ 8159389 w 9397013"/>
              <a:gd name="connsiteY31-1328" fmla="*/ 7134208 h 7134208"/>
              <a:gd name="connsiteX32-1329" fmla="*/ 4650570 w 9397013"/>
              <a:gd name="connsiteY32-1330" fmla="*/ 2548084 h 7134208"/>
              <a:gd name="connsiteX33-1331" fmla="*/ 4869244 w 9397013"/>
              <a:gd name="connsiteY33-1332" fmla="*/ 2261689 h 7134208"/>
              <a:gd name="connsiteX34-1333" fmla="*/ 8567691 w 9397013"/>
              <a:gd name="connsiteY34-1334" fmla="*/ 7124971 h 7134208"/>
              <a:gd name="connsiteX35-1335" fmla="*/ 9397013 w 9397013"/>
              <a:gd name="connsiteY35-1336" fmla="*/ 7134207 h 7134208"/>
              <a:gd name="connsiteX36-1337" fmla="*/ 8921338 w 9397013"/>
              <a:gd name="connsiteY36-1338" fmla="*/ 7115735 h 7134208"/>
              <a:gd name="connsiteX37-1339" fmla="*/ 5045299 w 9397013"/>
              <a:gd name="connsiteY37-1340" fmla="*/ 2031113 h 7134208"/>
              <a:gd name="connsiteX38-1341" fmla="*/ 5273037 w 9397013"/>
              <a:gd name="connsiteY38-1342" fmla="*/ 1732846 h 7134208"/>
              <a:gd name="connsiteX39-1343" fmla="*/ 9397013 w 9397013"/>
              <a:gd name="connsiteY39-1344" fmla="*/ 7134207 h 7134208"/>
              <a:gd name="connsiteX0-1345" fmla="*/ 168369 w 9397013"/>
              <a:gd name="connsiteY0-1346" fmla="*/ 4779933 h 7134208"/>
              <a:gd name="connsiteX1-1347" fmla="*/ 0 w 9397013"/>
              <a:gd name="connsiteY1-1348" fmla="*/ 4409146 h 7134208"/>
              <a:gd name="connsiteX2-1349" fmla="*/ 3332806 w 9397013"/>
              <a:gd name="connsiteY2-1350" fmla="*/ 0 h 7134208"/>
              <a:gd name="connsiteX3-1351" fmla="*/ 3794560 w 9397013"/>
              <a:gd name="connsiteY3-1352" fmla="*/ 32861 h 7134208"/>
              <a:gd name="connsiteX4-1353" fmla="*/ 168369 w 9397013"/>
              <a:gd name="connsiteY4-1354" fmla="*/ 4779933 h 7134208"/>
              <a:gd name="connsiteX5-1355" fmla="*/ 488220 w 9397013"/>
              <a:gd name="connsiteY5-1356" fmla="*/ 5484315 h 7134208"/>
              <a:gd name="connsiteX6-1357" fmla="*/ 299082 w 9397013"/>
              <a:gd name="connsiteY6-1358" fmla="*/ 5067791 h 7134208"/>
              <a:gd name="connsiteX7-1359" fmla="*/ 4106456 w 9397013"/>
              <a:gd name="connsiteY7-1360" fmla="*/ 55057 h 7134208"/>
              <a:gd name="connsiteX8-1361" fmla="*/ 4585079 w 9397013"/>
              <a:gd name="connsiteY8-1362" fmla="*/ 89119 h 7134208"/>
              <a:gd name="connsiteX9-1363" fmla="*/ 488220 w 9397013"/>
              <a:gd name="connsiteY9-1364" fmla="*/ 5484315 h 7134208"/>
              <a:gd name="connsiteX10-1365" fmla="*/ 779421 w 9397013"/>
              <a:gd name="connsiteY10-1366" fmla="*/ 6125606 h 7134208"/>
              <a:gd name="connsiteX11-1367" fmla="*/ 618065 w 9397013"/>
              <a:gd name="connsiteY11-1368" fmla="*/ 5770263 h 7134208"/>
              <a:gd name="connsiteX12-1369" fmla="*/ 4897528 w 9397013"/>
              <a:gd name="connsiteY12-1370" fmla="*/ 111354 h 7134208"/>
              <a:gd name="connsiteX13-1371" fmla="*/ 5260238 w 9397013"/>
              <a:gd name="connsiteY13-1372" fmla="*/ 234131 h 7134208"/>
              <a:gd name="connsiteX14-1373" fmla="*/ 779421 w 9397013"/>
              <a:gd name="connsiteY14-1374" fmla="*/ 6125606 h 7134208"/>
              <a:gd name="connsiteX15-1375" fmla="*/ 1099910 w 9397013"/>
              <a:gd name="connsiteY15-1376" fmla="*/ 6831395 h 7134208"/>
              <a:gd name="connsiteX16-1377" fmla="*/ 919656 w 9397013"/>
              <a:gd name="connsiteY16-1378" fmla="*/ 6434435 h 7134208"/>
              <a:gd name="connsiteX17-1379" fmla="*/ 5641256 w 9397013"/>
              <a:gd name="connsiteY17-1380" fmla="*/ 212436 h 7134208"/>
              <a:gd name="connsiteX18-1381" fmla="*/ 6077099 w 9397013"/>
              <a:gd name="connsiteY18-1382" fmla="*/ 225638 h 7134208"/>
              <a:gd name="connsiteX19-1383" fmla="*/ 1099910 w 9397013"/>
              <a:gd name="connsiteY19-1384" fmla="*/ 6831395 h 7134208"/>
              <a:gd name="connsiteX20-1385" fmla="*/ 6958778 w 9397013"/>
              <a:gd name="connsiteY20-1386" fmla="*/ 7124971 h 7134208"/>
              <a:gd name="connsiteX21-1387" fmla="*/ 6560038 w 9397013"/>
              <a:gd name="connsiteY21-1388" fmla="*/ 7134207 h 7134208"/>
              <a:gd name="connsiteX22-1389" fmla="*/ 3849932 w 9397013"/>
              <a:gd name="connsiteY22-1390" fmla="*/ 3596670 h 7134208"/>
              <a:gd name="connsiteX23-1391" fmla="*/ 4086202 w 9397013"/>
              <a:gd name="connsiteY23-1392" fmla="*/ 3287229 h 7134208"/>
              <a:gd name="connsiteX24-1393" fmla="*/ 6958778 w 9397013"/>
              <a:gd name="connsiteY24-1394" fmla="*/ 7124971 h 7134208"/>
              <a:gd name="connsiteX25-1395" fmla="*/ 7777211 w 9397013"/>
              <a:gd name="connsiteY25-1396" fmla="*/ 7124972 h 7134208"/>
              <a:gd name="connsiteX26-1397" fmla="*/ 7324729 w 9397013"/>
              <a:gd name="connsiteY26-1398" fmla="*/ 7124972 h 7134208"/>
              <a:gd name="connsiteX27-1399" fmla="*/ 4245793 w 9397013"/>
              <a:gd name="connsiteY27-1400" fmla="*/ 3078214 h 7134208"/>
              <a:gd name="connsiteX28-1401" fmla="*/ 4490696 w 9397013"/>
              <a:gd name="connsiteY28-1402" fmla="*/ 2757469 h 7134208"/>
              <a:gd name="connsiteX29-1403" fmla="*/ 7777211 w 9397013"/>
              <a:gd name="connsiteY29-1404" fmla="*/ 7124972 h 7134208"/>
              <a:gd name="connsiteX30-1405" fmla="*/ 8567691 w 9397013"/>
              <a:gd name="connsiteY30-1406" fmla="*/ 7124971 h 7134208"/>
              <a:gd name="connsiteX31-1407" fmla="*/ 8159389 w 9397013"/>
              <a:gd name="connsiteY31-1408" fmla="*/ 7134208 h 7134208"/>
              <a:gd name="connsiteX32-1409" fmla="*/ 4650570 w 9397013"/>
              <a:gd name="connsiteY32-1410" fmla="*/ 2548084 h 7134208"/>
              <a:gd name="connsiteX33-1411" fmla="*/ 4869244 w 9397013"/>
              <a:gd name="connsiteY33-1412" fmla="*/ 2261689 h 7134208"/>
              <a:gd name="connsiteX34-1413" fmla="*/ 8567691 w 9397013"/>
              <a:gd name="connsiteY34-1414" fmla="*/ 7124971 h 7134208"/>
              <a:gd name="connsiteX35-1415" fmla="*/ 9397013 w 9397013"/>
              <a:gd name="connsiteY35-1416" fmla="*/ 7134207 h 7134208"/>
              <a:gd name="connsiteX36-1417" fmla="*/ 8921338 w 9397013"/>
              <a:gd name="connsiteY36-1418" fmla="*/ 7115735 h 7134208"/>
              <a:gd name="connsiteX37-1419" fmla="*/ 5045299 w 9397013"/>
              <a:gd name="connsiteY37-1420" fmla="*/ 2031113 h 7134208"/>
              <a:gd name="connsiteX38-1421" fmla="*/ 5273037 w 9397013"/>
              <a:gd name="connsiteY38-1422" fmla="*/ 1732846 h 7134208"/>
              <a:gd name="connsiteX39-1423" fmla="*/ 9397013 w 9397013"/>
              <a:gd name="connsiteY39-1424" fmla="*/ 7134207 h 7134208"/>
              <a:gd name="connsiteX0-1425" fmla="*/ 168369 w 9397013"/>
              <a:gd name="connsiteY0-1426" fmla="*/ 4779933 h 7134208"/>
              <a:gd name="connsiteX1-1427" fmla="*/ 0 w 9397013"/>
              <a:gd name="connsiteY1-1428" fmla="*/ 4409146 h 7134208"/>
              <a:gd name="connsiteX2-1429" fmla="*/ 3332806 w 9397013"/>
              <a:gd name="connsiteY2-1430" fmla="*/ 0 h 7134208"/>
              <a:gd name="connsiteX3-1431" fmla="*/ 3794560 w 9397013"/>
              <a:gd name="connsiteY3-1432" fmla="*/ 32861 h 7134208"/>
              <a:gd name="connsiteX4-1433" fmla="*/ 168369 w 9397013"/>
              <a:gd name="connsiteY4-1434" fmla="*/ 4779933 h 7134208"/>
              <a:gd name="connsiteX5-1435" fmla="*/ 488220 w 9397013"/>
              <a:gd name="connsiteY5-1436" fmla="*/ 5484315 h 7134208"/>
              <a:gd name="connsiteX6-1437" fmla="*/ 299082 w 9397013"/>
              <a:gd name="connsiteY6-1438" fmla="*/ 5067791 h 7134208"/>
              <a:gd name="connsiteX7-1439" fmla="*/ 4106456 w 9397013"/>
              <a:gd name="connsiteY7-1440" fmla="*/ 55057 h 7134208"/>
              <a:gd name="connsiteX8-1441" fmla="*/ 4585079 w 9397013"/>
              <a:gd name="connsiteY8-1442" fmla="*/ 89119 h 7134208"/>
              <a:gd name="connsiteX9-1443" fmla="*/ 488220 w 9397013"/>
              <a:gd name="connsiteY9-1444" fmla="*/ 5484315 h 7134208"/>
              <a:gd name="connsiteX10-1445" fmla="*/ 779421 w 9397013"/>
              <a:gd name="connsiteY10-1446" fmla="*/ 6125606 h 7134208"/>
              <a:gd name="connsiteX11-1447" fmla="*/ 618065 w 9397013"/>
              <a:gd name="connsiteY11-1448" fmla="*/ 5770263 h 7134208"/>
              <a:gd name="connsiteX12-1449" fmla="*/ 4805164 w 9397013"/>
              <a:gd name="connsiteY12-1450" fmla="*/ 212954 h 7134208"/>
              <a:gd name="connsiteX13-1451" fmla="*/ 5260238 w 9397013"/>
              <a:gd name="connsiteY13-1452" fmla="*/ 234131 h 7134208"/>
              <a:gd name="connsiteX14-1453" fmla="*/ 779421 w 9397013"/>
              <a:gd name="connsiteY14-1454" fmla="*/ 6125606 h 7134208"/>
              <a:gd name="connsiteX15-1455" fmla="*/ 1099910 w 9397013"/>
              <a:gd name="connsiteY15-1456" fmla="*/ 6831395 h 7134208"/>
              <a:gd name="connsiteX16-1457" fmla="*/ 919656 w 9397013"/>
              <a:gd name="connsiteY16-1458" fmla="*/ 6434435 h 7134208"/>
              <a:gd name="connsiteX17-1459" fmla="*/ 5641256 w 9397013"/>
              <a:gd name="connsiteY17-1460" fmla="*/ 212436 h 7134208"/>
              <a:gd name="connsiteX18-1461" fmla="*/ 6077099 w 9397013"/>
              <a:gd name="connsiteY18-1462" fmla="*/ 225638 h 7134208"/>
              <a:gd name="connsiteX19-1463" fmla="*/ 1099910 w 9397013"/>
              <a:gd name="connsiteY19-1464" fmla="*/ 6831395 h 7134208"/>
              <a:gd name="connsiteX20-1465" fmla="*/ 6958778 w 9397013"/>
              <a:gd name="connsiteY20-1466" fmla="*/ 7124971 h 7134208"/>
              <a:gd name="connsiteX21-1467" fmla="*/ 6560038 w 9397013"/>
              <a:gd name="connsiteY21-1468" fmla="*/ 7134207 h 7134208"/>
              <a:gd name="connsiteX22-1469" fmla="*/ 3849932 w 9397013"/>
              <a:gd name="connsiteY22-1470" fmla="*/ 3596670 h 7134208"/>
              <a:gd name="connsiteX23-1471" fmla="*/ 4086202 w 9397013"/>
              <a:gd name="connsiteY23-1472" fmla="*/ 3287229 h 7134208"/>
              <a:gd name="connsiteX24-1473" fmla="*/ 6958778 w 9397013"/>
              <a:gd name="connsiteY24-1474" fmla="*/ 7124971 h 7134208"/>
              <a:gd name="connsiteX25-1475" fmla="*/ 7777211 w 9397013"/>
              <a:gd name="connsiteY25-1476" fmla="*/ 7124972 h 7134208"/>
              <a:gd name="connsiteX26-1477" fmla="*/ 7324729 w 9397013"/>
              <a:gd name="connsiteY26-1478" fmla="*/ 7124972 h 7134208"/>
              <a:gd name="connsiteX27-1479" fmla="*/ 4245793 w 9397013"/>
              <a:gd name="connsiteY27-1480" fmla="*/ 3078214 h 7134208"/>
              <a:gd name="connsiteX28-1481" fmla="*/ 4490696 w 9397013"/>
              <a:gd name="connsiteY28-1482" fmla="*/ 2757469 h 7134208"/>
              <a:gd name="connsiteX29-1483" fmla="*/ 7777211 w 9397013"/>
              <a:gd name="connsiteY29-1484" fmla="*/ 7124972 h 7134208"/>
              <a:gd name="connsiteX30-1485" fmla="*/ 8567691 w 9397013"/>
              <a:gd name="connsiteY30-1486" fmla="*/ 7124971 h 7134208"/>
              <a:gd name="connsiteX31-1487" fmla="*/ 8159389 w 9397013"/>
              <a:gd name="connsiteY31-1488" fmla="*/ 7134208 h 7134208"/>
              <a:gd name="connsiteX32-1489" fmla="*/ 4650570 w 9397013"/>
              <a:gd name="connsiteY32-1490" fmla="*/ 2548084 h 7134208"/>
              <a:gd name="connsiteX33-1491" fmla="*/ 4869244 w 9397013"/>
              <a:gd name="connsiteY33-1492" fmla="*/ 2261689 h 7134208"/>
              <a:gd name="connsiteX34-1493" fmla="*/ 8567691 w 9397013"/>
              <a:gd name="connsiteY34-1494" fmla="*/ 7124971 h 7134208"/>
              <a:gd name="connsiteX35-1495" fmla="*/ 9397013 w 9397013"/>
              <a:gd name="connsiteY35-1496" fmla="*/ 7134207 h 7134208"/>
              <a:gd name="connsiteX36-1497" fmla="*/ 8921338 w 9397013"/>
              <a:gd name="connsiteY36-1498" fmla="*/ 7115735 h 7134208"/>
              <a:gd name="connsiteX37-1499" fmla="*/ 5045299 w 9397013"/>
              <a:gd name="connsiteY37-1500" fmla="*/ 2031113 h 7134208"/>
              <a:gd name="connsiteX38-1501" fmla="*/ 5273037 w 9397013"/>
              <a:gd name="connsiteY38-1502" fmla="*/ 1732846 h 7134208"/>
              <a:gd name="connsiteX39-1503" fmla="*/ 9397013 w 9397013"/>
              <a:gd name="connsiteY39-1504" fmla="*/ 7134207 h 7134208"/>
              <a:gd name="connsiteX0-1505" fmla="*/ 168369 w 9397013"/>
              <a:gd name="connsiteY0-1506" fmla="*/ 4779933 h 7134208"/>
              <a:gd name="connsiteX1-1507" fmla="*/ 0 w 9397013"/>
              <a:gd name="connsiteY1-1508" fmla="*/ 4409146 h 7134208"/>
              <a:gd name="connsiteX2-1509" fmla="*/ 3332806 w 9397013"/>
              <a:gd name="connsiteY2-1510" fmla="*/ 0 h 7134208"/>
              <a:gd name="connsiteX3-1511" fmla="*/ 3794560 w 9397013"/>
              <a:gd name="connsiteY3-1512" fmla="*/ 32861 h 7134208"/>
              <a:gd name="connsiteX4-1513" fmla="*/ 168369 w 9397013"/>
              <a:gd name="connsiteY4-1514" fmla="*/ 4779933 h 7134208"/>
              <a:gd name="connsiteX5-1515" fmla="*/ 488220 w 9397013"/>
              <a:gd name="connsiteY5-1516" fmla="*/ 5484315 h 7134208"/>
              <a:gd name="connsiteX6-1517" fmla="*/ 299082 w 9397013"/>
              <a:gd name="connsiteY6-1518" fmla="*/ 5067791 h 7134208"/>
              <a:gd name="connsiteX7-1519" fmla="*/ 4106456 w 9397013"/>
              <a:gd name="connsiteY7-1520" fmla="*/ 55057 h 7134208"/>
              <a:gd name="connsiteX8-1521" fmla="*/ 4465006 w 9397013"/>
              <a:gd name="connsiteY8-1522" fmla="*/ 209192 h 7134208"/>
              <a:gd name="connsiteX9-1523" fmla="*/ 488220 w 9397013"/>
              <a:gd name="connsiteY9-1524" fmla="*/ 5484315 h 7134208"/>
              <a:gd name="connsiteX10-1525" fmla="*/ 779421 w 9397013"/>
              <a:gd name="connsiteY10-1526" fmla="*/ 6125606 h 7134208"/>
              <a:gd name="connsiteX11-1527" fmla="*/ 618065 w 9397013"/>
              <a:gd name="connsiteY11-1528" fmla="*/ 5770263 h 7134208"/>
              <a:gd name="connsiteX12-1529" fmla="*/ 4805164 w 9397013"/>
              <a:gd name="connsiteY12-1530" fmla="*/ 212954 h 7134208"/>
              <a:gd name="connsiteX13-1531" fmla="*/ 5260238 w 9397013"/>
              <a:gd name="connsiteY13-1532" fmla="*/ 234131 h 7134208"/>
              <a:gd name="connsiteX14-1533" fmla="*/ 779421 w 9397013"/>
              <a:gd name="connsiteY14-1534" fmla="*/ 6125606 h 7134208"/>
              <a:gd name="connsiteX15-1535" fmla="*/ 1099910 w 9397013"/>
              <a:gd name="connsiteY15-1536" fmla="*/ 6831395 h 7134208"/>
              <a:gd name="connsiteX16-1537" fmla="*/ 919656 w 9397013"/>
              <a:gd name="connsiteY16-1538" fmla="*/ 6434435 h 7134208"/>
              <a:gd name="connsiteX17-1539" fmla="*/ 5641256 w 9397013"/>
              <a:gd name="connsiteY17-1540" fmla="*/ 212436 h 7134208"/>
              <a:gd name="connsiteX18-1541" fmla="*/ 6077099 w 9397013"/>
              <a:gd name="connsiteY18-1542" fmla="*/ 225638 h 7134208"/>
              <a:gd name="connsiteX19-1543" fmla="*/ 1099910 w 9397013"/>
              <a:gd name="connsiteY19-1544" fmla="*/ 6831395 h 7134208"/>
              <a:gd name="connsiteX20-1545" fmla="*/ 6958778 w 9397013"/>
              <a:gd name="connsiteY20-1546" fmla="*/ 7124971 h 7134208"/>
              <a:gd name="connsiteX21-1547" fmla="*/ 6560038 w 9397013"/>
              <a:gd name="connsiteY21-1548" fmla="*/ 7134207 h 7134208"/>
              <a:gd name="connsiteX22-1549" fmla="*/ 3849932 w 9397013"/>
              <a:gd name="connsiteY22-1550" fmla="*/ 3596670 h 7134208"/>
              <a:gd name="connsiteX23-1551" fmla="*/ 4086202 w 9397013"/>
              <a:gd name="connsiteY23-1552" fmla="*/ 3287229 h 7134208"/>
              <a:gd name="connsiteX24-1553" fmla="*/ 6958778 w 9397013"/>
              <a:gd name="connsiteY24-1554" fmla="*/ 7124971 h 7134208"/>
              <a:gd name="connsiteX25-1555" fmla="*/ 7777211 w 9397013"/>
              <a:gd name="connsiteY25-1556" fmla="*/ 7124972 h 7134208"/>
              <a:gd name="connsiteX26-1557" fmla="*/ 7324729 w 9397013"/>
              <a:gd name="connsiteY26-1558" fmla="*/ 7124972 h 7134208"/>
              <a:gd name="connsiteX27-1559" fmla="*/ 4245793 w 9397013"/>
              <a:gd name="connsiteY27-1560" fmla="*/ 3078214 h 7134208"/>
              <a:gd name="connsiteX28-1561" fmla="*/ 4490696 w 9397013"/>
              <a:gd name="connsiteY28-1562" fmla="*/ 2757469 h 7134208"/>
              <a:gd name="connsiteX29-1563" fmla="*/ 7777211 w 9397013"/>
              <a:gd name="connsiteY29-1564" fmla="*/ 7124972 h 7134208"/>
              <a:gd name="connsiteX30-1565" fmla="*/ 8567691 w 9397013"/>
              <a:gd name="connsiteY30-1566" fmla="*/ 7124971 h 7134208"/>
              <a:gd name="connsiteX31-1567" fmla="*/ 8159389 w 9397013"/>
              <a:gd name="connsiteY31-1568" fmla="*/ 7134208 h 7134208"/>
              <a:gd name="connsiteX32-1569" fmla="*/ 4650570 w 9397013"/>
              <a:gd name="connsiteY32-1570" fmla="*/ 2548084 h 7134208"/>
              <a:gd name="connsiteX33-1571" fmla="*/ 4869244 w 9397013"/>
              <a:gd name="connsiteY33-1572" fmla="*/ 2261689 h 7134208"/>
              <a:gd name="connsiteX34-1573" fmla="*/ 8567691 w 9397013"/>
              <a:gd name="connsiteY34-1574" fmla="*/ 7124971 h 7134208"/>
              <a:gd name="connsiteX35-1575" fmla="*/ 9397013 w 9397013"/>
              <a:gd name="connsiteY35-1576" fmla="*/ 7134207 h 7134208"/>
              <a:gd name="connsiteX36-1577" fmla="*/ 8921338 w 9397013"/>
              <a:gd name="connsiteY36-1578" fmla="*/ 7115735 h 7134208"/>
              <a:gd name="connsiteX37-1579" fmla="*/ 5045299 w 9397013"/>
              <a:gd name="connsiteY37-1580" fmla="*/ 2031113 h 7134208"/>
              <a:gd name="connsiteX38-1581" fmla="*/ 5273037 w 9397013"/>
              <a:gd name="connsiteY38-1582" fmla="*/ 1732846 h 7134208"/>
              <a:gd name="connsiteX39-1583" fmla="*/ 9397013 w 9397013"/>
              <a:gd name="connsiteY39-1584" fmla="*/ 7134207 h 7134208"/>
              <a:gd name="connsiteX0-1585" fmla="*/ 168369 w 9397013"/>
              <a:gd name="connsiteY0-1586" fmla="*/ 4779933 h 7134208"/>
              <a:gd name="connsiteX1-1587" fmla="*/ 0 w 9397013"/>
              <a:gd name="connsiteY1-1588" fmla="*/ 4409146 h 7134208"/>
              <a:gd name="connsiteX2-1589" fmla="*/ 3332806 w 9397013"/>
              <a:gd name="connsiteY2-1590" fmla="*/ 0 h 7134208"/>
              <a:gd name="connsiteX3-1591" fmla="*/ 3794560 w 9397013"/>
              <a:gd name="connsiteY3-1592" fmla="*/ 32861 h 7134208"/>
              <a:gd name="connsiteX4-1593" fmla="*/ 168369 w 9397013"/>
              <a:gd name="connsiteY4-1594" fmla="*/ 4779933 h 7134208"/>
              <a:gd name="connsiteX5-1595" fmla="*/ 488220 w 9397013"/>
              <a:gd name="connsiteY5-1596" fmla="*/ 5484315 h 7134208"/>
              <a:gd name="connsiteX6-1597" fmla="*/ 299082 w 9397013"/>
              <a:gd name="connsiteY6-1598" fmla="*/ 5067791 h 7134208"/>
              <a:gd name="connsiteX7-1599" fmla="*/ 3977147 w 9397013"/>
              <a:gd name="connsiteY7-1600" fmla="*/ 212075 h 7134208"/>
              <a:gd name="connsiteX8-1601" fmla="*/ 4465006 w 9397013"/>
              <a:gd name="connsiteY8-1602" fmla="*/ 209192 h 7134208"/>
              <a:gd name="connsiteX9-1603" fmla="*/ 488220 w 9397013"/>
              <a:gd name="connsiteY9-1604" fmla="*/ 5484315 h 7134208"/>
              <a:gd name="connsiteX10-1605" fmla="*/ 779421 w 9397013"/>
              <a:gd name="connsiteY10-1606" fmla="*/ 6125606 h 7134208"/>
              <a:gd name="connsiteX11-1607" fmla="*/ 618065 w 9397013"/>
              <a:gd name="connsiteY11-1608" fmla="*/ 5770263 h 7134208"/>
              <a:gd name="connsiteX12-1609" fmla="*/ 4805164 w 9397013"/>
              <a:gd name="connsiteY12-1610" fmla="*/ 212954 h 7134208"/>
              <a:gd name="connsiteX13-1611" fmla="*/ 5260238 w 9397013"/>
              <a:gd name="connsiteY13-1612" fmla="*/ 234131 h 7134208"/>
              <a:gd name="connsiteX14-1613" fmla="*/ 779421 w 9397013"/>
              <a:gd name="connsiteY14-1614" fmla="*/ 6125606 h 7134208"/>
              <a:gd name="connsiteX15-1615" fmla="*/ 1099910 w 9397013"/>
              <a:gd name="connsiteY15-1616" fmla="*/ 6831395 h 7134208"/>
              <a:gd name="connsiteX16-1617" fmla="*/ 919656 w 9397013"/>
              <a:gd name="connsiteY16-1618" fmla="*/ 6434435 h 7134208"/>
              <a:gd name="connsiteX17-1619" fmla="*/ 5641256 w 9397013"/>
              <a:gd name="connsiteY17-1620" fmla="*/ 212436 h 7134208"/>
              <a:gd name="connsiteX18-1621" fmla="*/ 6077099 w 9397013"/>
              <a:gd name="connsiteY18-1622" fmla="*/ 225638 h 7134208"/>
              <a:gd name="connsiteX19-1623" fmla="*/ 1099910 w 9397013"/>
              <a:gd name="connsiteY19-1624" fmla="*/ 6831395 h 7134208"/>
              <a:gd name="connsiteX20-1625" fmla="*/ 6958778 w 9397013"/>
              <a:gd name="connsiteY20-1626" fmla="*/ 7124971 h 7134208"/>
              <a:gd name="connsiteX21-1627" fmla="*/ 6560038 w 9397013"/>
              <a:gd name="connsiteY21-1628" fmla="*/ 7134207 h 7134208"/>
              <a:gd name="connsiteX22-1629" fmla="*/ 3849932 w 9397013"/>
              <a:gd name="connsiteY22-1630" fmla="*/ 3596670 h 7134208"/>
              <a:gd name="connsiteX23-1631" fmla="*/ 4086202 w 9397013"/>
              <a:gd name="connsiteY23-1632" fmla="*/ 3287229 h 7134208"/>
              <a:gd name="connsiteX24-1633" fmla="*/ 6958778 w 9397013"/>
              <a:gd name="connsiteY24-1634" fmla="*/ 7124971 h 7134208"/>
              <a:gd name="connsiteX25-1635" fmla="*/ 7777211 w 9397013"/>
              <a:gd name="connsiteY25-1636" fmla="*/ 7124972 h 7134208"/>
              <a:gd name="connsiteX26-1637" fmla="*/ 7324729 w 9397013"/>
              <a:gd name="connsiteY26-1638" fmla="*/ 7124972 h 7134208"/>
              <a:gd name="connsiteX27-1639" fmla="*/ 4245793 w 9397013"/>
              <a:gd name="connsiteY27-1640" fmla="*/ 3078214 h 7134208"/>
              <a:gd name="connsiteX28-1641" fmla="*/ 4490696 w 9397013"/>
              <a:gd name="connsiteY28-1642" fmla="*/ 2757469 h 7134208"/>
              <a:gd name="connsiteX29-1643" fmla="*/ 7777211 w 9397013"/>
              <a:gd name="connsiteY29-1644" fmla="*/ 7124972 h 7134208"/>
              <a:gd name="connsiteX30-1645" fmla="*/ 8567691 w 9397013"/>
              <a:gd name="connsiteY30-1646" fmla="*/ 7124971 h 7134208"/>
              <a:gd name="connsiteX31-1647" fmla="*/ 8159389 w 9397013"/>
              <a:gd name="connsiteY31-1648" fmla="*/ 7134208 h 7134208"/>
              <a:gd name="connsiteX32-1649" fmla="*/ 4650570 w 9397013"/>
              <a:gd name="connsiteY32-1650" fmla="*/ 2548084 h 7134208"/>
              <a:gd name="connsiteX33-1651" fmla="*/ 4869244 w 9397013"/>
              <a:gd name="connsiteY33-1652" fmla="*/ 2261689 h 7134208"/>
              <a:gd name="connsiteX34-1653" fmla="*/ 8567691 w 9397013"/>
              <a:gd name="connsiteY34-1654" fmla="*/ 7124971 h 7134208"/>
              <a:gd name="connsiteX35-1655" fmla="*/ 9397013 w 9397013"/>
              <a:gd name="connsiteY35-1656" fmla="*/ 7134207 h 7134208"/>
              <a:gd name="connsiteX36-1657" fmla="*/ 8921338 w 9397013"/>
              <a:gd name="connsiteY36-1658" fmla="*/ 7115735 h 7134208"/>
              <a:gd name="connsiteX37-1659" fmla="*/ 5045299 w 9397013"/>
              <a:gd name="connsiteY37-1660" fmla="*/ 2031113 h 7134208"/>
              <a:gd name="connsiteX38-1661" fmla="*/ 5273037 w 9397013"/>
              <a:gd name="connsiteY38-1662" fmla="*/ 1732846 h 7134208"/>
              <a:gd name="connsiteX39-1663" fmla="*/ 9397013 w 9397013"/>
              <a:gd name="connsiteY39-1664" fmla="*/ 7134207 h 7134208"/>
              <a:gd name="connsiteX0-1665" fmla="*/ 168369 w 9397013"/>
              <a:gd name="connsiteY0-1666" fmla="*/ 4779933 h 7134208"/>
              <a:gd name="connsiteX1-1667" fmla="*/ 0 w 9397013"/>
              <a:gd name="connsiteY1-1668" fmla="*/ 4409146 h 7134208"/>
              <a:gd name="connsiteX2-1669" fmla="*/ 3332806 w 9397013"/>
              <a:gd name="connsiteY2-1670" fmla="*/ 0 h 7134208"/>
              <a:gd name="connsiteX3-1671" fmla="*/ 3628305 w 9397013"/>
              <a:gd name="connsiteY3-1672" fmla="*/ 208352 h 7134208"/>
              <a:gd name="connsiteX4-1673" fmla="*/ 168369 w 9397013"/>
              <a:gd name="connsiteY4-1674" fmla="*/ 4779933 h 7134208"/>
              <a:gd name="connsiteX5-1675" fmla="*/ 488220 w 9397013"/>
              <a:gd name="connsiteY5-1676" fmla="*/ 5484315 h 7134208"/>
              <a:gd name="connsiteX6-1677" fmla="*/ 299082 w 9397013"/>
              <a:gd name="connsiteY6-1678" fmla="*/ 5067791 h 7134208"/>
              <a:gd name="connsiteX7-1679" fmla="*/ 3977147 w 9397013"/>
              <a:gd name="connsiteY7-1680" fmla="*/ 212075 h 7134208"/>
              <a:gd name="connsiteX8-1681" fmla="*/ 4465006 w 9397013"/>
              <a:gd name="connsiteY8-1682" fmla="*/ 209192 h 7134208"/>
              <a:gd name="connsiteX9-1683" fmla="*/ 488220 w 9397013"/>
              <a:gd name="connsiteY9-1684" fmla="*/ 5484315 h 7134208"/>
              <a:gd name="connsiteX10-1685" fmla="*/ 779421 w 9397013"/>
              <a:gd name="connsiteY10-1686" fmla="*/ 6125606 h 7134208"/>
              <a:gd name="connsiteX11-1687" fmla="*/ 618065 w 9397013"/>
              <a:gd name="connsiteY11-1688" fmla="*/ 5770263 h 7134208"/>
              <a:gd name="connsiteX12-1689" fmla="*/ 4805164 w 9397013"/>
              <a:gd name="connsiteY12-1690" fmla="*/ 212954 h 7134208"/>
              <a:gd name="connsiteX13-1691" fmla="*/ 5260238 w 9397013"/>
              <a:gd name="connsiteY13-1692" fmla="*/ 234131 h 7134208"/>
              <a:gd name="connsiteX14-1693" fmla="*/ 779421 w 9397013"/>
              <a:gd name="connsiteY14-1694" fmla="*/ 6125606 h 7134208"/>
              <a:gd name="connsiteX15-1695" fmla="*/ 1099910 w 9397013"/>
              <a:gd name="connsiteY15-1696" fmla="*/ 6831395 h 7134208"/>
              <a:gd name="connsiteX16-1697" fmla="*/ 919656 w 9397013"/>
              <a:gd name="connsiteY16-1698" fmla="*/ 6434435 h 7134208"/>
              <a:gd name="connsiteX17-1699" fmla="*/ 5641256 w 9397013"/>
              <a:gd name="connsiteY17-1700" fmla="*/ 212436 h 7134208"/>
              <a:gd name="connsiteX18-1701" fmla="*/ 6077099 w 9397013"/>
              <a:gd name="connsiteY18-1702" fmla="*/ 225638 h 7134208"/>
              <a:gd name="connsiteX19-1703" fmla="*/ 1099910 w 9397013"/>
              <a:gd name="connsiteY19-1704" fmla="*/ 6831395 h 7134208"/>
              <a:gd name="connsiteX20-1705" fmla="*/ 6958778 w 9397013"/>
              <a:gd name="connsiteY20-1706" fmla="*/ 7124971 h 7134208"/>
              <a:gd name="connsiteX21-1707" fmla="*/ 6560038 w 9397013"/>
              <a:gd name="connsiteY21-1708" fmla="*/ 7134207 h 7134208"/>
              <a:gd name="connsiteX22-1709" fmla="*/ 3849932 w 9397013"/>
              <a:gd name="connsiteY22-1710" fmla="*/ 3596670 h 7134208"/>
              <a:gd name="connsiteX23-1711" fmla="*/ 4086202 w 9397013"/>
              <a:gd name="connsiteY23-1712" fmla="*/ 3287229 h 7134208"/>
              <a:gd name="connsiteX24-1713" fmla="*/ 6958778 w 9397013"/>
              <a:gd name="connsiteY24-1714" fmla="*/ 7124971 h 7134208"/>
              <a:gd name="connsiteX25-1715" fmla="*/ 7777211 w 9397013"/>
              <a:gd name="connsiteY25-1716" fmla="*/ 7124972 h 7134208"/>
              <a:gd name="connsiteX26-1717" fmla="*/ 7324729 w 9397013"/>
              <a:gd name="connsiteY26-1718" fmla="*/ 7124972 h 7134208"/>
              <a:gd name="connsiteX27-1719" fmla="*/ 4245793 w 9397013"/>
              <a:gd name="connsiteY27-1720" fmla="*/ 3078214 h 7134208"/>
              <a:gd name="connsiteX28-1721" fmla="*/ 4490696 w 9397013"/>
              <a:gd name="connsiteY28-1722" fmla="*/ 2757469 h 7134208"/>
              <a:gd name="connsiteX29-1723" fmla="*/ 7777211 w 9397013"/>
              <a:gd name="connsiteY29-1724" fmla="*/ 7124972 h 7134208"/>
              <a:gd name="connsiteX30-1725" fmla="*/ 8567691 w 9397013"/>
              <a:gd name="connsiteY30-1726" fmla="*/ 7124971 h 7134208"/>
              <a:gd name="connsiteX31-1727" fmla="*/ 8159389 w 9397013"/>
              <a:gd name="connsiteY31-1728" fmla="*/ 7134208 h 7134208"/>
              <a:gd name="connsiteX32-1729" fmla="*/ 4650570 w 9397013"/>
              <a:gd name="connsiteY32-1730" fmla="*/ 2548084 h 7134208"/>
              <a:gd name="connsiteX33-1731" fmla="*/ 4869244 w 9397013"/>
              <a:gd name="connsiteY33-1732" fmla="*/ 2261689 h 7134208"/>
              <a:gd name="connsiteX34-1733" fmla="*/ 8567691 w 9397013"/>
              <a:gd name="connsiteY34-1734" fmla="*/ 7124971 h 7134208"/>
              <a:gd name="connsiteX35-1735" fmla="*/ 9397013 w 9397013"/>
              <a:gd name="connsiteY35-1736" fmla="*/ 7134207 h 7134208"/>
              <a:gd name="connsiteX36-1737" fmla="*/ 8921338 w 9397013"/>
              <a:gd name="connsiteY36-1738" fmla="*/ 7115735 h 7134208"/>
              <a:gd name="connsiteX37-1739" fmla="*/ 5045299 w 9397013"/>
              <a:gd name="connsiteY37-1740" fmla="*/ 2031113 h 7134208"/>
              <a:gd name="connsiteX38-1741" fmla="*/ 5273037 w 9397013"/>
              <a:gd name="connsiteY38-1742" fmla="*/ 1732846 h 7134208"/>
              <a:gd name="connsiteX39-1743" fmla="*/ 9397013 w 9397013"/>
              <a:gd name="connsiteY39-1744" fmla="*/ 7134207 h 7134208"/>
              <a:gd name="connsiteX0-1745" fmla="*/ 168369 w 9397013"/>
              <a:gd name="connsiteY0-1746" fmla="*/ 4571581 h 6925856"/>
              <a:gd name="connsiteX1-1747" fmla="*/ 0 w 9397013"/>
              <a:gd name="connsiteY1-1748" fmla="*/ 4200794 h 6925856"/>
              <a:gd name="connsiteX2-1749" fmla="*/ 3175788 w 9397013"/>
              <a:gd name="connsiteY2-1750" fmla="*/ 4084 h 6925856"/>
              <a:gd name="connsiteX3-1751" fmla="*/ 3628305 w 9397013"/>
              <a:gd name="connsiteY3-1752" fmla="*/ 0 h 6925856"/>
              <a:gd name="connsiteX4-1753" fmla="*/ 168369 w 9397013"/>
              <a:gd name="connsiteY4-1754" fmla="*/ 4571581 h 6925856"/>
              <a:gd name="connsiteX5-1755" fmla="*/ 488220 w 9397013"/>
              <a:gd name="connsiteY5-1756" fmla="*/ 5275963 h 6925856"/>
              <a:gd name="connsiteX6-1757" fmla="*/ 299082 w 9397013"/>
              <a:gd name="connsiteY6-1758" fmla="*/ 4859439 h 6925856"/>
              <a:gd name="connsiteX7-1759" fmla="*/ 3977147 w 9397013"/>
              <a:gd name="connsiteY7-1760" fmla="*/ 3723 h 6925856"/>
              <a:gd name="connsiteX8-1761" fmla="*/ 4465006 w 9397013"/>
              <a:gd name="connsiteY8-1762" fmla="*/ 840 h 6925856"/>
              <a:gd name="connsiteX9-1763" fmla="*/ 488220 w 9397013"/>
              <a:gd name="connsiteY9-1764" fmla="*/ 5275963 h 6925856"/>
              <a:gd name="connsiteX10-1765" fmla="*/ 779421 w 9397013"/>
              <a:gd name="connsiteY10-1766" fmla="*/ 5917254 h 6925856"/>
              <a:gd name="connsiteX11-1767" fmla="*/ 618065 w 9397013"/>
              <a:gd name="connsiteY11-1768" fmla="*/ 5561911 h 6925856"/>
              <a:gd name="connsiteX12-1769" fmla="*/ 4805164 w 9397013"/>
              <a:gd name="connsiteY12-1770" fmla="*/ 4602 h 6925856"/>
              <a:gd name="connsiteX13-1771" fmla="*/ 5260238 w 9397013"/>
              <a:gd name="connsiteY13-1772" fmla="*/ 25779 h 6925856"/>
              <a:gd name="connsiteX14-1773" fmla="*/ 779421 w 9397013"/>
              <a:gd name="connsiteY14-1774" fmla="*/ 5917254 h 6925856"/>
              <a:gd name="connsiteX15-1775" fmla="*/ 1099910 w 9397013"/>
              <a:gd name="connsiteY15-1776" fmla="*/ 6623043 h 6925856"/>
              <a:gd name="connsiteX16-1777" fmla="*/ 919656 w 9397013"/>
              <a:gd name="connsiteY16-1778" fmla="*/ 6226083 h 6925856"/>
              <a:gd name="connsiteX17-1779" fmla="*/ 5641256 w 9397013"/>
              <a:gd name="connsiteY17-1780" fmla="*/ 4084 h 6925856"/>
              <a:gd name="connsiteX18-1781" fmla="*/ 6077099 w 9397013"/>
              <a:gd name="connsiteY18-1782" fmla="*/ 17286 h 6925856"/>
              <a:gd name="connsiteX19-1783" fmla="*/ 1099910 w 9397013"/>
              <a:gd name="connsiteY19-1784" fmla="*/ 6623043 h 6925856"/>
              <a:gd name="connsiteX20-1785" fmla="*/ 6958778 w 9397013"/>
              <a:gd name="connsiteY20-1786" fmla="*/ 6916619 h 6925856"/>
              <a:gd name="connsiteX21-1787" fmla="*/ 6560038 w 9397013"/>
              <a:gd name="connsiteY21-1788" fmla="*/ 6925855 h 6925856"/>
              <a:gd name="connsiteX22-1789" fmla="*/ 3849932 w 9397013"/>
              <a:gd name="connsiteY22-1790" fmla="*/ 3388318 h 6925856"/>
              <a:gd name="connsiteX23-1791" fmla="*/ 4086202 w 9397013"/>
              <a:gd name="connsiteY23-1792" fmla="*/ 3078877 h 6925856"/>
              <a:gd name="connsiteX24-1793" fmla="*/ 6958778 w 9397013"/>
              <a:gd name="connsiteY24-1794" fmla="*/ 6916619 h 6925856"/>
              <a:gd name="connsiteX25-1795" fmla="*/ 7777211 w 9397013"/>
              <a:gd name="connsiteY25-1796" fmla="*/ 6916620 h 6925856"/>
              <a:gd name="connsiteX26-1797" fmla="*/ 7324729 w 9397013"/>
              <a:gd name="connsiteY26-1798" fmla="*/ 6916620 h 6925856"/>
              <a:gd name="connsiteX27-1799" fmla="*/ 4245793 w 9397013"/>
              <a:gd name="connsiteY27-1800" fmla="*/ 2869862 h 6925856"/>
              <a:gd name="connsiteX28-1801" fmla="*/ 4490696 w 9397013"/>
              <a:gd name="connsiteY28-1802" fmla="*/ 2549117 h 6925856"/>
              <a:gd name="connsiteX29-1803" fmla="*/ 7777211 w 9397013"/>
              <a:gd name="connsiteY29-1804" fmla="*/ 6916620 h 6925856"/>
              <a:gd name="connsiteX30-1805" fmla="*/ 8567691 w 9397013"/>
              <a:gd name="connsiteY30-1806" fmla="*/ 6916619 h 6925856"/>
              <a:gd name="connsiteX31-1807" fmla="*/ 8159389 w 9397013"/>
              <a:gd name="connsiteY31-1808" fmla="*/ 6925856 h 6925856"/>
              <a:gd name="connsiteX32-1809" fmla="*/ 4650570 w 9397013"/>
              <a:gd name="connsiteY32-1810" fmla="*/ 2339732 h 6925856"/>
              <a:gd name="connsiteX33-1811" fmla="*/ 4869244 w 9397013"/>
              <a:gd name="connsiteY33-1812" fmla="*/ 2053337 h 6925856"/>
              <a:gd name="connsiteX34-1813" fmla="*/ 8567691 w 9397013"/>
              <a:gd name="connsiteY34-1814" fmla="*/ 6916619 h 6925856"/>
              <a:gd name="connsiteX35-1815" fmla="*/ 9397013 w 9397013"/>
              <a:gd name="connsiteY35-1816" fmla="*/ 6925855 h 6925856"/>
              <a:gd name="connsiteX36-1817" fmla="*/ 8921338 w 9397013"/>
              <a:gd name="connsiteY36-1818" fmla="*/ 6907383 h 6925856"/>
              <a:gd name="connsiteX37-1819" fmla="*/ 5045299 w 9397013"/>
              <a:gd name="connsiteY37-1820" fmla="*/ 1822761 h 6925856"/>
              <a:gd name="connsiteX38-1821" fmla="*/ 5273037 w 9397013"/>
              <a:gd name="connsiteY38-1822" fmla="*/ 1524494 h 6925856"/>
              <a:gd name="connsiteX39-1823" fmla="*/ 9397013 w 9397013"/>
              <a:gd name="connsiteY39-1824" fmla="*/ 6925855 h 6925856"/>
              <a:gd name="connsiteX0-1825" fmla="*/ 168369 w 9397013"/>
              <a:gd name="connsiteY0-1826" fmla="*/ 4571581 h 6925856"/>
              <a:gd name="connsiteX1-1827" fmla="*/ 0 w 9397013"/>
              <a:gd name="connsiteY1-1828" fmla="*/ 4200794 h 6925856"/>
              <a:gd name="connsiteX2-1829" fmla="*/ 3175788 w 9397013"/>
              <a:gd name="connsiteY2-1830" fmla="*/ 4084 h 6925856"/>
              <a:gd name="connsiteX3-1831" fmla="*/ 3628305 w 9397013"/>
              <a:gd name="connsiteY3-1832" fmla="*/ 0 h 6925856"/>
              <a:gd name="connsiteX4-1833" fmla="*/ 168369 w 9397013"/>
              <a:gd name="connsiteY4-1834" fmla="*/ 4571581 h 6925856"/>
              <a:gd name="connsiteX5-1835" fmla="*/ 488220 w 9397013"/>
              <a:gd name="connsiteY5-1836" fmla="*/ 5275963 h 6925856"/>
              <a:gd name="connsiteX6-1837" fmla="*/ 299082 w 9397013"/>
              <a:gd name="connsiteY6-1838" fmla="*/ 4859439 h 6925856"/>
              <a:gd name="connsiteX7-1839" fmla="*/ 3977147 w 9397013"/>
              <a:gd name="connsiteY7-1840" fmla="*/ 3723 h 6925856"/>
              <a:gd name="connsiteX8-1841" fmla="*/ 4465006 w 9397013"/>
              <a:gd name="connsiteY8-1842" fmla="*/ 840 h 6925856"/>
              <a:gd name="connsiteX9-1843" fmla="*/ 488220 w 9397013"/>
              <a:gd name="connsiteY9-1844" fmla="*/ 5275963 h 6925856"/>
              <a:gd name="connsiteX10-1845" fmla="*/ 779421 w 9397013"/>
              <a:gd name="connsiteY10-1846" fmla="*/ 5917254 h 6925856"/>
              <a:gd name="connsiteX11-1847" fmla="*/ 618065 w 9397013"/>
              <a:gd name="connsiteY11-1848" fmla="*/ 5561911 h 6925856"/>
              <a:gd name="connsiteX12-1849" fmla="*/ 4805164 w 9397013"/>
              <a:gd name="connsiteY12-1850" fmla="*/ 4602 h 6925856"/>
              <a:gd name="connsiteX13-1851" fmla="*/ 5260238 w 9397013"/>
              <a:gd name="connsiteY13-1852" fmla="*/ 25779 h 6925856"/>
              <a:gd name="connsiteX14-1853" fmla="*/ 779421 w 9397013"/>
              <a:gd name="connsiteY14-1854" fmla="*/ 5917254 h 6925856"/>
              <a:gd name="connsiteX15-1855" fmla="*/ 1598673 w 9397013"/>
              <a:gd name="connsiteY15-1856" fmla="*/ 5976498 h 6925856"/>
              <a:gd name="connsiteX16-1857" fmla="*/ 919656 w 9397013"/>
              <a:gd name="connsiteY16-1858" fmla="*/ 6226083 h 6925856"/>
              <a:gd name="connsiteX17-1859" fmla="*/ 5641256 w 9397013"/>
              <a:gd name="connsiteY17-1860" fmla="*/ 4084 h 6925856"/>
              <a:gd name="connsiteX18-1861" fmla="*/ 6077099 w 9397013"/>
              <a:gd name="connsiteY18-1862" fmla="*/ 17286 h 6925856"/>
              <a:gd name="connsiteX19-1863" fmla="*/ 1598673 w 9397013"/>
              <a:gd name="connsiteY19-1864" fmla="*/ 5976498 h 6925856"/>
              <a:gd name="connsiteX20-1865" fmla="*/ 6958778 w 9397013"/>
              <a:gd name="connsiteY20-1866" fmla="*/ 6916619 h 6925856"/>
              <a:gd name="connsiteX21-1867" fmla="*/ 6560038 w 9397013"/>
              <a:gd name="connsiteY21-1868" fmla="*/ 6925855 h 6925856"/>
              <a:gd name="connsiteX22-1869" fmla="*/ 3849932 w 9397013"/>
              <a:gd name="connsiteY22-1870" fmla="*/ 3388318 h 6925856"/>
              <a:gd name="connsiteX23-1871" fmla="*/ 4086202 w 9397013"/>
              <a:gd name="connsiteY23-1872" fmla="*/ 3078877 h 6925856"/>
              <a:gd name="connsiteX24-1873" fmla="*/ 6958778 w 9397013"/>
              <a:gd name="connsiteY24-1874" fmla="*/ 6916619 h 6925856"/>
              <a:gd name="connsiteX25-1875" fmla="*/ 7777211 w 9397013"/>
              <a:gd name="connsiteY25-1876" fmla="*/ 6916620 h 6925856"/>
              <a:gd name="connsiteX26-1877" fmla="*/ 7324729 w 9397013"/>
              <a:gd name="connsiteY26-1878" fmla="*/ 6916620 h 6925856"/>
              <a:gd name="connsiteX27-1879" fmla="*/ 4245793 w 9397013"/>
              <a:gd name="connsiteY27-1880" fmla="*/ 2869862 h 6925856"/>
              <a:gd name="connsiteX28-1881" fmla="*/ 4490696 w 9397013"/>
              <a:gd name="connsiteY28-1882" fmla="*/ 2549117 h 6925856"/>
              <a:gd name="connsiteX29-1883" fmla="*/ 7777211 w 9397013"/>
              <a:gd name="connsiteY29-1884" fmla="*/ 6916620 h 6925856"/>
              <a:gd name="connsiteX30-1885" fmla="*/ 8567691 w 9397013"/>
              <a:gd name="connsiteY30-1886" fmla="*/ 6916619 h 6925856"/>
              <a:gd name="connsiteX31-1887" fmla="*/ 8159389 w 9397013"/>
              <a:gd name="connsiteY31-1888" fmla="*/ 6925856 h 6925856"/>
              <a:gd name="connsiteX32-1889" fmla="*/ 4650570 w 9397013"/>
              <a:gd name="connsiteY32-1890" fmla="*/ 2339732 h 6925856"/>
              <a:gd name="connsiteX33-1891" fmla="*/ 4869244 w 9397013"/>
              <a:gd name="connsiteY33-1892" fmla="*/ 2053337 h 6925856"/>
              <a:gd name="connsiteX34-1893" fmla="*/ 8567691 w 9397013"/>
              <a:gd name="connsiteY34-1894" fmla="*/ 6916619 h 6925856"/>
              <a:gd name="connsiteX35-1895" fmla="*/ 9397013 w 9397013"/>
              <a:gd name="connsiteY35-1896" fmla="*/ 6925855 h 6925856"/>
              <a:gd name="connsiteX36-1897" fmla="*/ 8921338 w 9397013"/>
              <a:gd name="connsiteY36-1898" fmla="*/ 6907383 h 6925856"/>
              <a:gd name="connsiteX37-1899" fmla="*/ 5045299 w 9397013"/>
              <a:gd name="connsiteY37-1900" fmla="*/ 1822761 h 6925856"/>
              <a:gd name="connsiteX38-1901" fmla="*/ 5273037 w 9397013"/>
              <a:gd name="connsiteY38-1902" fmla="*/ 1524494 h 6925856"/>
              <a:gd name="connsiteX39-1903" fmla="*/ 9397013 w 9397013"/>
              <a:gd name="connsiteY39-1904" fmla="*/ 6925855 h 6925856"/>
              <a:gd name="connsiteX0-1905" fmla="*/ 168369 w 9397013"/>
              <a:gd name="connsiteY0-1906" fmla="*/ 4571581 h 6925856"/>
              <a:gd name="connsiteX1-1907" fmla="*/ 0 w 9397013"/>
              <a:gd name="connsiteY1-1908" fmla="*/ 4200794 h 6925856"/>
              <a:gd name="connsiteX2-1909" fmla="*/ 3175788 w 9397013"/>
              <a:gd name="connsiteY2-1910" fmla="*/ 4084 h 6925856"/>
              <a:gd name="connsiteX3-1911" fmla="*/ 3628305 w 9397013"/>
              <a:gd name="connsiteY3-1912" fmla="*/ 0 h 6925856"/>
              <a:gd name="connsiteX4-1913" fmla="*/ 168369 w 9397013"/>
              <a:gd name="connsiteY4-1914" fmla="*/ 4571581 h 6925856"/>
              <a:gd name="connsiteX5-1915" fmla="*/ 488220 w 9397013"/>
              <a:gd name="connsiteY5-1916" fmla="*/ 5275963 h 6925856"/>
              <a:gd name="connsiteX6-1917" fmla="*/ 299082 w 9397013"/>
              <a:gd name="connsiteY6-1918" fmla="*/ 4859439 h 6925856"/>
              <a:gd name="connsiteX7-1919" fmla="*/ 3977147 w 9397013"/>
              <a:gd name="connsiteY7-1920" fmla="*/ 3723 h 6925856"/>
              <a:gd name="connsiteX8-1921" fmla="*/ 4465006 w 9397013"/>
              <a:gd name="connsiteY8-1922" fmla="*/ 840 h 6925856"/>
              <a:gd name="connsiteX9-1923" fmla="*/ 488220 w 9397013"/>
              <a:gd name="connsiteY9-1924" fmla="*/ 5275963 h 6925856"/>
              <a:gd name="connsiteX10-1925" fmla="*/ 779421 w 9397013"/>
              <a:gd name="connsiteY10-1926" fmla="*/ 5917254 h 6925856"/>
              <a:gd name="connsiteX11-1927" fmla="*/ 618065 w 9397013"/>
              <a:gd name="connsiteY11-1928" fmla="*/ 5561911 h 6925856"/>
              <a:gd name="connsiteX12-1929" fmla="*/ 4805164 w 9397013"/>
              <a:gd name="connsiteY12-1930" fmla="*/ 4602 h 6925856"/>
              <a:gd name="connsiteX13-1931" fmla="*/ 5260238 w 9397013"/>
              <a:gd name="connsiteY13-1932" fmla="*/ 25779 h 6925856"/>
              <a:gd name="connsiteX14-1933" fmla="*/ 779421 w 9397013"/>
              <a:gd name="connsiteY14-1934" fmla="*/ 5917254 h 6925856"/>
              <a:gd name="connsiteX15-1935" fmla="*/ 1598673 w 9397013"/>
              <a:gd name="connsiteY15-1936" fmla="*/ 5976498 h 6925856"/>
              <a:gd name="connsiteX16-1937" fmla="*/ 1566201 w 9397013"/>
              <a:gd name="connsiteY16-1938" fmla="*/ 5394811 h 6925856"/>
              <a:gd name="connsiteX17-1939" fmla="*/ 5641256 w 9397013"/>
              <a:gd name="connsiteY17-1940" fmla="*/ 4084 h 6925856"/>
              <a:gd name="connsiteX18-1941" fmla="*/ 6077099 w 9397013"/>
              <a:gd name="connsiteY18-1942" fmla="*/ 17286 h 6925856"/>
              <a:gd name="connsiteX19-1943" fmla="*/ 1598673 w 9397013"/>
              <a:gd name="connsiteY19-1944" fmla="*/ 5976498 h 6925856"/>
              <a:gd name="connsiteX20-1945" fmla="*/ 6958778 w 9397013"/>
              <a:gd name="connsiteY20-1946" fmla="*/ 6916619 h 6925856"/>
              <a:gd name="connsiteX21-1947" fmla="*/ 6560038 w 9397013"/>
              <a:gd name="connsiteY21-1948" fmla="*/ 6925855 h 6925856"/>
              <a:gd name="connsiteX22-1949" fmla="*/ 3849932 w 9397013"/>
              <a:gd name="connsiteY22-1950" fmla="*/ 3388318 h 6925856"/>
              <a:gd name="connsiteX23-1951" fmla="*/ 4086202 w 9397013"/>
              <a:gd name="connsiteY23-1952" fmla="*/ 3078877 h 6925856"/>
              <a:gd name="connsiteX24-1953" fmla="*/ 6958778 w 9397013"/>
              <a:gd name="connsiteY24-1954" fmla="*/ 6916619 h 6925856"/>
              <a:gd name="connsiteX25-1955" fmla="*/ 7777211 w 9397013"/>
              <a:gd name="connsiteY25-1956" fmla="*/ 6916620 h 6925856"/>
              <a:gd name="connsiteX26-1957" fmla="*/ 7324729 w 9397013"/>
              <a:gd name="connsiteY26-1958" fmla="*/ 6916620 h 6925856"/>
              <a:gd name="connsiteX27-1959" fmla="*/ 4245793 w 9397013"/>
              <a:gd name="connsiteY27-1960" fmla="*/ 2869862 h 6925856"/>
              <a:gd name="connsiteX28-1961" fmla="*/ 4490696 w 9397013"/>
              <a:gd name="connsiteY28-1962" fmla="*/ 2549117 h 6925856"/>
              <a:gd name="connsiteX29-1963" fmla="*/ 7777211 w 9397013"/>
              <a:gd name="connsiteY29-1964" fmla="*/ 6916620 h 6925856"/>
              <a:gd name="connsiteX30-1965" fmla="*/ 8567691 w 9397013"/>
              <a:gd name="connsiteY30-1966" fmla="*/ 6916619 h 6925856"/>
              <a:gd name="connsiteX31-1967" fmla="*/ 8159389 w 9397013"/>
              <a:gd name="connsiteY31-1968" fmla="*/ 6925856 h 6925856"/>
              <a:gd name="connsiteX32-1969" fmla="*/ 4650570 w 9397013"/>
              <a:gd name="connsiteY32-1970" fmla="*/ 2339732 h 6925856"/>
              <a:gd name="connsiteX33-1971" fmla="*/ 4869244 w 9397013"/>
              <a:gd name="connsiteY33-1972" fmla="*/ 2053337 h 6925856"/>
              <a:gd name="connsiteX34-1973" fmla="*/ 8567691 w 9397013"/>
              <a:gd name="connsiteY34-1974" fmla="*/ 6916619 h 6925856"/>
              <a:gd name="connsiteX35-1975" fmla="*/ 9397013 w 9397013"/>
              <a:gd name="connsiteY35-1976" fmla="*/ 6925855 h 6925856"/>
              <a:gd name="connsiteX36-1977" fmla="*/ 8921338 w 9397013"/>
              <a:gd name="connsiteY36-1978" fmla="*/ 6907383 h 6925856"/>
              <a:gd name="connsiteX37-1979" fmla="*/ 5045299 w 9397013"/>
              <a:gd name="connsiteY37-1980" fmla="*/ 1822761 h 6925856"/>
              <a:gd name="connsiteX38-1981" fmla="*/ 5273037 w 9397013"/>
              <a:gd name="connsiteY38-1982" fmla="*/ 1524494 h 6925856"/>
              <a:gd name="connsiteX39-1983" fmla="*/ 9397013 w 9397013"/>
              <a:gd name="connsiteY39-1984" fmla="*/ 6925855 h 6925856"/>
              <a:gd name="connsiteX0-1985" fmla="*/ 168369 w 9397013"/>
              <a:gd name="connsiteY0-1986" fmla="*/ 4571581 h 6925856"/>
              <a:gd name="connsiteX1-1987" fmla="*/ 0 w 9397013"/>
              <a:gd name="connsiteY1-1988" fmla="*/ 4200794 h 6925856"/>
              <a:gd name="connsiteX2-1989" fmla="*/ 3175788 w 9397013"/>
              <a:gd name="connsiteY2-1990" fmla="*/ 4084 h 6925856"/>
              <a:gd name="connsiteX3-1991" fmla="*/ 3628305 w 9397013"/>
              <a:gd name="connsiteY3-1992" fmla="*/ 0 h 6925856"/>
              <a:gd name="connsiteX4-1993" fmla="*/ 168369 w 9397013"/>
              <a:gd name="connsiteY4-1994" fmla="*/ 4571581 h 6925856"/>
              <a:gd name="connsiteX5-1995" fmla="*/ 488220 w 9397013"/>
              <a:gd name="connsiteY5-1996" fmla="*/ 5275963 h 6925856"/>
              <a:gd name="connsiteX6-1997" fmla="*/ 299082 w 9397013"/>
              <a:gd name="connsiteY6-1998" fmla="*/ 4859439 h 6925856"/>
              <a:gd name="connsiteX7-1999" fmla="*/ 3977147 w 9397013"/>
              <a:gd name="connsiteY7-2000" fmla="*/ 3723 h 6925856"/>
              <a:gd name="connsiteX8-2001" fmla="*/ 4465006 w 9397013"/>
              <a:gd name="connsiteY8-2002" fmla="*/ 840 h 6925856"/>
              <a:gd name="connsiteX9-2003" fmla="*/ 488220 w 9397013"/>
              <a:gd name="connsiteY9-2004" fmla="*/ 5275963 h 6925856"/>
              <a:gd name="connsiteX10-2005" fmla="*/ 779421 w 9397013"/>
              <a:gd name="connsiteY10-2006" fmla="*/ 5917254 h 6925856"/>
              <a:gd name="connsiteX11-2007" fmla="*/ 618065 w 9397013"/>
              <a:gd name="connsiteY11-2008" fmla="*/ 5561911 h 6925856"/>
              <a:gd name="connsiteX12-2009" fmla="*/ 4805164 w 9397013"/>
              <a:gd name="connsiteY12-2010" fmla="*/ 4602 h 6925856"/>
              <a:gd name="connsiteX13-2011" fmla="*/ 5260238 w 9397013"/>
              <a:gd name="connsiteY13-2012" fmla="*/ 25779 h 6925856"/>
              <a:gd name="connsiteX14-2013" fmla="*/ 779421 w 9397013"/>
              <a:gd name="connsiteY14-2014" fmla="*/ 5917254 h 6925856"/>
              <a:gd name="connsiteX15-2015" fmla="*/ 1580200 w 9397013"/>
              <a:gd name="connsiteY15-2016" fmla="*/ 5985735 h 6925856"/>
              <a:gd name="connsiteX16-2017" fmla="*/ 1566201 w 9397013"/>
              <a:gd name="connsiteY16-2018" fmla="*/ 5394811 h 6925856"/>
              <a:gd name="connsiteX17-2019" fmla="*/ 5641256 w 9397013"/>
              <a:gd name="connsiteY17-2020" fmla="*/ 4084 h 6925856"/>
              <a:gd name="connsiteX18-2021" fmla="*/ 6077099 w 9397013"/>
              <a:gd name="connsiteY18-2022" fmla="*/ 17286 h 6925856"/>
              <a:gd name="connsiteX19-2023" fmla="*/ 1580200 w 9397013"/>
              <a:gd name="connsiteY19-2024" fmla="*/ 5985735 h 6925856"/>
              <a:gd name="connsiteX20-2025" fmla="*/ 6958778 w 9397013"/>
              <a:gd name="connsiteY20-2026" fmla="*/ 6916619 h 6925856"/>
              <a:gd name="connsiteX21-2027" fmla="*/ 6560038 w 9397013"/>
              <a:gd name="connsiteY21-2028" fmla="*/ 6925855 h 6925856"/>
              <a:gd name="connsiteX22-2029" fmla="*/ 3849932 w 9397013"/>
              <a:gd name="connsiteY22-2030" fmla="*/ 3388318 h 6925856"/>
              <a:gd name="connsiteX23-2031" fmla="*/ 4086202 w 9397013"/>
              <a:gd name="connsiteY23-2032" fmla="*/ 3078877 h 6925856"/>
              <a:gd name="connsiteX24-2033" fmla="*/ 6958778 w 9397013"/>
              <a:gd name="connsiteY24-2034" fmla="*/ 6916619 h 6925856"/>
              <a:gd name="connsiteX25-2035" fmla="*/ 7777211 w 9397013"/>
              <a:gd name="connsiteY25-2036" fmla="*/ 6916620 h 6925856"/>
              <a:gd name="connsiteX26-2037" fmla="*/ 7324729 w 9397013"/>
              <a:gd name="connsiteY26-2038" fmla="*/ 6916620 h 6925856"/>
              <a:gd name="connsiteX27-2039" fmla="*/ 4245793 w 9397013"/>
              <a:gd name="connsiteY27-2040" fmla="*/ 2869862 h 6925856"/>
              <a:gd name="connsiteX28-2041" fmla="*/ 4490696 w 9397013"/>
              <a:gd name="connsiteY28-2042" fmla="*/ 2549117 h 6925856"/>
              <a:gd name="connsiteX29-2043" fmla="*/ 7777211 w 9397013"/>
              <a:gd name="connsiteY29-2044" fmla="*/ 6916620 h 6925856"/>
              <a:gd name="connsiteX30-2045" fmla="*/ 8567691 w 9397013"/>
              <a:gd name="connsiteY30-2046" fmla="*/ 6916619 h 6925856"/>
              <a:gd name="connsiteX31-2047" fmla="*/ 8159389 w 9397013"/>
              <a:gd name="connsiteY31-2048" fmla="*/ 6925856 h 6925856"/>
              <a:gd name="connsiteX32-2049" fmla="*/ 4650570 w 9397013"/>
              <a:gd name="connsiteY32-2050" fmla="*/ 2339732 h 6925856"/>
              <a:gd name="connsiteX33-2051" fmla="*/ 4869244 w 9397013"/>
              <a:gd name="connsiteY33-2052" fmla="*/ 2053337 h 6925856"/>
              <a:gd name="connsiteX34-2053" fmla="*/ 8567691 w 9397013"/>
              <a:gd name="connsiteY34-2054" fmla="*/ 6916619 h 6925856"/>
              <a:gd name="connsiteX35-2055" fmla="*/ 9397013 w 9397013"/>
              <a:gd name="connsiteY35-2056" fmla="*/ 6925855 h 6925856"/>
              <a:gd name="connsiteX36-2057" fmla="*/ 8921338 w 9397013"/>
              <a:gd name="connsiteY36-2058" fmla="*/ 6907383 h 6925856"/>
              <a:gd name="connsiteX37-2059" fmla="*/ 5045299 w 9397013"/>
              <a:gd name="connsiteY37-2060" fmla="*/ 1822761 h 6925856"/>
              <a:gd name="connsiteX38-2061" fmla="*/ 5273037 w 9397013"/>
              <a:gd name="connsiteY38-2062" fmla="*/ 1524494 h 6925856"/>
              <a:gd name="connsiteX39-2063" fmla="*/ 9397013 w 9397013"/>
              <a:gd name="connsiteY39-2064" fmla="*/ 6925855 h 6925856"/>
              <a:gd name="connsiteX0-2065" fmla="*/ 168369 w 9397013"/>
              <a:gd name="connsiteY0-2066" fmla="*/ 4571581 h 6925856"/>
              <a:gd name="connsiteX1-2067" fmla="*/ 0 w 9397013"/>
              <a:gd name="connsiteY1-2068" fmla="*/ 4200794 h 6925856"/>
              <a:gd name="connsiteX2-2069" fmla="*/ 3175788 w 9397013"/>
              <a:gd name="connsiteY2-2070" fmla="*/ 4084 h 6925856"/>
              <a:gd name="connsiteX3-2071" fmla="*/ 3628305 w 9397013"/>
              <a:gd name="connsiteY3-2072" fmla="*/ 0 h 6925856"/>
              <a:gd name="connsiteX4-2073" fmla="*/ 168369 w 9397013"/>
              <a:gd name="connsiteY4-2074" fmla="*/ 4571581 h 6925856"/>
              <a:gd name="connsiteX5-2075" fmla="*/ 488220 w 9397013"/>
              <a:gd name="connsiteY5-2076" fmla="*/ 5275963 h 6925856"/>
              <a:gd name="connsiteX6-2077" fmla="*/ 299082 w 9397013"/>
              <a:gd name="connsiteY6-2078" fmla="*/ 4859439 h 6925856"/>
              <a:gd name="connsiteX7-2079" fmla="*/ 3977147 w 9397013"/>
              <a:gd name="connsiteY7-2080" fmla="*/ 3723 h 6925856"/>
              <a:gd name="connsiteX8-2081" fmla="*/ 4465006 w 9397013"/>
              <a:gd name="connsiteY8-2082" fmla="*/ 840 h 6925856"/>
              <a:gd name="connsiteX9-2083" fmla="*/ 488220 w 9397013"/>
              <a:gd name="connsiteY9-2084" fmla="*/ 5275963 h 6925856"/>
              <a:gd name="connsiteX10-2085" fmla="*/ 1601458 w 9397013"/>
              <a:gd name="connsiteY10-2086" fmla="*/ 4845836 h 6925856"/>
              <a:gd name="connsiteX11-2087" fmla="*/ 618065 w 9397013"/>
              <a:gd name="connsiteY11-2088" fmla="*/ 5561911 h 6925856"/>
              <a:gd name="connsiteX12-2089" fmla="*/ 4805164 w 9397013"/>
              <a:gd name="connsiteY12-2090" fmla="*/ 4602 h 6925856"/>
              <a:gd name="connsiteX13-2091" fmla="*/ 5260238 w 9397013"/>
              <a:gd name="connsiteY13-2092" fmla="*/ 25779 h 6925856"/>
              <a:gd name="connsiteX14-2093" fmla="*/ 1601458 w 9397013"/>
              <a:gd name="connsiteY14-2094" fmla="*/ 4845836 h 6925856"/>
              <a:gd name="connsiteX15-2095" fmla="*/ 1580200 w 9397013"/>
              <a:gd name="connsiteY15-2096" fmla="*/ 5985735 h 6925856"/>
              <a:gd name="connsiteX16-2097" fmla="*/ 1566201 w 9397013"/>
              <a:gd name="connsiteY16-2098" fmla="*/ 5394811 h 6925856"/>
              <a:gd name="connsiteX17-2099" fmla="*/ 5641256 w 9397013"/>
              <a:gd name="connsiteY17-2100" fmla="*/ 4084 h 6925856"/>
              <a:gd name="connsiteX18-2101" fmla="*/ 6077099 w 9397013"/>
              <a:gd name="connsiteY18-2102" fmla="*/ 17286 h 6925856"/>
              <a:gd name="connsiteX19-2103" fmla="*/ 1580200 w 9397013"/>
              <a:gd name="connsiteY19-2104" fmla="*/ 5985735 h 6925856"/>
              <a:gd name="connsiteX20-2105" fmla="*/ 6958778 w 9397013"/>
              <a:gd name="connsiteY20-2106" fmla="*/ 6916619 h 6925856"/>
              <a:gd name="connsiteX21-2107" fmla="*/ 6560038 w 9397013"/>
              <a:gd name="connsiteY21-2108" fmla="*/ 6925855 h 6925856"/>
              <a:gd name="connsiteX22-2109" fmla="*/ 3849932 w 9397013"/>
              <a:gd name="connsiteY22-2110" fmla="*/ 3388318 h 6925856"/>
              <a:gd name="connsiteX23-2111" fmla="*/ 4086202 w 9397013"/>
              <a:gd name="connsiteY23-2112" fmla="*/ 3078877 h 6925856"/>
              <a:gd name="connsiteX24-2113" fmla="*/ 6958778 w 9397013"/>
              <a:gd name="connsiteY24-2114" fmla="*/ 6916619 h 6925856"/>
              <a:gd name="connsiteX25-2115" fmla="*/ 7777211 w 9397013"/>
              <a:gd name="connsiteY25-2116" fmla="*/ 6916620 h 6925856"/>
              <a:gd name="connsiteX26-2117" fmla="*/ 7324729 w 9397013"/>
              <a:gd name="connsiteY26-2118" fmla="*/ 6916620 h 6925856"/>
              <a:gd name="connsiteX27-2119" fmla="*/ 4245793 w 9397013"/>
              <a:gd name="connsiteY27-2120" fmla="*/ 2869862 h 6925856"/>
              <a:gd name="connsiteX28-2121" fmla="*/ 4490696 w 9397013"/>
              <a:gd name="connsiteY28-2122" fmla="*/ 2549117 h 6925856"/>
              <a:gd name="connsiteX29-2123" fmla="*/ 7777211 w 9397013"/>
              <a:gd name="connsiteY29-2124" fmla="*/ 6916620 h 6925856"/>
              <a:gd name="connsiteX30-2125" fmla="*/ 8567691 w 9397013"/>
              <a:gd name="connsiteY30-2126" fmla="*/ 6916619 h 6925856"/>
              <a:gd name="connsiteX31-2127" fmla="*/ 8159389 w 9397013"/>
              <a:gd name="connsiteY31-2128" fmla="*/ 6925856 h 6925856"/>
              <a:gd name="connsiteX32-2129" fmla="*/ 4650570 w 9397013"/>
              <a:gd name="connsiteY32-2130" fmla="*/ 2339732 h 6925856"/>
              <a:gd name="connsiteX33-2131" fmla="*/ 4869244 w 9397013"/>
              <a:gd name="connsiteY33-2132" fmla="*/ 2053337 h 6925856"/>
              <a:gd name="connsiteX34-2133" fmla="*/ 8567691 w 9397013"/>
              <a:gd name="connsiteY34-2134" fmla="*/ 6916619 h 6925856"/>
              <a:gd name="connsiteX35-2135" fmla="*/ 9397013 w 9397013"/>
              <a:gd name="connsiteY35-2136" fmla="*/ 6925855 h 6925856"/>
              <a:gd name="connsiteX36-2137" fmla="*/ 8921338 w 9397013"/>
              <a:gd name="connsiteY36-2138" fmla="*/ 6907383 h 6925856"/>
              <a:gd name="connsiteX37-2139" fmla="*/ 5045299 w 9397013"/>
              <a:gd name="connsiteY37-2140" fmla="*/ 1822761 h 6925856"/>
              <a:gd name="connsiteX38-2141" fmla="*/ 5273037 w 9397013"/>
              <a:gd name="connsiteY38-2142" fmla="*/ 1524494 h 6925856"/>
              <a:gd name="connsiteX39-2143" fmla="*/ 9397013 w 9397013"/>
              <a:gd name="connsiteY39-2144" fmla="*/ 6925855 h 6925856"/>
              <a:gd name="connsiteX0-2145" fmla="*/ 168369 w 9397013"/>
              <a:gd name="connsiteY0-2146" fmla="*/ 4571581 h 6925856"/>
              <a:gd name="connsiteX1-2147" fmla="*/ 0 w 9397013"/>
              <a:gd name="connsiteY1-2148" fmla="*/ 4200794 h 6925856"/>
              <a:gd name="connsiteX2-2149" fmla="*/ 3175788 w 9397013"/>
              <a:gd name="connsiteY2-2150" fmla="*/ 4084 h 6925856"/>
              <a:gd name="connsiteX3-2151" fmla="*/ 3628305 w 9397013"/>
              <a:gd name="connsiteY3-2152" fmla="*/ 0 h 6925856"/>
              <a:gd name="connsiteX4-2153" fmla="*/ 168369 w 9397013"/>
              <a:gd name="connsiteY4-2154" fmla="*/ 4571581 h 6925856"/>
              <a:gd name="connsiteX5-2155" fmla="*/ 488220 w 9397013"/>
              <a:gd name="connsiteY5-2156" fmla="*/ 5275963 h 6925856"/>
              <a:gd name="connsiteX6-2157" fmla="*/ 299082 w 9397013"/>
              <a:gd name="connsiteY6-2158" fmla="*/ 4859439 h 6925856"/>
              <a:gd name="connsiteX7-2159" fmla="*/ 3977147 w 9397013"/>
              <a:gd name="connsiteY7-2160" fmla="*/ 3723 h 6925856"/>
              <a:gd name="connsiteX8-2161" fmla="*/ 4465006 w 9397013"/>
              <a:gd name="connsiteY8-2162" fmla="*/ 840 h 6925856"/>
              <a:gd name="connsiteX9-2163" fmla="*/ 488220 w 9397013"/>
              <a:gd name="connsiteY9-2164" fmla="*/ 5275963 h 6925856"/>
              <a:gd name="connsiteX10-2165" fmla="*/ 1601458 w 9397013"/>
              <a:gd name="connsiteY10-2166" fmla="*/ 4845836 h 6925856"/>
              <a:gd name="connsiteX11-2167" fmla="*/ 1550937 w 9397013"/>
              <a:gd name="connsiteY11-2168" fmla="*/ 4315002 h 6925856"/>
              <a:gd name="connsiteX12-2169" fmla="*/ 4805164 w 9397013"/>
              <a:gd name="connsiteY12-2170" fmla="*/ 4602 h 6925856"/>
              <a:gd name="connsiteX13-2171" fmla="*/ 5260238 w 9397013"/>
              <a:gd name="connsiteY13-2172" fmla="*/ 25779 h 6925856"/>
              <a:gd name="connsiteX14-2173" fmla="*/ 1601458 w 9397013"/>
              <a:gd name="connsiteY14-2174" fmla="*/ 4845836 h 6925856"/>
              <a:gd name="connsiteX15-2175" fmla="*/ 1580200 w 9397013"/>
              <a:gd name="connsiteY15-2176" fmla="*/ 5985735 h 6925856"/>
              <a:gd name="connsiteX16-2177" fmla="*/ 1566201 w 9397013"/>
              <a:gd name="connsiteY16-2178" fmla="*/ 5394811 h 6925856"/>
              <a:gd name="connsiteX17-2179" fmla="*/ 5641256 w 9397013"/>
              <a:gd name="connsiteY17-2180" fmla="*/ 4084 h 6925856"/>
              <a:gd name="connsiteX18-2181" fmla="*/ 6077099 w 9397013"/>
              <a:gd name="connsiteY18-2182" fmla="*/ 17286 h 6925856"/>
              <a:gd name="connsiteX19-2183" fmla="*/ 1580200 w 9397013"/>
              <a:gd name="connsiteY19-2184" fmla="*/ 5985735 h 6925856"/>
              <a:gd name="connsiteX20-2185" fmla="*/ 6958778 w 9397013"/>
              <a:gd name="connsiteY20-2186" fmla="*/ 6916619 h 6925856"/>
              <a:gd name="connsiteX21-2187" fmla="*/ 6560038 w 9397013"/>
              <a:gd name="connsiteY21-2188" fmla="*/ 6925855 h 6925856"/>
              <a:gd name="connsiteX22-2189" fmla="*/ 3849932 w 9397013"/>
              <a:gd name="connsiteY22-2190" fmla="*/ 3388318 h 6925856"/>
              <a:gd name="connsiteX23-2191" fmla="*/ 4086202 w 9397013"/>
              <a:gd name="connsiteY23-2192" fmla="*/ 3078877 h 6925856"/>
              <a:gd name="connsiteX24-2193" fmla="*/ 6958778 w 9397013"/>
              <a:gd name="connsiteY24-2194" fmla="*/ 6916619 h 6925856"/>
              <a:gd name="connsiteX25-2195" fmla="*/ 7777211 w 9397013"/>
              <a:gd name="connsiteY25-2196" fmla="*/ 6916620 h 6925856"/>
              <a:gd name="connsiteX26-2197" fmla="*/ 7324729 w 9397013"/>
              <a:gd name="connsiteY26-2198" fmla="*/ 6916620 h 6925856"/>
              <a:gd name="connsiteX27-2199" fmla="*/ 4245793 w 9397013"/>
              <a:gd name="connsiteY27-2200" fmla="*/ 2869862 h 6925856"/>
              <a:gd name="connsiteX28-2201" fmla="*/ 4490696 w 9397013"/>
              <a:gd name="connsiteY28-2202" fmla="*/ 2549117 h 6925856"/>
              <a:gd name="connsiteX29-2203" fmla="*/ 7777211 w 9397013"/>
              <a:gd name="connsiteY29-2204" fmla="*/ 6916620 h 6925856"/>
              <a:gd name="connsiteX30-2205" fmla="*/ 8567691 w 9397013"/>
              <a:gd name="connsiteY30-2206" fmla="*/ 6916619 h 6925856"/>
              <a:gd name="connsiteX31-2207" fmla="*/ 8159389 w 9397013"/>
              <a:gd name="connsiteY31-2208" fmla="*/ 6925856 h 6925856"/>
              <a:gd name="connsiteX32-2209" fmla="*/ 4650570 w 9397013"/>
              <a:gd name="connsiteY32-2210" fmla="*/ 2339732 h 6925856"/>
              <a:gd name="connsiteX33-2211" fmla="*/ 4869244 w 9397013"/>
              <a:gd name="connsiteY33-2212" fmla="*/ 2053337 h 6925856"/>
              <a:gd name="connsiteX34-2213" fmla="*/ 8567691 w 9397013"/>
              <a:gd name="connsiteY34-2214" fmla="*/ 6916619 h 6925856"/>
              <a:gd name="connsiteX35-2215" fmla="*/ 9397013 w 9397013"/>
              <a:gd name="connsiteY35-2216" fmla="*/ 6925855 h 6925856"/>
              <a:gd name="connsiteX36-2217" fmla="*/ 8921338 w 9397013"/>
              <a:gd name="connsiteY36-2218" fmla="*/ 6907383 h 6925856"/>
              <a:gd name="connsiteX37-2219" fmla="*/ 5045299 w 9397013"/>
              <a:gd name="connsiteY37-2220" fmla="*/ 1822761 h 6925856"/>
              <a:gd name="connsiteX38-2221" fmla="*/ 5273037 w 9397013"/>
              <a:gd name="connsiteY38-2222" fmla="*/ 1524494 h 6925856"/>
              <a:gd name="connsiteX39-2223" fmla="*/ 9397013 w 9397013"/>
              <a:gd name="connsiteY39-2224" fmla="*/ 6925855 h 6925856"/>
              <a:gd name="connsiteX0-2225" fmla="*/ 168369 w 9397013"/>
              <a:gd name="connsiteY0-2226" fmla="*/ 4571581 h 6925856"/>
              <a:gd name="connsiteX1-2227" fmla="*/ 0 w 9397013"/>
              <a:gd name="connsiteY1-2228" fmla="*/ 4200794 h 6925856"/>
              <a:gd name="connsiteX2-2229" fmla="*/ 3175788 w 9397013"/>
              <a:gd name="connsiteY2-2230" fmla="*/ 4084 h 6925856"/>
              <a:gd name="connsiteX3-2231" fmla="*/ 3628305 w 9397013"/>
              <a:gd name="connsiteY3-2232" fmla="*/ 0 h 6925856"/>
              <a:gd name="connsiteX4-2233" fmla="*/ 168369 w 9397013"/>
              <a:gd name="connsiteY4-2234" fmla="*/ 4571581 h 6925856"/>
              <a:gd name="connsiteX5-2235" fmla="*/ 488220 w 9397013"/>
              <a:gd name="connsiteY5-2236" fmla="*/ 5275963 h 6925856"/>
              <a:gd name="connsiteX6-2237" fmla="*/ 299082 w 9397013"/>
              <a:gd name="connsiteY6-2238" fmla="*/ 4859439 h 6925856"/>
              <a:gd name="connsiteX7-2239" fmla="*/ 3977147 w 9397013"/>
              <a:gd name="connsiteY7-2240" fmla="*/ 3723 h 6925856"/>
              <a:gd name="connsiteX8-2241" fmla="*/ 4465006 w 9397013"/>
              <a:gd name="connsiteY8-2242" fmla="*/ 840 h 6925856"/>
              <a:gd name="connsiteX9-2243" fmla="*/ 488220 w 9397013"/>
              <a:gd name="connsiteY9-2244" fmla="*/ 5275963 h 6925856"/>
              <a:gd name="connsiteX10-2245" fmla="*/ 1573749 w 9397013"/>
              <a:gd name="connsiteY10-2246" fmla="*/ 4882781 h 6925856"/>
              <a:gd name="connsiteX11-2247" fmla="*/ 1550937 w 9397013"/>
              <a:gd name="connsiteY11-2248" fmla="*/ 4315002 h 6925856"/>
              <a:gd name="connsiteX12-2249" fmla="*/ 4805164 w 9397013"/>
              <a:gd name="connsiteY12-2250" fmla="*/ 4602 h 6925856"/>
              <a:gd name="connsiteX13-2251" fmla="*/ 5260238 w 9397013"/>
              <a:gd name="connsiteY13-2252" fmla="*/ 25779 h 6925856"/>
              <a:gd name="connsiteX14-2253" fmla="*/ 1573749 w 9397013"/>
              <a:gd name="connsiteY14-2254" fmla="*/ 4882781 h 6925856"/>
              <a:gd name="connsiteX15-2255" fmla="*/ 1580200 w 9397013"/>
              <a:gd name="connsiteY15-2256" fmla="*/ 5985735 h 6925856"/>
              <a:gd name="connsiteX16-2257" fmla="*/ 1566201 w 9397013"/>
              <a:gd name="connsiteY16-2258" fmla="*/ 5394811 h 6925856"/>
              <a:gd name="connsiteX17-2259" fmla="*/ 5641256 w 9397013"/>
              <a:gd name="connsiteY17-2260" fmla="*/ 4084 h 6925856"/>
              <a:gd name="connsiteX18-2261" fmla="*/ 6077099 w 9397013"/>
              <a:gd name="connsiteY18-2262" fmla="*/ 17286 h 6925856"/>
              <a:gd name="connsiteX19-2263" fmla="*/ 1580200 w 9397013"/>
              <a:gd name="connsiteY19-2264" fmla="*/ 5985735 h 6925856"/>
              <a:gd name="connsiteX20-2265" fmla="*/ 6958778 w 9397013"/>
              <a:gd name="connsiteY20-2266" fmla="*/ 6916619 h 6925856"/>
              <a:gd name="connsiteX21-2267" fmla="*/ 6560038 w 9397013"/>
              <a:gd name="connsiteY21-2268" fmla="*/ 6925855 h 6925856"/>
              <a:gd name="connsiteX22-2269" fmla="*/ 3849932 w 9397013"/>
              <a:gd name="connsiteY22-2270" fmla="*/ 3388318 h 6925856"/>
              <a:gd name="connsiteX23-2271" fmla="*/ 4086202 w 9397013"/>
              <a:gd name="connsiteY23-2272" fmla="*/ 3078877 h 6925856"/>
              <a:gd name="connsiteX24-2273" fmla="*/ 6958778 w 9397013"/>
              <a:gd name="connsiteY24-2274" fmla="*/ 6916619 h 6925856"/>
              <a:gd name="connsiteX25-2275" fmla="*/ 7777211 w 9397013"/>
              <a:gd name="connsiteY25-2276" fmla="*/ 6916620 h 6925856"/>
              <a:gd name="connsiteX26-2277" fmla="*/ 7324729 w 9397013"/>
              <a:gd name="connsiteY26-2278" fmla="*/ 6916620 h 6925856"/>
              <a:gd name="connsiteX27-2279" fmla="*/ 4245793 w 9397013"/>
              <a:gd name="connsiteY27-2280" fmla="*/ 2869862 h 6925856"/>
              <a:gd name="connsiteX28-2281" fmla="*/ 4490696 w 9397013"/>
              <a:gd name="connsiteY28-2282" fmla="*/ 2549117 h 6925856"/>
              <a:gd name="connsiteX29-2283" fmla="*/ 7777211 w 9397013"/>
              <a:gd name="connsiteY29-2284" fmla="*/ 6916620 h 6925856"/>
              <a:gd name="connsiteX30-2285" fmla="*/ 8567691 w 9397013"/>
              <a:gd name="connsiteY30-2286" fmla="*/ 6916619 h 6925856"/>
              <a:gd name="connsiteX31-2287" fmla="*/ 8159389 w 9397013"/>
              <a:gd name="connsiteY31-2288" fmla="*/ 6925856 h 6925856"/>
              <a:gd name="connsiteX32-2289" fmla="*/ 4650570 w 9397013"/>
              <a:gd name="connsiteY32-2290" fmla="*/ 2339732 h 6925856"/>
              <a:gd name="connsiteX33-2291" fmla="*/ 4869244 w 9397013"/>
              <a:gd name="connsiteY33-2292" fmla="*/ 2053337 h 6925856"/>
              <a:gd name="connsiteX34-2293" fmla="*/ 8567691 w 9397013"/>
              <a:gd name="connsiteY34-2294" fmla="*/ 6916619 h 6925856"/>
              <a:gd name="connsiteX35-2295" fmla="*/ 9397013 w 9397013"/>
              <a:gd name="connsiteY35-2296" fmla="*/ 6925855 h 6925856"/>
              <a:gd name="connsiteX36-2297" fmla="*/ 8921338 w 9397013"/>
              <a:gd name="connsiteY36-2298" fmla="*/ 6907383 h 6925856"/>
              <a:gd name="connsiteX37-2299" fmla="*/ 5045299 w 9397013"/>
              <a:gd name="connsiteY37-2300" fmla="*/ 1822761 h 6925856"/>
              <a:gd name="connsiteX38-2301" fmla="*/ 5273037 w 9397013"/>
              <a:gd name="connsiteY38-2302" fmla="*/ 1524494 h 6925856"/>
              <a:gd name="connsiteX39-2303" fmla="*/ 9397013 w 9397013"/>
              <a:gd name="connsiteY39-2304" fmla="*/ 6925855 h 6925856"/>
              <a:gd name="connsiteX0-2305" fmla="*/ 168369 w 9397013"/>
              <a:gd name="connsiteY0-2306" fmla="*/ 4571581 h 6925856"/>
              <a:gd name="connsiteX1-2307" fmla="*/ 0 w 9397013"/>
              <a:gd name="connsiteY1-2308" fmla="*/ 4200794 h 6925856"/>
              <a:gd name="connsiteX2-2309" fmla="*/ 3175788 w 9397013"/>
              <a:gd name="connsiteY2-2310" fmla="*/ 4084 h 6925856"/>
              <a:gd name="connsiteX3-2311" fmla="*/ 3628305 w 9397013"/>
              <a:gd name="connsiteY3-2312" fmla="*/ 0 h 6925856"/>
              <a:gd name="connsiteX4-2313" fmla="*/ 168369 w 9397013"/>
              <a:gd name="connsiteY4-2314" fmla="*/ 4571581 h 6925856"/>
              <a:gd name="connsiteX5-2315" fmla="*/ 1578111 w 9397013"/>
              <a:gd name="connsiteY5-2316" fmla="*/ 3835090 h 6925856"/>
              <a:gd name="connsiteX6-2317" fmla="*/ 299082 w 9397013"/>
              <a:gd name="connsiteY6-2318" fmla="*/ 4859439 h 6925856"/>
              <a:gd name="connsiteX7-2319" fmla="*/ 3977147 w 9397013"/>
              <a:gd name="connsiteY7-2320" fmla="*/ 3723 h 6925856"/>
              <a:gd name="connsiteX8-2321" fmla="*/ 4465006 w 9397013"/>
              <a:gd name="connsiteY8-2322" fmla="*/ 840 h 6925856"/>
              <a:gd name="connsiteX9-2323" fmla="*/ 1578111 w 9397013"/>
              <a:gd name="connsiteY9-2324" fmla="*/ 3835090 h 6925856"/>
              <a:gd name="connsiteX10-2325" fmla="*/ 1573749 w 9397013"/>
              <a:gd name="connsiteY10-2326" fmla="*/ 4882781 h 6925856"/>
              <a:gd name="connsiteX11-2327" fmla="*/ 1550937 w 9397013"/>
              <a:gd name="connsiteY11-2328" fmla="*/ 4315002 h 6925856"/>
              <a:gd name="connsiteX12-2329" fmla="*/ 4805164 w 9397013"/>
              <a:gd name="connsiteY12-2330" fmla="*/ 4602 h 6925856"/>
              <a:gd name="connsiteX13-2331" fmla="*/ 5260238 w 9397013"/>
              <a:gd name="connsiteY13-2332" fmla="*/ 25779 h 6925856"/>
              <a:gd name="connsiteX14-2333" fmla="*/ 1573749 w 9397013"/>
              <a:gd name="connsiteY14-2334" fmla="*/ 4882781 h 6925856"/>
              <a:gd name="connsiteX15-2335" fmla="*/ 1580200 w 9397013"/>
              <a:gd name="connsiteY15-2336" fmla="*/ 5985735 h 6925856"/>
              <a:gd name="connsiteX16-2337" fmla="*/ 1566201 w 9397013"/>
              <a:gd name="connsiteY16-2338" fmla="*/ 5394811 h 6925856"/>
              <a:gd name="connsiteX17-2339" fmla="*/ 5641256 w 9397013"/>
              <a:gd name="connsiteY17-2340" fmla="*/ 4084 h 6925856"/>
              <a:gd name="connsiteX18-2341" fmla="*/ 6077099 w 9397013"/>
              <a:gd name="connsiteY18-2342" fmla="*/ 17286 h 6925856"/>
              <a:gd name="connsiteX19-2343" fmla="*/ 1580200 w 9397013"/>
              <a:gd name="connsiteY19-2344" fmla="*/ 5985735 h 6925856"/>
              <a:gd name="connsiteX20-2345" fmla="*/ 6958778 w 9397013"/>
              <a:gd name="connsiteY20-2346" fmla="*/ 6916619 h 6925856"/>
              <a:gd name="connsiteX21-2347" fmla="*/ 6560038 w 9397013"/>
              <a:gd name="connsiteY21-2348" fmla="*/ 6925855 h 6925856"/>
              <a:gd name="connsiteX22-2349" fmla="*/ 3849932 w 9397013"/>
              <a:gd name="connsiteY22-2350" fmla="*/ 3388318 h 6925856"/>
              <a:gd name="connsiteX23-2351" fmla="*/ 4086202 w 9397013"/>
              <a:gd name="connsiteY23-2352" fmla="*/ 3078877 h 6925856"/>
              <a:gd name="connsiteX24-2353" fmla="*/ 6958778 w 9397013"/>
              <a:gd name="connsiteY24-2354" fmla="*/ 6916619 h 6925856"/>
              <a:gd name="connsiteX25-2355" fmla="*/ 7777211 w 9397013"/>
              <a:gd name="connsiteY25-2356" fmla="*/ 6916620 h 6925856"/>
              <a:gd name="connsiteX26-2357" fmla="*/ 7324729 w 9397013"/>
              <a:gd name="connsiteY26-2358" fmla="*/ 6916620 h 6925856"/>
              <a:gd name="connsiteX27-2359" fmla="*/ 4245793 w 9397013"/>
              <a:gd name="connsiteY27-2360" fmla="*/ 2869862 h 6925856"/>
              <a:gd name="connsiteX28-2361" fmla="*/ 4490696 w 9397013"/>
              <a:gd name="connsiteY28-2362" fmla="*/ 2549117 h 6925856"/>
              <a:gd name="connsiteX29-2363" fmla="*/ 7777211 w 9397013"/>
              <a:gd name="connsiteY29-2364" fmla="*/ 6916620 h 6925856"/>
              <a:gd name="connsiteX30-2365" fmla="*/ 8567691 w 9397013"/>
              <a:gd name="connsiteY30-2366" fmla="*/ 6916619 h 6925856"/>
              <a:gd name="connsiteX31-2367" fmla="*/ 8159389 w 9397013"/>
              <a:gd name="connsiteY31-2368" fmla="*/ 6925856 h 6925856"/>
              <a:gd name="connsiteX32-2369" fmla="*/ 4650570 w 9397013"/>
              <a:gd name="connsiteY32-2370" fmla="*/ 2339732 h 6925856"/>
              <a:gd name="connsiteX33-2371" fmla="*/ 4869244 w 9397013"/>
              <a:gd name="connsiteY33-2372" fmla="*/ 2053337 h 6925856"/>
              <a:gd name="connsiteX34-2373" fmla="*/ 8567691 w 9397013"/>
              <a:gd name="connsiteY34-2374" fmla="*/ 6916619 h 6925856"/>
              <a:gd name="connsiteX35-2375" fmla="*/ 9397013 w 9397013"/>
              <a:gd name="connsiteY35-2376" fmla="*/ 6925855 h 6925856"/>
              <a:gd name="connsiteX36-2377" fmla="*/ 8921338 w 9397013"/>
              <a:gd name="connsiteY36-2378" fmla="*/ 6907383 h 6925856"/>
              <a:gd name="connsiteX37-2379" fmla="*/ 5045299 w 9397013"/>
              <a:gd name="connsiteY37-2380" fmla="*/ 1822761 h 6925856"/>
              <a:gd name="connsiteX38-2381" fmla="*/ 5273037 w 9397013"/>
              <a:gd name="connsiteY38-2382" fmla="*/ 1524494 h 6925856"/>
              <a:gd name="connsiteX39-2383" fmla="*/ 9397013 w 9397013"/>
              <a:gd name="connsiteY39-2384" fmla="*/ 6925855 h 6925856"/>
              <a:gd name="connsiteX0-2385" fmla="*/ 168369 w 9397013"/>
              <a:gd name="connsiteY0-2386" fmla="*/ 4571581 h 6925856"/>
              <a:gd name="connsiteX1-2387" fmla="*/ 0 w 9397013"/>
              <a:gd name="connsiteY1-2388" fmla="*/ 4200794 h 6925856"/>
              <a:gd name="connsiteX2-2389" fmla="*/ 3175788 w 9397013"/>
              <a:gd name="connsiteY2-2390" fmla="*/ 4084 h 6925856"/>
              <a:gd name="connsiteX3-2391" fmla="*/ 3628305 w 9397013"/>
              <a:gd name="connsiteY3-2392" fmla="*/ 0 h 6925856"/>
              <a:gd name="connsiteX4-2393" fmla="*/ 168369 w 9397013"/>
              <a:gd name="connsiteY4-2394" fmla="*/ 4571581 h 6925856"/>
              <a:gd name="connsiteX5-2395" fmla="*/ 1578111 w 9397013"/>
              <a:gd name="connsiteY5-2396" fmla="*/ 3835090 h 6925856"/>
              <a:gd name="connsiteX6-2397" fmla="*/ 1564463 w 9397013"/>
              <a:gd name="connsiteY6-2398" fmla="*/ 3206130 h 6925856"/>
              <a:gd name="connsiteX7-2399" fmla="*/ 3977147 w 9397013"/>
              <a:gd name="connsiteY7-2400" fmla="*/ 3723 h 6925856"/>
              <a:gd name="connsiteX8-2401" fmla="*/ 4465006 w 9397013"/>
              <a:gd name="connsiteY8-2402" fmla="*/ 840 h 6925856"/>
              <a:gd name="connsiteX9-2403" fmla="*/ 1578111 w 9397013"/>
              <a:gd name="connsiteY9-2404" fmla="*/ 3835090 h 6925856"/>
              <a:gd name="connsiteX10-2405" fmla="*/ 1573749 w 9397013"/>
              <a:gd name="connsiteY10-2406" fmla="*/ 4882781 h 6925856"/>
              <a:gd name="connsiteX11-2407" fmla="*/ 1550937 w 9397013"/>
              <a:gd name="connsiteY11-2408" fmla="*/ 4315002 h 6925856"/>
              <a:gd name="connsiteX12-2409" fmla="*/ 4805164 w 9397013"/>
              <a:gd name="connsiteY12-2410" fmla="*/ 4602 h 6925856"/>
              <a:gd name="connsiteX13-2411" fmla="*/ 5260238 w 9397013"/>
              <a:gd name="connsiteY13-2412" fmla="*/ 25779 h 6925856"/>
              <a:gd name="connsiteX14-2413" fmla="*/ 1573749 w 9397013"/>
              <a:gd name="connsiteY14-2414" fmla="*/ 4882781 h 6925856"/>
              <a:gd name="connsiteX15-2415" fmla="*/ 1580200 w 9397013"/>
              <a:gd name="connsiteY15-2416" fmla="*/ 5985735 h 6925856"/>
              <a:gd name="connsiteX16-2417" fmla="*/ 1566201 w 9397013"/>
              <a:gd name="connsiteY16-2418" fmla="*/ 5394811 h 6925856"/>
              <a:gd name="connsiteX17-2419" fmla="*/ 5641256 w 9397013"/>
              <a:gd name="connsiteY17-2420" fmla="*/ 4084 h 6925856"/>
              <a:gd name="connsiteX18-2421" fmla="*/ 6077099 w 9397013"/>
              <a:gd name="connsiteY18-2422" fmla="*/ 17286 h 6925856"/>
              <a:gd name="connsiteX19-2423" fmla="*/ 1580200 w 9397013"/>
              <a:gd name="connsiteY19-2424" fmla="*/ 5985735 h 6925856"/>
              <a:gd name="connsiteX20-2425" fmla="*/ 6958778 w 9397013"/>
              <a:gd name="connsiteY20-2426" fmla="*/ 6916619 h 6925856"/>
              <a:gd name="connsiteX21-2427" fmla="*/ 6560038 w 9397013"/>
              <a:gd name="connsiteY21-2428" fmla="*/ 6925855 h 6925856"/>
              <a:gd name="connsiteX22-2429" fmla="*/ 3849932 w 9397013"/>
              <a:gd name="connsiteY22-2430" fmla="*/ 3388318 h 6925856"/>
              <a:gd name="connsiteX23-2431" fmla="*/ 4086202 w 9397013"/>
              <a:gd name="connsiteY23-2432" fmla="*/ 3078877 h 6925856"/>
              <a:gd name="connsiteX24-2433" fmla="*/ 6958778 w 9397013"/>
              <a:gd name="connsiteY24-2434" fmla="*/ 6916619 h 6925856"/>
              <a:gd name="connsiteX25-2435" fmla="*/ 7777211 w 9397013"/>
              <a:gd name="connsiteY25-2436" fmla="*/ 6916620 h 6925856"/>
              <a:gd name="connsiteX26-2437" fmla="*/ 7324729 w 9397013"/>
              <a:gd name="connsiteY26-2438" fmla="*/ 6916620 h 6925856"/>
              <a:gd name="connsiteX27-2439" fmla="*/ 4245793 w 9397013"/>
              <a:gd name="connsiteY27-2440" fmla="*/ 2869862 h 6925856"/>
              <a:gd name="connsiteX28-2441" fmla="*/ 4490696 w 9397013"/>
              <a:gd name="connsiteY28-2442" fmla="*/ 2549117 h 6925856"/>
              <a:gd name="connsiteX29-2443" fmla="*/ 7777211 w 9397013"/>
              <a:gd name="connsiteY29-2444" fmla="*/ 6916620 h 6925856"/>
              <a:gd name="connsiteX30-2445" fmla="*/ 8567691 w 9397013"/>
              <a:gd name="connsiteY30-2446" fmla="*/ 6916619 h 6925856"/>
              <a:gd name="connsiteX31-2447" fmla="*/ 8159389 w 9397013"/>
              <a:gd name="connsiteY31-2448" fmla="*/ 6925856 h 6925856"/>
              <a:gd name="connsiteX32-2449" fmla="*/ 4650570 w 9397013"/>
              <a:gd name="connsiteY32-2450" fmla="*/ 2339732 h 6925856"/>
              <a:gd name="connsiteX33-2451" fmla="*/ 4869244 w 9397013"/>
              <a:gd name="connsiteY33-2452" fmla="*/ 2053337 h 6925856"/>
              <a:gd name="connsiteX34-2453" fmla="*/ 8567691 w 9397013"/>
              <a:gd name="connsiteY34-2454" fmla="*/ 6916619 h 6925856"/>
              <a:gd name="connsiteX35-2455" fmla="*/ 9397013 w 9397013"/>
              <a:gd name="connsiteY35-2456" fmla="*/ 6925855 h 6925856"/>
              <a:gd name="connsiteX36-2457" fmla="*/ 8921338 w 9397013"/>
              <a:gd name="connsiteY36-2458" fmla="*/ 6907383 h 6925856"/>
              <a:gd name="connsiteX37-2459" fmla="*/ 5045299 w 9397013"/>
              <a:gd name="connsiteY37-2460" fmla="*/ 1822761 h 6925856"/>
              <a:gd name="connsiteX38-2461" fmla="*/ 5273037 w 9397013"/>
              <a:gd name="connsiteY38-2462" fmla="*/ 1524494 h 6925856"/>
              <a:gd name="connsiteX39-2463" fmla="*/ 9397013 w 9397013"/>
              <a:gd name="connsiteY39-2464" fmla="*/ 6925855 h 6925856"/>
              <a:gd name="connsiteX0-2465" fmla="*/ 1572296 w 9397013"/>
              <a:gd name="connsiteY0-2466" fmla="*/ 2715072 h 6925856"/>
              <a:gd name="connsiteX1-2467" fmla="*/ 0 w 9397013"/>
              <a:gd name="connsiteY1-2468" fmla="*/ 4200794 h 6925856"/>
              <a:gd name="connsiteX2-2469" fmla="*/ 3175788 w 9397013"/>
              <a:gd name="connsiteY2-2470" fmla="*/ 4084 h 6925856"/>
              <a:gd name="connsiteX3-2471" fmla="*/ 3628305 w 9397013"/>
              <a:gd name="connsiteY3-2472" fmla="*/ 0 h 6925856"/>
              <a:gd name="connsiteX4-2473" fmla="*/ 1572296 w 9397013"/>
              <a:gd name="connsiteY4-2474" fmla="*/ 2715072 h 6925856"/>
              <a:gd name="connsiteX5-2475" fmla="*/ 1578111 w 9397013"/>
              <a:gd name="connsiteY5-2476" fmla="*/ 3835090 h 6925856"/>
              <a:gd name="connsiteX6-2477" fmla="*/ 1564463 w 9397013"/>
              <a:gd name="connsiteY6-2478" fmla="*/ 3206130 h 6925856"/>
              <a:gd name="connsiteX7-2479" fmla="*/ 3977147 w 9397013"/>
              <a:gd name="connsiteY7-2480" fmla="*/ 3723 h 6925856"/>
              <a:gd name="connsiteX8-2481" fmla="*/ 4465006 w 9397013"/>
              <a:gd name="connsiteY8-2482" fmla="*/ 840 h 6925856"/>
              <a:gd name="connsiteX9-2483" fmla="*/ 1578111 w 9397013"/>
              <a:gd name="connsiteY9-2484" fmla="*/ 3835090 h 6925856"/>
              <a:gd name="connsiteX10-2485" fmla="*/ 1573749 w 9397013"/>
              <a:gd name="connsiteY10-2486" fmla="*/ 4882781 h 6925856"/>
              <a:gd name="connsiteX11-2487" fmla="*/ 1550937 w 9397013"/>
              <a:gd name="connsiteY11-2488" fmla="*/ 4315002 h 6925856"/>
              <a:gd name="connsiteX12-2489" fmla="*/ 4805164 w 9397013"/>
              <a:gd name="connsiteY12-2490" fmla="*/ 4602 h 6925856"/>
              <a:gd name="connsiteX13-2491" fmla="*/ 5260238 w 9397013"/>
              <a:gd name="connsiteY13-2492" fmla="*/ 25779 h 6925856"/>
              <a:gd name="connsiteX14-2493" fmla="*/ 1573749 w 9397013"/>
              <a:gd name="connsiteY14-2494" fmla="*/ 4882781 h 6925856"/>
              <a:gd name="connsiteX15-2495" fmla="*/ 1580200 w 9397013"/>
              <a:gd name="connsiteY15-2496" fmla="*/ 5985735 h 6925856"/>
              <a:gd name="connsiteX16-2497" fmla="*/ 1566201 w 9397013"/>
              <a:gd name="connsiteY16-2498" fmla="*/ 5394811 h 6925856"/>
              <a:gd name="connsiteX17-2499" fmla="*/ 5641256 w 9397013"/>
              <a:gd name="connsiteY17-2500" fmla="*/ 4084 h 6925856"/>
              <a:gd name="connsiteX18-2501" fmla="*/ 6077099 w 9397013"/>
              <a:gd name="connsiteY18-2502" fmla="*/ 17286 h 6925856"/>
              <a:gd name="connsiteX19-2503" fmla="*/ 1580200 w 9397013"/>
              <a:gd name="connsiteY19-2504" fmla="*/ 5985735 h 6925856"/>
              <a:gd name="connsiteX20-2505" fmla="*/ 6958778 w 9397013"/>
              <a:gd name="connsiteY20-2506" fmla="*/ 6916619 h 6925856"/>
              <a:gd name="connsiteX21-2507" fmla="*/ 6560038 w 9397013"/>
              <a:gd name="connsiteY21-2508" fmla="*/ 6925855 h 6925856"/>
              <a:gd name="connsiteX22-2509" fmla="*/ 3849932 w 9397013"/>
              <a:gd name="connsiteY22-2510" fmla="*/ 3388318 h 6925856"/>
              <a:gd name="connsiteX23-2511" fmla="*/ 4086202 w 9397013"/>
              <a:gd name="connsiteY23-2512" fmla="*/ 3078877 h 6925856"/>
              <a:gd name="connsiteX24-2513" fmla="*/ 6958778 w 9397013"/>
              <a:gd name="connsiteY24-2514" fmla="*/ 6916619 h 6925856"/>
              <a:gd name="connsiteX25-2515" fmla="*/ 7777211 w 9397013"/>
              <a:gd name="connsiteY25-2516" fmla="*/ 6916620 h 6925856"/>
              <a:gd name="connsiteX26-2517" fmla="*/ 7324729 w 9397013"/>
              <a:gd name="connsiteY26-2518" fmla="*/ 6916620 h 6925856"/>
              <a:gd name="connsiteX27-2519" fmla="*/ 4245793 w 9397013"/>
              <a:gd name="connsiteY27-2520" fmla="*/ 2869862 h 6925856"/>
              <a:gd name="connsiteX28-2521" fmla="*/ 4490696 w 9397013"/>
              <a:gd name="connsiteY28-2522" fmla="*/ 2549117 h 6925856"/>
              <a:gd name="connsiteX29-2523" fmla="*/ 7777211 w 9397013"/>
              <a:gd name="connsiteY29-2524" fmla="*/ 6916620 h 6925856"/>
              <a:gd name="connsiteX30-2525" fmla="*/ 8567691 w 9397013"/>
              <a:gd name="connsiteY30-2526" fmla="*/ 6916619 h 6925856"/>
              <a:gd name="connsiteX31-2527" fmla="*/ 8159389 w 9397013"/>
              <a:gd name="connsiteY31-2528" fmla="*/ 6925856 h 6925856"/>
              <a:gd name="connsiteX32-2529" fmla="*/ 4650570 w 9397013"/>
              <a:gd name="connsiteY32-2530" fmla="*/ 2339732 h 6925856"/>
              <a:gd name="connsiteX33-2531" fmla="*/ 4869244 w 9397013"/>
              <a:gd name="connsiteY33-2532" fmla="*/ 2053337 h 6925856"/>
              <a:gd name="connsiteX34-2533" fmla="*/ 8567691 w 9397013"/>
              <a:gd name="connsiteY34-2534" fmla="*/ 6916619 h 6925856"/>
              <a:gd name="connsiteX35-2535" fmla="*/ 9397013 w 9397013"/>
              <a:gd name="connsiteY35-2536" fmla="*/ 6925855 h 6925856"/>
              <a:gd name="connsiteX36-2537" fmla="*/ 8921338 w 9397013"/>
              <a:gd name="connsiteY36-2538" fmla="*/ 6907383 h 6925856"/>
              <a:gd name="connsiteX37-2539" fmla="*/ 5045299 w 9397013"/>
              <a:gd name="connsiteY37-2540" fmla="*/ 1822761 h 6925856"/>
              <a:gd name="connsiteX38-2541" fmla="*/ 5273037 w 9397013"/>
              <a:gd name="connsiteY38-2542" fmla="*/ 1524494 h 6925856"/>
              <a:gd name="connsiteX39-2543" fmla="*/ 9397013 w 9397013"/>
              <a:gd name="connsiteY39-2544" fmla="*/ 6925855 h 6925856"/>
              <a:gd name="connsiteX0-2545" fmla="*/ 21359 w 7846076"/>
              <a:gd name="connsiteY0-2546" fmla="*/ 2715072 h 6925856"/>
              <a:gd name="connsiteX1-2547" fmla="*/ 28481 w 7846076"/>
              <a:gd name="connsiteY1-2548" fmla="*/ 2104139 h 6925856"/>
              <a:gd name="connsiteX2-2549" fmla="*/ 1624851 w 7846076"/>
              <a:gd name="connsiteY2-2550" fmla="*/ 4084 h 6925856"/>
              <a:gd name="connsiteX3-2551" fmla="*/ 2077368 w 7846076"/>
              <a:gd name="connsiteY3-2552" fmla="*/ 0 h 6925856"/>
              <a:gd name="connsiteX4-2553" fmla="*/ 21359 w 7846076"/>
              <a:gd name="connsiteY4-2554" fmla="*/ 2715072 h 6925856"/>
              <a:gd name="connsiteX5-2555" fmla="*/ 27174 w 7846076"/>
              <a:gd name="connsiteY5-2556" fmla="*/ 3835090 h 6925856"/>
              <a:gd name="connsiteX6-2557" fmla="*/ 13526 w 7846076"/>
              <a:gd name="connsiteY6-2558" fmla="*/ 3206130 h 6925856"/>
              <a:gd name="connsiteX7-2559" fmla="*/ 2426210 w 7846076"/>
              <a:gd name="connsiteY7-2560" fmla="*/ 3723 h 6925856"/>
              <a:gd name="connsiteX8-2561" fmla="*/ 2914069 w 7846076"/>
              <a:gd name="connsiteY8-2562" fmla="*/ 840 h 6925856"/>
              <a:gd name="connsiteX9-2563" fmla="*/ 27174 w 7846076"/>
              <a:gd name="connsiteY9-2564" fmla="*/ 3835090 h 6925856"/>
              <a:gd name="connsiteX10-2565" fmla="*/ 22812 w 7846076"/>
              <a:gd name="connsiteY10-2566" fmla="*/ 4882781 h 6925856"/>
              <a:gd name="connsiteX11-2567" fmla="*/ 0 w 7846076"/>
              <a:gd name="connsiteY11-2568" fmla="*/ 4315002 h 6925856"/>
              <a:gd name="connsiteX12-2569" fmla="*/ 3254227 w 7846076"/>
              <a:gd name="connsiteY12-2570" fmla="*/ 4602 h 6925856"/>
              <a:gd name="connsiteX13-2571" fmla="*/ 3709301 w 7846076"/>
              <a:gd name="connsiteY13-2572" fmla="*/ 25779 h 6925856"/>
              <a:gd name="connsiteX14-2573" fmla="*/ 22812 w 7846076"/>
              <a:gd name="connsiteY14-2574" fmla="*/ 4882781 h 6925856"/>
              <a:gd name="connsiteX15-2575" fmla="*/ 29263 w 7846076"/>
              <a:gd name="connsiteY15-2576" fmla="*/ 5985735 h 6925856"/>
              <a:gd name="connsiteX16-2577" fmla="*/ 15264 w 7846076"/>
              <a:gd name="connsiteY16-2578" fmla="*/ 5394811 h 6925856"/>
              <a:gd name="connsiteX17-2579" fmla="*/ 4090319 w 7846076"/>
              <a:gd name="connsiteY17-2580" fmla="*/ 4084 h 6925856"/>
              <a:gd name="connsiteX18-2581" fmla="*/ 4526162 w 7846076"/>
              <a:gd name="connsiteY18-2582" fmla="*/ 17286 h 6925856"/>
              <a:gd name="connsiteX19-2583" fmla="*/ 29263 w 7846076"/>
              <a:gd name="connsiteY19-2584" fmla="*/ 5985735 h 6925856"/>
              <a:gd name="connsiteX20-2585" fmla="*/ 5407841 w 7846076"/>
              <a:gd name="connsiteY20-2586" fmla="*/ 6916619 h 6925856"/>
              <a:gd name="connsiteX21-2587" fmla="*/ 5009101 w 7846076"/>
              <a:gd name="connsiteY21-2588" fmla="*/ 6925855 h 6925856"/>
              <a:gd name="connsiteX22-2589" fmla="*/ 2298995 w 7846076"/>
              <a:gd name="connsiteY22-2590" fmla="*/ 3388318 h 6925856"/>
              <a:gd name="connsiteX23-2591" fmla="*/ 2535265 w 7846076"/>
              <a:gd name="connsiteY23-2592" fmla="*/ 3078877 h 6925856"/>
              <a:gd name="connsiteX24-2593" fmla="*/ 5407841 w 7846076"/>
              <a:gd name="connsiteY24-2594" fmla="*/ 6916619 h 6925856"/>
              <a:gd name="connsiteX25-2595" fmla="*/ 6226274 w 7846076"/>
              <a:gd name="connsiteY25-2596" fmla="*/ 6916620 h 6925856"/>
              <a:gd name="connsiteX26-2597" fmla="*/ 5773792 w 7846076"/>
              <a:gd name="connsiteY26-2598" fmla="*/ 6916620 h 6925856"/>
              <a:gd name="connsiteX27-2599" fmla="*/ 2694856 w 7846076"/>
              <a:gd name="connsiteY27-2600" fmla="*/ 2869862 h 6925856"/>
              <a:gd name="connsiteX28-2601" fmla="*/ 2939759 w 7846076"/>
              <a:gd name="connsiteY28-2602" fmla="*/ 2549117 h 6925856"/>
              <a:gd name="connsiteX29-2603" fmla="*/ 6226274 w 7846076"/>
              <a:gd name="connsiteY29-2604" fmla="*/ 6916620 h 6925856"/>
              <a:gd name="connsiteX30-2605" fmla="*/ 7016754 w 7846076"/>
              <a:gd name="connsiteY30-2606" fmla="*/ 6916619 h 6925856"/>
              <a:gd name="connsiteX31-2607" fmla="*/ 6608452 w 7846076"/>
              <a:gd name="connsiteY31-2608" fmla="*/ 6925856 h 6925856"/>
              <a:gd name="connsiteX32-2609" fmla="*/ 3099633 w 7846076"/>
              <a:gd name="connsiteY32-2610" fmla="*/ 2339732 h 6925856"/>
              <a:gd name="connsiteX33-2611" fmla="*/ 3318307 w 7846076"/>
              <a:gd name="connsiteY33-2612" fmla="*/ 2053337 h 6925856"/>
              <a:gd name="connsiteX34-2613" fmla="*/ 7016754 w 7846076"/>
              <a:gd name="connsiteY34-2614" fmla="*/ 6916619 h 6925856"/>
              <a:gd name="connsiteX35-2615" fmla="*/ 7846076 w 7846076"/>
              <a:gd name="connsiteY35-2616" fmla="*/ 6925855 h 6925856"/>
              <a:gd name="connsiteX36-2617" fmla="*/ 7370401 w 7846076"/>
              <a:gd name="connsiteY36-2618" fmla="*/ 6907383 h 6925856"/>
              <a:gd name="connsiteX37-2619" fmla="*/ 3494362 w 7846076"/>
              <a:gd name="connsiteY37-2620" fmla="*/ 1822761 h 6925856"/>
              <a:gd name="connsiteX38-2621" fmla="*/ 3722100 w 7846076"/>
              <a:gd name="connsiteY38-2622" fmla="*/ 1524494 h 6925856"/>
              <a:gd name="connsiteX39-2623" fmla="*/ 7846076 w 7846076"/>
              <a:gd name="connsiteY39-2624" fmla="*/ 6925855 h 692585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129" y="connsiteY32-130"/>
              </a:cxn>
              <a:cxn ang="0">
                <a:pos x="connsiteX33-131" y="connsiteY33-132"/>
              </a:cxn>
              <a:cxn ang="0">
                <a:pos x="connsiteX34-133" y="connsiteY34-134"/>
              </a:cxn>
              <a:cxn ang="0">
                <a:pos x="connsiteX35-135" y="connsiteY35-136"/>
              </a:cxn>
              <a:cxn ang="0">
                <a:pos x="connsiteX36-137" y="connsiteY36-138"/>
              </a:cxn>
              <a:cxn ang="0">
                <a:pos x="connsiteX37-139" y="connsiteY37-140"/>
              </a:cxn>
              <a:cxn ang="0">
                <a:pos x="connsiteX38-141" y="connsiteY38-142"/>
              </a:cxn>
              <a:cxn ang="0">
                <a:pos x="connsiteX39-143" y="connsiteY39-144"/>
              </a:cxn>
            </a:cxnLst>
            <a:rect l="l" t="t" r="r" b="b"/>
            <a:pathLst>
              <a:path w="7846076" h="6925856">
                <a:moveTo>
                  <a:pt x="21359" y="2715072"/>
                </a:moveTo>
                <a:lnTo>
                  <a:pt x="28481" y="2104139"/>
                </a:lnTo>
                <a:lnTo>
                  <a:pt x="1624851" y="4084"/>
                </a:lnTo>
                <a:lnTo>
                  <a:pt x="2077368" y="0"/>
                </a:lnTo>
                <a:lnTo>
                  <a:pt x="21359" y="2715072"/>
                </a:lnTo>
                <a:close/>
                <a:moveTo>
                  <a:pt x="27174" y="3835090"/>
                </a:moveTo>
                <a:lnTo>
                  <a:pt x="13526" y="3206130"/>
                </a:lnTo>
                <a:lnTo>
                  <a:pt x="2426210" y="3723"/>
                </a:lnTo>
                <a:lnTo>
                  <a:pt x="2914069" y="840"/>
                </a:lnTo>
                <a:lnTo>
                  <a:pt x="27174" y="3835090"/>
                </a:lnTo>
                <a:close/>
                <a:moveTo>
                  <a:pt x="22812" y="4882781"/>
                </a:moveTo>
                <a:lnTo>
                  <a:pt x="0" y="4315002"/>
                </a:lnTo>
                <a:lnTo>
                  <a:pt x="3254227" y="4602"/>
                </a:lnTo>
                <a:lnTo>
                  <a:pt x="3709301" y="25779"/>
                </a:lnTo>
                <a:lnTo>
                  <a:pt x="22812" y="4882781"/>
                </a:lnTo>
                <a:close/>
                <a:moveTo>
                  <a:pt x="29263" y="5985735"/>
                </a:moveTo>
                <a:lnTo>
                  <a:pt x="15264" y="5394811"/>
                </a:lnTo>
                <a:lnTo>
                  <a:pt x="4090319" y="4084"/>
                </a:lnTo>
                <a:lnTo>
                  <a:pt x="4526162" y="17286"/>
                </a:lnTo>
                <a:lnTo>
                  <a:pt x="29263" y="5985735"/>
                </a:lnTo>
                <a:close/>
                <a:moveTo>
                  <a:pt x="5407841" y="6916619"/>
                </a:moveTo>
                <a:lnTo>
                  <a:pt x="5009101" y="6925855"/>
                </a:lnTo>
                <a:lnTo>
                  <a:pt x="2298995" y="3388318"/>
                </a:lnTo>
                <a:lnTo>
                  <a:pt x="2535265" y="3078877"/>
                </a:lnTo>
                <a:lnTo>
                  <a:pt x="5407841" y="6916619"/>
                </a:lnTo>
                <a:close/>
                <a:moveTo>
                  <a:pt x="6226274" y="6916620"/>
                </a:moveTo>
                <a:lnTo>
                  <a:pt x="5773792" y="6916620"/>
                </a:lnTo>
                <a:lnTo>
                  <a:pt x="2694856" y="2869862"/>
                </a:lnTo>
                <a:lnTo>
                  <a:pt x="2939759" y="2549117"/>
                </a:lnTo>
                <a:lnTo>
                  <a:pt x="6226274" y="6916620"/>
                </a:lnTo>
                <a:close/>
                <a:moveTo>
                  <a:pt x="7016754" y="6916619"/>
                </a:moveTo>
                <a:lnTo>
                  <a:pt x="6608452" y="6925856"/>
                </a:lnTo>
                <a:lnTo>
                  <a:pt x="3099633" y="2339732"/>
                </a:lnTo>
                <a:lnTo>
                  <a:pt x="3318307" y="2053337"/>
                </a:lnTo>
                <a:lnTo>
                  <a:pt x="7016754" y="6916619"/>
                </a:lnTo>
                <a:close/>
                <a:moveTo>
                  <a:pt x="7846076" y="6925855"/>
                </a:moveTo>
                <a:lnTo>
                  <a:pt x="7370401" y="6907383"/>
                </a:lnTo>
                <a:lnTo>
                  <a:pt x="3494362" y="1822761"/>
                </a:lnTo>
                <a:lnTo>
                  <a:pt x="3722100" y="1524494"/>
                </a:lnTo>
                <a:lnTo>
                  <a:pt x="7846076" y="6925855"/>
                </a:lnTo>
                <a:close/>
              </a:path>
            </a:pathLst>
          </a:custGeom>
          <a:solidFill>
            <a:schemeClr val="bg1">
              <a:lumMod val="9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5" name="文本框 4"/>
          <p:cNvSpPr txBox="1"/>
          <p:nvPr/>
        </p:nvSpPr>
        <p:spPr>
          <a:xfrm>
            <a:off x="337690" y="1330990"/>
            <a:ext cx="4579521" cy="5027017"/>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zh-CN" altLang="en-US" dirty="0"/>
              <a:t>更高的作者和机构声望有助于缩短论文的投录时间</a:t>
            </a:r>
            <a:endParaRPr lang="en-US" altLang="zh-CN" dirty="0"/>
          </a:p>
          <a:p>
            <a:pPr marL="285750" indent="-285750">
              <a:lnSpc>
                <a:spcPct val="150000"/>
              </a:lnSpc>
              <a:buFont typeface="Arial" panose="020B0604020202020204" pitchFamily="34" charset="0"/>
              <a:buChar char="•"/>
            </a:pPr>
            <a:r>
              <a:rPr lang="zh-CN" altLang="en-US" dirty="0"/>
              <a:t>期刊声望与论文的投录时间存在正相关关系</a:t>
            </a:r>
            <a:endParaRPr lang="en-US" altLang="zh-CN" dirty="0"/>
          </a:p>
          <a:p>
            <a:pPr marL="285750" indent="-285750">
              <a:lnSpc>
                <a:spcPct val="150000"/>
              </a:lnSpc>
              <a:buFont typeface="Arial" panose="020B0604020202020204" pitchFamily="34" charset="0"/>
              <a:buChar char="•"/>
            </a:pPr>
            <a:endParaRPr lang="en-US" altLang="zh-CN" dirty="0"/>
          </a:p>
          <a:p>
            <a:pPr marL="285750" indent="-285750">
              <a:lnSpc>
                <a:spcPct val="150000"/>
              </a:lnSpc>
              <a:buFont typeface="Arial" panose="020B0604020202020204" pitchFamily="34" charset="0"/>
              <a:buChar char="•"/>
            </a:pPr>
            <a:r>
              <a:rPr lang="zh-CN" altLang="en-US" dirty="0"/>
              <a:t>随论文创新性提高，作者和机构声望带来的投录时间优势逐渐缩小甚至消失</a:t>
            </a:r>
            <a:endParaRPr lang="en-US" altLang="zh-CN" dirty="0"/>
          </a:p>
          <a:p>
            <a:pPr marL="285750" indent="-285750">
              <a:lnSpc>
                <a:spcPct val="150000"/>
              </a:lnSpc>
              <a:buFont typeface="Arial" panose="020B0604020202020204" pitchFamily="34" charset="0"/>
              <a:buChar char="•"/>
            </a:pPr>
            <a:r>
              <a:rPr lang="zh-CN" altLang="en-US" dirty="0"/>
              <a:t>期刊声望正向调节论文创新性和投录时间的关系</a:t>
            </a:r>
            <a:endParaRPr lang="en-US" altLang="zh-CN" dirty="0"/>
          </a:p>
          <a:p>
            <a:pPr marL="285750" indent="-285750">
              <a:lnSpc>
                <a:spcPct val="150000"/>
              </a:lnSpc>
              <a:buFont typeface="Arial" panose="020B0604020202020204" pitchFamily="34" charset="0"/>
              <a:buChar char="•"/>
            </a:pPr>
            <a:endParaRPr lang="en-US" altLang="zh-CN" dirty="0"/>
          </a:p>
          <a:p>
            <a:pPr marL="285750" indent="-285750">
              <a:lnSpc>
                <a:spcPct val="150000"/>
              </a:lnSpc>
              <a:buFont typeface="Arial" panose="020B0604020202020204" pitchFamily="34" charset="0"/>
              <a:buChar char="•"/>
            </a:pPr>
            <a:r>
              <a:rPr lang="zh-CN" altLang="en-US" dirty="0"/>
              <a:t>在采用双盲评审机制的期刊中，作者和机构声望的回归系数不再显著</a:t>
            </a:r>
            <a:endParaRPr lang="en-US" altLang="zh-CN" dirty="0"/>
          </a:p>
        </p:txBody>
      </p:sp>
      <p:sp>
        <p:nvSpPr>
          <p:cNvPr id="2" name="íšľîḓê"/>
          <p:cNvSpPr>
            <a:spLocks noGrp="1"/>
          </p:cNvSpPr>
          <p:nvPr>
            <p:ph type="title"/>
          </p:nvPr>
        </p:nvSpPr>
        <p:spPr/>
        <p:txBody>
          <a:bodyPr/>
          <a:lstStyle/>
          <a:p>
            <a:r>
              <a:rPr lang="en-US" altLang="zh-CN" dirty="0"/>
              <a:t>3. </a:t>
            </a:r>
            <a:r>
              <a:rPr lang="zh-CN" altLang="en-US" dirty="0"/>
              <a:t>研究结果 </a:t>
            </a:r>
            <a:r>
              <a:rPr lang="en-US" altLang="zh-CN" dirty="0"/>
              <a:t>– </a:t>
            </a:r>
            <a:r>
              <a:rPr lang="zh-CN" altLang="en-US" dirty="0"/>
              <a:t>回归分析</a:t>
            </a:r>
            <a:endParaRPr lang="zh-CN" altLang="en-US" dirty="0"/>
          </a:p>
        </p:txBody>
      </p:sp>
      <p:pic>
        <p:nvPicPr>
          <p:cNvPr id="6" name="图片 5"/>
          <p:cNvPicPr>
            <a:picLocks noChangeAspect="1"/>
          </p:cNvPicPr>
          <p:nvPr/>
        </p:nvPicPr>
        <p:blipFill>
          <a:blip r:embed="rId1"/>
          <a:stretch>
            <a:fillRect/>
          </a:stretch>
        </p:blipFill>
        <p:spPr>
          <a:xfrm>
            <a:off x="4924665" y="1223102"/>
            <a:ext cx="7130977" cy="5219731"/>
          </a:xfrm>
          <a:prstGeom prst="rect">
            <a:avLst/>
          </a:prstGeom>
        </p:spPr>
      </p:pic>
    </p:spTree>
    <p:custDataLst>
      <p:tags r:id="rId2"/>
    </p:custData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iṣlide"/>
        <p:cNvGrpSpPr/>
        <p:nvPr/>
      </p:nvGrpSpPr>
      <p:grpSpPr>
        <a:xfrm>
          <a:off x="0" y="0"/>
          <a:ext cx="0" cy="0"/>
          <a:chOff x="0" y="0"/>
          <a:chExt cx="0" cy="0"/>
        </a:xfrm>
      </p:grpSpPr>
      <p:sp>
        <p:nvSpPr>
          <p:cNvPr id="4" name="ïṣḷide"/>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110" name="íṥļîďè"/>
          <p:cNvSpPr/>
          <p:nvPr/>
        </p:nvSpPr>
        <p:spPr>
          <a:xfrm rot="10800000">
            <a:off x="4396104" y="0"/>
            <a:ext cx="7846076" cy="6857999"/>
          </a:xfrm>
          <a:custGeom>
            <a:avLst/>
            <a:gdLst>
              <a:gd name="connsiteX0" fmla="*/ 168369 w 9517086"/>
              <a:gd name="connsiteY0" fmla="*/ 4779933 h 7291226"/>
              <a:gd name="connsiteX1" fmla="*/ 0 w 9517086"/>
              <a:gd name="connsiteY1" fmla="*/ 4409146 h 7291226"/>
              <a:gd name="connsiteX2" fmla="*/ 3332806 w 9517086"/>
              <a:gd name="connsiteY2" fmla="*/ 0 h 7291226"/>
              <a:gd name="connsiteX3" fmla="*/ 3794560 w 9517086"/>
              <a:gd name="connsiteY3" fmla="*/ 32861 h 7291226"/>
              <a:gd name="connsiteX4" fmla="*/ 488220 w 9517086"/>
              <a:gd name="connsiteY4" fmla="*/ 5484315 h 7291226"/>
              <a:gd name="connsiteX5" fmla="*/ 299082 w 9517086"/>
              <a:gd name="connsiteY5" fmla="*/ 5067791 h 7291226"/>
              <a:gd name="connsiteX6" fmla="*/ 4106456 w 9517086"/>
              <a:gd name="connsiteY6" fmla="*/ 55057 h 7291226"/>
              <a:gd name="connsiteX7" fmla="*/ 4585079 w 9517086"/>
              <a:gd name="connsiteY7" fmla="*/ 89119 h 7291226"/>
              <a:gd name="connsiteX8" fmla="*/ 779421 w 9517086"/>
              <a:gd name="connsiteY8" fmla="*/ 6125606 h 7291226"/>
              <a:gd name="connsiteX9" fmla="*/ 618065 w 9517086"/>
              <a:gd name="connsiteY9" fmla="*/ 5770263 h 7291226"/>
              <a:gd name="connsiteX10" fmla="*/ 4897528 w 9517086"/>
              <a:gd name="connsiteY10" fmla="*/ 111354 h 7291226"/>
              <a:gd name="connsiteX11" fmla="*/ 5324893 w 9517086"/>
              <a:gd name="connsiteY11" fmla="*/ 141768 h 7291226"/>
              <a:gd name="connsiteX12" fmla="*/ 1099910 w 9517086"/>
              <a:gd name="connsiteY12" fmla="*/ 6831395 h 7291226"/>
              <a:gd name="connsiteX13" fmla="*/ 919656 w 9517086"/>
              <a:gd name="connsiteY13" fmla="*/ 6434435 h 7291226"/>
              <a:gd name="connsiteX14" fmla="*/ 5668965 w 9517086"/>
              <a:gd name="connsiteY14" fmla="*/ 166254 h 7291226"/>
              <a:gd name="connsiteX15" fmla="*/ 6114044 w 9517086"/>
              <a:gd name="connsiteY15" fmla="*/ 197929 h 7291226"/>
              <a:gd name="connsiteX16" fmla="*/ 7106560 w 9517086"/>
              <a:gd name="connsiteY16" fmla="*/ 7291226 h 7291226"/>
              <a:gd name="connsiteX17" fmla="*/ 6670875 w 9517086"/>
              <a:gd name="connsiteY17" fmla="*/ 7291226 h 7291226"/>
              <a:gd name="connsiteX18" fmla="*/ 3849932 w 9517086"/>
              <a:gd name="connsiteY18" fmla="*/ 3596670 h 7291226"/>
              <a:gd name="connsiteX19" fmla="*/ 4086202 w 9517086"/>
              <a:gd name="connsiteY19" fmla="*/ 3287229 h 7291226"/>
              <a:gd name="connsiteX20" fmla="*/ 7934229 w 9517086"/>
              <a:gd name="connsiteY20" fmla="*/ 7291226 h 7291226"/>
              <a:gd name="connsiteX21" fmla="*/ 7444802 w 9517086"/>
              <a:gd name="connsiteY21" fmla="*/ 7291226 h 7291226"/>
              <a:gd name="connsiteX22" fmla="*/ 4245793 w 9517086"/>
              <a:gd name="connsiteY22" fmla="*/ 3078214 h 7291226"/>
              <a:gd name="connsiteX23" fmla="*/ 4490696 w 9517086"/>
              <a:gd name="connsiteY23" fmla="*/ 2757469 h 7291226"/>
              <a:gd name="connsiteX24" fmla="*/ 8687764 w 9517086"/>
              <a:gd name="connsiteY24" fmla="*/ 7291226 h 7291226"/>
              <a:gd name="connsiteX25" fmla="*/ 8270226 w 9517086"/>
              <a:gd name="connsiteY25" fmla="*/ 7291226 h 7291226"/>
              <a:gd name="connsiteX26" fmla="*/ 4650570 w 9517086"/>
              <a:gd name="connsiteY26" fmla="*/ 2548084 h 7291226"/>
              <a:gd name="connsiteX27" fmla="*/ 4869244 w 9517086"/>
              <a:gd name="connsiteY27" fmla="*/ 2261689 h 7291226"/>
              <a:gd name="connsiteX28" fmla="*/ 9517086 w 9517086"/>
              <a:gd name="connsiteY28" fmla="*/ 7291226 h 7291226"/>
              <a:gd name="connsiteX29" fmla="*/ 9050647 w 9517086"/>
              <a:gd name="connsiteY29" fmla="*/ 7291226 h 7291226"/>
              <a:gd name="connsiteX30" fmla="*/ 5045299 w 9517086"/>
              <a:gd name="connsiteY30" fmla="*/ 2031113 h 7291226"/>
              <a:gd name="connsiteX31" fmla="*/ 5273037 w 9517086"/>
              <a:gd name="connsiteY31" fmla="*/ 1732846 h 7291226"/>
              <a:gd name="connsiteX0-1" fmla="*/ 168369 w 9378540"/>
              <a:gd name="connsiteY0-2" fmla="*/ 4779933 h 7291226"/>
              <a:gd name="connsiteX1-3" fmla="*/ 0 w 9378540"/>
              <a:gd name="connsiteY1-4" fmla="*/ 4409146 h 7291226"/>
              <a:gd name="connsiteX2-5" fmla="*/ 3332806 w 9378540"/>
              <a:gd name="connsiteY2-6" fmla="*/ 0 h 7291226"/>
              <a:gd name="connsiteX3-7" fmla="*/ 3794560 w 9378540"/>
              <a:gd name="connsiteY3-8" fmla="*/ 32861 h 7291226"/>
              <a:gd name="connsiteX4-9" fmla="*/ 168369 w 9378540"/>
              <a:gd name="connsiteY4-10" fmla="*/ 4779933 h 7291226"/>
              <a:gd name="connsiteX5-11" fmla="*/ 488220 w 9378540"/>
              <a:gd name="connsiteY5-12" fmla="*/ 5484315 h 7291226"/>
              <a:gd name="connsiteX6-13" fmla="*/ 299082 w 9378540"/>
              <a:gd name="connsiteY6-14" fmla="*/ 5067791 h 7291226"/>
              <a:gd name="connsiteX7-15" fmla="*/ 4106456 w 9378540"/>
              <a:gd name="connsiteY7-16" fmla="*/ 55057 h 7291226"/>
              <a:gd name="connsiteX8-17" fmla="*/ 4585079 w 9378540"/>
              <a:gd name="connsiteY8-18" fmla="*/ 89119 h 7291226"/>
              <a:gd name="connsiteX9-19" fmla="*/ 488220 w 9378540"/>
              <a:gd name="connsiteY9-20" fmla="*/ 5484315 h 7291226"/>
              <a:gd name="connsiteX10-21" fmla="*/ 779421 w 9378540"/>
              <a:gd name="connsiteY10-22" fmla="*/ 6125606 h 7291226"/>
              <a:gd name="connsiteX11-23" fmla="*/ 618065 w 9378540"/>
              <a:gd name="connsiteY11-24" fmla="*/ 5770263 h 7291226"/>
              <a:gd name="connsiteX12-25" fmla="*/ 4897528 w 9378540"/>
              <a:gd name="connsiteY12-26" fmla="*/ 111354 h 7291226"/>
              <a:gd name="connsiteX13-27" fmla="*/ 5324893 w 9378540"/>
              <a:gd name="connsiteY13-28" fmla="*/ 141768 h 7291226"/>
              <a:gd name="connsiteX14-29" fmla="*/ 779421 w 9378540"/>
              <a:gd name="connsiteY14-30" fmla="*/ 6125606 h 7291226"/>
              <a:gd name="connsiteX15-31" fmla="*/ 1099910 w 9378540"/>
              <a:gd name="connsiteY15-32" fmla="*/ 6831395 h 7291226"/>
              <a:gd name="connsiteX16-33" fmla="*/ 919656 w 9378540"/>
              <a:gd name="connsiteY16-34" fmla="*/ 6434435 h 7291226"/>
              <a:gd name="connsiteX17-35" fmla="*/ 5668965 w 9378540"/>
              <a:gd name="connsiteY17-36" fmla="*/ 166254 h 7291226"/>
              <a:gd name="connsiteX18-37" fmla="*/ 6114044 w 9378540"/>
              <a:gd name="connsiteY18-38" fmla="*/ 197929 h 7291226"/>
              <a:gd name="connsiteX19-39" fmla="*/ 1099910 w 9378540"/>
              <a:gd name="connsiteY19-40" fmla="*/ 6831395 h 7291226"/>
              <a:gd name="connsiteX20-41" fmla="*/ 7106560 w 9378540"/>
              <a:gd name="connsiteY20-42" fmla="*/ 7291226 h 7291226"/>
              <a:gd name="connsiteX21-43" fmla="*/ 6670875 w 9378540"/>
              <a:gd name="connsiteY21-44" fmla="*/ 7291226 h 7291226"/>
              <a:gd name="connsiteX22-45" fmla="*/ 3849932 w 9378540"/>
              <a:gd name="connsiteY22-46" fmla="*/ 3596670 h 7291226"/>
              <a:gd name="connsiteX23-47" fmla="*/ 4086202 w 9378540"/>
              <a:gd name="connsiteY23-48" fmla="*/ 3287229 h 7291226"/>
              <a:gd name="connsiteX24-49" fmla="*/ 7106560 w 9378540"/>
              <a:gd name="connsiteY24-50" fmla="*/ 7291226 h 7291226"/>
              <a:gd name="connsiteX25-51" fmla="*/ 7934229 w 9378540"/>
              <a:gd name="connsiteY25-52" fmla="*/ 7291226 h 7291226"/>
              <a:gd name="connsiteX26-53" fmla="*/ 7444802 w 9378540"/>
              <a:gd name="connsiteY26-54" fmla="*/ 7291226 h 7291226"/>
              <a:gd name="connsiteX27-55" fmla="*/ 4245793 w 9378540"/>
              <a:gd name="connsiteY27-56" fmla="*/ 3078214 h 7291226"/>
              <a:gd name="connsiteX28-57" fmla="*/ 4490696 w 9378540"/>
              <a:gd name="connsiteY28-58" fmla="*/ 2757469 h 7291226"/>
              <a:gd name="connsiteX29-59" fmla="*/ 7934229 w 9378540"/>
              <a:gd name="connsiteY29-60" fmla="*/ 7291226 h 7291226"/>
              <a:gd name="connsiteX30-61" fmla="*/ 8687764 w 9378540"/>
              <a:gd name="connsiteY30-62" fmla="*/ 7291226 h 7291226"/>
              <a:gd name="connsiteX31-63" fmla="*/ 8270226 w 9378540"/>
              <a:gd name="connsiteY31-64" fmla="*/ 7291226 h 7291226"/>
              <a:gd name="connsiteX32" fmla="*/ 4650570 w 9378540"/>
              <a:gd name="connsiteY32" fmla="*/ 2548084 h 7291226"/>
              <a:gd name="connsiteX33" fmla="*/ 4869244 w 9378540"/>
              <a:gd name="connsiteY33" fmla="*/ 2261689 h 7291226"/>
              <a:gd name="connsiteX34" fmla="*/ 8687764 w 9378540"/>
              <a:gd name="connsiteY34" fmla="*/ 7291226 h 7291226"/>
              <a:gd name="connsiteX35" fmla="*/ 9378540 w 9378540"/>
              <a:gd name="connsiteY35" fmla="*/ 7097262 h 7291226"/>
              <a:gd name="connsiteX36" fmla="*/ 9050647 w 9378540"/>
              <a:gd name="connsiteY36" fmla="*/ 7291226 h 7291226"/>
              <a:gd name="connsiteX37" fmla="*/ 5045299 w 9378540"/>
              <a:gd name="connsiteY37" fmla="*/ 2031113 h 7291226"/>
              <a:gd name="connsiteX38" fmla="*/ 5273037 w 9378540"/>
              <a:gd name="connsiteY38" fmla="*/ 1732846 h 7291226"/>
              <a:gd name="connsiteX39" fmla="*/ 9378540 w 9378540"/>
              <a:gd name="connsiteY39" fmla="*/ 7097262 h 7291226"/>
              <a:gd name="connsiteX0-65" fmla="*/ 168369 w 9378540"/>
              <a:gd name="connsiteY0-66" fmla="*/ 4779933 h 7291226"/>
              <a:gd name="connsiteX1-67" fmla="*/ 0 w 9378540"/>
              <a:gd name="connsiteY1-68" fmla="*/ 4409146 h 7291226"/>
              <a:gd name="connsiteX2-69" fmla="*/ 3332806 w 9378540"/>
              <a:gd name="connsiteY2-70" fmla="*/ 0 h 7291226"/>
              <a:gd name="connsiteX3-71" fmla="*/ 3794560 w 9378540"/>
              <a:gd name="connsiteY3-72" fmla="*/ 32861 h 7291226"/>
              <a:gd name="connsiteX4-73" fmla="*/ 168369 w 9378540"/>
              <a:gd name="connsiteY4-74" fmla="*/ 4779933 h 7291226"/>
              <a:gd name="connsiteX5-75" fmla="*/ 488220 w 9378540"/>
              <a:gd name="connsiteY5-76" fmla="*/ 5484315 h 7291226"/>
              <a:gd name="connsiteX6-77" fmla="*/ 299082 w 9378540"/>
              <a:gd name="connsiteY6-78" fmla="*/ 5067791 h 7291226"/>
              <a:gd name="connsiteX7-79" fmla="*/ 4106456 w 9378540"/>
              <a:gd name="connsiteY7-80" fmla="*/ 55057 h 7291226"/>
              <a:gd name="connsiteX8-81" fmla="*/ 4585079 w 9378540"/>
              <a:gd name="connsiteY8-82" fmla="*/ 89119 h 7291226"/>
              <a:gd name="connsiteX9-83" fmla="*/ 488220 w 9378540"/>
              <a:gd name="connsiteY9-84" fmla="*/ 5484315 h 7291226"/>
              <a:gd name="connsiteX10-85" fmla="*/ 779421 w 9378540"/>
              <a:gd name="connsiteY10-86" fmla="*/ 6125606 h 7291226"/>
              <a:gd name="connsiteX11-87" fmla="*/ 618065 w 9378540"/>
              <a:gd name="connsiteY11-88" fmla="*/ 5770263 h 7291226"/>
              <a:gd name="connsiteX12-89" fmla="*/ 4897528 w 9378540"/>
              <a:gd name="connsiteY12-90" fmla="*/ 111354 h 7291226"/>
              <a:gd name="connsiteX13-91" fmla="*/ 5324893 w 9378540"/>
              <a:gd name="connsiteY13-92" fmla="*/ 141768 h 7291226"/>
              <a:gd name="connsiteX14-93" fmla="*/ 779421 w 9378540"/>
              <a:gd name="connsiteY14-94" fmla="*/ 6125606 h 7291226"/>
              <a:gd name="connsiteX15-95" fmla="*/ 1099910 w 9378540"/>
              <a:gd name="connsiteY15-96" fmla="*/ 6831395 h 7291226"/>
              <a:gd name="connsiteX16-97" fmla="*/ 919656 w 9378540"/>
              <a:gd name="connsiteY16-98" fmla="*/ 6434435 h 7291226"/>
              <a:gd name="connsiteX17-99" fmla="*/ 5668965 w 9378540"/>
              <a:gd name="connsiteY17-100" fmla="*/ 166254 h 7291226"/>
              <a:gd name="connsiteX18-101" fmla="*/ 6114044 w 9378540"/>
              <a:gd name="connsiteY18-102" fmla="*/ 197929 h 7291226"/>
              <a:gd name="connsiteX19-103" fmla="*/ 1099910 w 9378540"/>
              <a:gd name="connsiteY19-104" fmla="*/ 6831395 h 7291226"/>
              <a:gd name="connsiteX20-105" fmla="*/ 7106560 w 9378540"/>
              <a:gd name="connsiteY20-106" fmla="*/ 7291226 h 7291226"/>
              <a:gd name="connsiteX21-107" fmla="*/ 6670875 w 9378540"/>
              <a:gd name="connsiteY21-108" fmla="*/ 7291226 h 7291226"/>
              <a:gd name="connsiteX22-109" fmla="*/ 3849932 w 9378540"/>
              <a:gd name="connsiteY22-110" fmla="*/ 3596670 h 7291226"/>
              <a:gd name="connsiteX23-111" fmla="*/ 4086202 w 9378540"/>
              <a:gd name="connsiteY23-112" fmla="*/ 3287229 h 7291226"/>
              <a:gd name="connsiteX24-113" fmla="*/ 7106560 w 9378540"/>
              <a:gd name="connsiteY24-114" fmla="*/ 7291226 h 7291226"/>
              <a:gd name="connsiteX25-115" fmla="*/ 7934229 w 9378540"/>
              <a:gd name="connsiteY25-116" fmla="*/ 7291226 h 7291226"/>
              <a:gd name="connsiteX26-117" fmla="*/ 7444802 w 9378540"/>
              <a:gd name="connsiteY26-118" fmla="*/ 7291226 h 7291226"/>
              <a:gd name="connsiteX27-119" fmla="*/ 4245793 w 9378540"/>
              <a:gd name="connsiteY27-120" fmla="*/ 3078214 h 7291226"/>
              <a:gd name="connsiteX28-121" fmla="*/ 4490696 w 9378540"/>
              <a:gd name="connsiteY28-122" fmla="*/ 2757469 h 7291226"/>
              <a:gd name="connsiteX29-123" fmla="*/ 7934229 w 9378540"/>
              <a:gd name="connsiteY29-124" fmla="*/ 7291226 h 7291226"/>
              <a:gd name="connsiteX30-125" fmla="*/ 8687764 w 9378540"/>
              <a:gd name="connsiteY30-126" fmla="*/ 7291226 h 7291226"/>
              <a:gd name="connsiteX31-127" fmla="*/ 8270226 w 9378540"/>
              <a:gd name="connsiteY31-128" fmla="*/ 7291226 h 7291226"/>
              <a:gd name="connsiteX32-129" fmla="*/ 4650570 w 9378540"/>
              <a:gd name="connsiteY32-130" fmla="*/ 2548084 h 7291226"/>
              <a:gd name="connsiteX33-131" fmla="*/ 4869244 w 9378540"/>
              <a:gd name="connsiteY33-132" fmla="*/ 2261689 h 7291226"/>
              <a:gd name="connsiteX34-133" fmla="*/ 8687764 w 9378540"/>
              <a:gd name="connsiteY34-134" fmla="*/ 7291226 h 7291226"/>
              <a:gd name="connsiteX35-135" fmla="*/ 9378540 w 9378540"/>
              <a:gd name="connsiteY35-136" fmla="*/ 7097262 h 7291226"/>
              <a:gd name="connsiteX36-137" fmla="*/ 8921338 w 9378540"/>
              <a:gd name="connsiteY36-138" fmla="*/ 7115735 h 7291226"/>
              <a:gd name="connsiteX37-139" fmla="*/ 5045299 w 9378540"/>
              <a:gd name="connsiteY37-140" fmla="*/ 2031113 h 7291226"/>
              <a:gd name="connsiteX38-141" fmla="*/ 5273037 w 9378540"/>
              <a:gd name="connsiteY38-142" fmla="*/ 1732846 h 7291226"/>
              <a:gd name="connsiteX39-143" fmla="*/ 9378540 w 9378540"/>
              <a:gd name="connsiteY39-144" fmla="*/ 7097262 h 7291226"/>
              <a:gd name="connsiteX0-145" fmla="*/ 168369 w 9397013"/>
              <a:gd name="connsiteY0-146" fmla="*/ 4779933 h 7291226"/>
              <a:gd name="connsiteX1-147" fmla="*/ 0 w 9397013"/>
              <a:gd name="connsiteY1-148" fmla="*/ 4409146 h 7291226"/>
              <a:gd name="connsiteX2-149" fmla="*/ 3332806 w 9397013"/>
              <a:gd name="connsiteY2-150" fmla="*/ 0 h 7291226"/>
              <a:gd name="connsiteX3-151" fmla="*/ 3794560 w 9397013"/>
              <a:gd name="connsiteY3-152" fmla="*/ 32861 h 7291226"/>
              <a:gd name="connsiteX4-153" fmla="*/ 168369 w 9397013"/>
              <a:gd name="connsiteY4-154" fmla="*/ 4779933 h 7291226"/>
              <a:gd name="connsiteX5-155" fmla="*/ 488220 w 9397013"/>
              <a:gd name="connsiteY5-156" fmla="*/ 5484315 h 7291226"/>
              <a:gd name="connsiteX6-157" fmla="*/ 299082 w 9397013"/>
              <a:gd name="connsiteY6-158" fmla="*/ 5067791 h 7291226"/>
              <a:gd name="connsiteX7-159" fmla="*/ 4106456 w 9397013"/>
              <a:gd name="connsiteY7-160" fmla="*/ 55057 h 7291226"/>
              <a:gd name="connsiteX8-161" fmla="*/ 4585079 w 9397013"/>
              <a:gd name="connsiteY8-162" fmla="*/ 89119 h 7291226"/>
              <a:gd name="connsiteX9-163" fmla="*/ 488220 w 9397013"/>
              <a:gd name="connsiteY9-164" fmla="*/ 5484315 h 7291226"/>
              <a:gd name="connsiteX10-165" fmla="*/ 779421 w 9397013"/>
              <a:gd name="connsiteY10-166" fmla="*/ 6125606 h 7291226"/>
              <a:gd name="connsiteX11-167" fmla="*/ 618065 w 9397013"/>
              <a:gd name="connsiteY11-168" fmla="*/ 5770263 h 7291226"/>
              <a:gd name="connsiteX12-169" fmla="*/ 4897528 w 9397013"/>
              <a:gd name="connsiteY12-170" fmla="*/ 111354 h 7291226"/>
              <a:gd name="connsiteX13-171" fmla="*/ 5324893 w 9397013"/>
              <a:gd name="connsiteY13-172" fmla="*/ 141768 h 7291226"/>
              <a:gd name="connsiteX14-173" fmla="*/ 779421 w 9397013"/>
              <a:gd name="connsiteY14-174" fmla="*/ 6125606 h 7291226"/>
              <a:gd name="connsiteX15-175" fmla="*/ 1099910 w 9397013"/>
              <a:gd name="connsiteY15-176" fmla="*/ 6831395 h 7291226"/>
              <a:gd name="connsiteX16-177" fmla="*/ 919656 w 9397013"/>
              <a:gd name="connsiteY16-178" fmla="*/ 6434435 h 7291226"/>
              <a:gd name="connsiteX17-179" fmla="*/ 5668965 w 9397013"/>
              <a:gd name="connsiteY17-180" fmla="*/ 166254 h 7291226"/>
              <a:gd name="connsiteX18-181" fmla="*/ 6114044 w 9397013"/>
              <a:gd name="connsiteY18-182" fmla="*/ 197929 h 7291226"/>
              <a:gd name="connsiteX19-183" fmla="*/ 1099910 w 9397013"/>
              <a:gd name="connsiteY19-184" fmla="*/ 6831395 h 7291226"/>
              <a:gd name="connsiteX20-185" fmla="*/ 7106560 w 9397013"/>
              <a:gd name="connsiteY20-186" fmla="*/ 7291226 h 7291226"/>
              <a:gd name="connsiteX21-187" fmla="*/ 6670875 w 9397013"/>
              <a:gd name="connsiteY21-188" fmla="*/ 7291226 h 7291226"/>
              <a:gd name="connsiteX22-189" fmla="*/ 3849932 w 9397013"/>
              <a:gd name="connsiteY22-190" fmla="*/ 3596670 h 7291226"/>
              <a:gd name="connsiteX23-191" fmla="*/ 4086202 w 9397013"/>
              <a:gd name="connsiteY23-192" fmla="*/ 3287229 h 7291226"/>
              <a:gd name="connsiteX24-193" fmla="*/ 7106560 w 9397013"/>
              <a:gd name="connsiteY24-194" fmla="*/ 7291226 h 7291226"/>
              <a:gd name="connsiteX25-195" fmla="*/ 7934229 w 9397013"/>
              <a:gd name="connsiteY25-196" fmla="*/ 7291226 h 7291226"/>
              <a:gd name="connsiteX26-197" fmla="*/ 7444802 w 9397013"/>
              <a:gd name="connsiteY26-198" fmla="*/ 7291226 h 7291226"/>
              <a:gd name="connsiteX27-199" fmla="*/ 4245793 w 9397013"/>
              <a:gd name="connsiteY27-200" fmla="*/ 3078214 h 7291226"/>
              <a:gd name="connsiteX28-201" fmla="*/ 4490696 w 9397013"/>
              <a:gd name="connsiteY28-202" fmla="*/ 2757469 h 7291226"/>
              <a:gd name="connsiteX29-203" fmla="*/ 7934229 w 9397013"/>
              <a:gd name="connsiteY29-204" fmla="*/ 7291226 h 7291226"/>
              <a:gd name="connsiteX30-205" fmla="*/ 8687764 w 9397013"/>
              <a:gd name="connsiteY30-206" fmla="*/ 7291226 h 7291226"/>
              <a:gd name="connsiteX31-207" fmla="*/ 8270226 w 9397013"/>
              <a:gd name="connsiteY31-208" fmla="*/ 7291226 h 7291226"/>
              <a:gd name="connsiteX32-209" fmla="*/ 4650570 w 9397013"/>
              <a:gd name="connsiteY32-210" fmla="*/ 2548084 h 7291226"/>
              <a:gd name="connsiteX33-211" fmla="*/ 4869244 w 9397013"/>
              <a:gd name="connsiteY33-212" fmla="*/ 2261689 h 7291226"/>
              <a:gd name="connsiteX34-213" fmla="*/ 8687764 w 9397013"/>
              <a:gd name="connsiteY34-214" fmla="*/ 7291226 h 7291226"/>
              <a:gd name="connsiteX35-215" fmla="*/ 9397013 w 9397013"/>
              <a:gd name="connsiteY35-216" fmla="*/ 7134207 h 7291226"/>
              <a:gd name="connsiteX36-217" fmla="*/ 8921338 w 9397013"/>
              <a:gd name="connsiteY36-218" fmla="*/ 7115735 h 7291226"/>
              <a:gd name="connsiteX37-219" fmla="*/ 5045299 w 9397013"/>
              <a:gd name="connsiteY37-220" fmla="*/ 2031113 h 7291226"/>
              <a:gd name="connsiteX38-221" fmla="*/ 5273037 w 9397013"/>
              <a:gd name="connsiteY38-222" fmla="*/ 1732846 h 7291226"/>
              <a:gd name="connsiteX39-223" fmla="*/ 9397013 w 9397013"/>
              <a:gd name="connsiteY39-224" fmla="*/ 7134207 h 7291226"/>
              <a:gd name="connsiteX0-225" fmla="*/ 168369 w 9397013"/>
              <a:gd name="connsiteY0-226" fmla="*/ 4779933 h 7291226"/>
              <a:gd name="connsiteX1-227" fmla="*/ 0 w 9397013"/>
              <a:gd name="connsiteY1-228" fmla="*/ 4409146 h 7291226"/>
              <a:gd name="connsiteX2-229" fmla="*/ 3332806 w 9397013"/>
              <a:gd name="connsiteY2-230" fmla="*/ 0 h 7291226"/>
              <a:gd name="connsiteX3-231" fmla="*/ 3794560 w 9397013"/>
              <a:gd name="connsiteY3-232" fmla="*/ 32861 h 7291226"/>
              <a:gd name="connsiteX4-233" fmla="*/ 168369 w 9397013"/>
              <a:gd name="connsiteY4-234" fmla="*/ 4779933 h 7291226"/>
              <a:gd name="connsiteX5-235" fmla="*/ 488220 w 9397013"/>
              <a:gd name="connsiteY5-236" fmla="*/ 5484315 h 7291226"/>
              <a:gd name="connsiteX6-237" fmla="*/ 299082 w 9397013"/>
              <a:gd name="connsiteY6-238" fmla="*/ 5067791 h 7291226"/>
              <a:gd name="connsiteX7-239" fmla="*/ 4106456 w 9397013"/>
              <a:gd name="connsiteY7-240" fmla="*/ 55057 h 7291226"/>
              <a:gd name="connsiteX8-241" fmla="*/ 4585079 w 9397013"/>
              <a:gd name="connsiteY8-242" fmla="*/ 89119 h 7291226"/>
              <a:gd name="connsiteX9-243" fmla="*/ 488220 w 9397013"/>
              <a:gd name="connsiteY9-244" fmla="*/ 5484315 h 7291226"/>
              <a:gd name="connsiteX10-245" fmla="*/ 779421 w 9397013"/>
              <a:gd name="connsiteY10-246" fmla="*/ 6125606 h 7291226"/>
              <a:gd name="connsiteX11-247" fmla="*/ 618065 w 9397013"/>
              <a:gd name="connsiteY11-248" fmla="*/ 5770263 h 7291226"/>
              <a:gd name="connsiteX12-249" fmla="*/ 4897528 w 9397013"/>
              <a:gd name="connsiteY12-250" fmla="*/ 111354 h 7291226"/>
              <a:gd name="connsiteX13-251" fmla="*/ 5324893 w 9397013"/>
              <a:gd name="connsiteY13-252" fmla="*/ 141768 h 7291226"/>
              <a:gd name="connsiteX14-253" fmla="*/ 779421 w 9397013"/>
              <a:gd name="connsiteY14-254" fmla="*/ 6125606 h 7291226"/>
              <a:gd name="connsiteX15-255" fmla="*/ 1099910 w 9397013"/>
              <a:gd name="connsiteY15-256" fmla="*/ 6831395 h 7291226"/>
              <a:gd name="connsiteX16-257" fmla="*/ 919656 w 9397013"/>
              <a:gd name="connsiteY16-258" fmla="*/ 6434435 h 7291226"/>
              <a:gd name="connsiteX17-259" fmla="*/ 5668965 w 9397013"/>
              <a:gd name="connsiteY17-260" fmla="*/ 166254 h 7291226"/>
              <a:gd name="connsiteX18-261" fmla="*/ 6114044 w 9397013"/>
              <a:gd name="connsiteY18-262" fmla="*/ 197929 h 7291226"/>
              <a:gd name="connsiteX19-263" fmla="*/ 1099910 w 9397013"/>
              <a:gd name="connsiteY19-264" fmla="*/ 6831395 h 7291226"/>
              <a:gd name="connsiteX20-265" fmla="*/ 7106560 w 9397013"/>
              <a:gd name="connsiteY20-266" fmla="*/ 7291226 h 7291226"/>
              <a:gd name="connsiteX21-267" fmla="*/ 6670875 w 9397013"/>
              <a:gd name="connsiteY21-268" fmla="*/ 7291226 h 7291226"/>
              <a:gd name="connsiteX22-269" fmla="*/ 3849932 w 9397013"/>
              <a:gd name="connsiteY22-270" fmla="*/ 3596670 h 7291226"/>
              <a:gd name="connsiteX23-271" fmla="*/ 4086202 w 9397013"/>
              <a:gd name="connsiteY23-272" fmla="*/ 3287229 h 7291226"/>
              <a:gd name="connsiteX24-273" fmla="*/ 7106560 w 9397013"/>
              <a:gd name="connsiteY24-274" fmla="*/ 7291226 h 7291226"/>
              <a:gd name="connsiteX25-275" fmla="*/ 7934229 w 9397013"/>
              <a:gd name="connsiteY25-276" fmla="*/ 7291226 h 7291226"/>
              <a:gd name="connsiteX26-277" fmla="*/ 7444802 w 9397013"/>
              <a:gd name="connsiteY26-278" fmla="*/ 7291226 h 7291226"/>
              <a:gd name="connsiteX27-279" fmla="*/ 4245793 w 9397013"/>
              <a:gd name="connsiteY27-280" fmla="*/ 3078214 h 7291226"/>
              <a:gd name="connsiteX28-281" fmla="*/ 4490696 w 9397013"/>
              <a:gd name="connsiteY28-282" fmla="*/ 2757469 h 7291226"/>
              <a:gd name="connsiteX29-283" fmla="*/ 7934229 w 9397013"/>
              <a:gd name="connsiteY29-284" fmla="*/ 7291226 h 7291226"/>
              <a:gd name="connsiteX30-285" fmla="*/ 8530746 w 9397013"/>
              <a:gd name="connsiteY30-286" fmla="*/ 7088026 h 7291226"/>
              <a:gd name="connsiteX31-287" fmla="*/ 8270226 w 9397013"/>
              <a:gd name="connsiteY31-288" fmla="*/ 7291226 h 7291226"/>
              <a:gd name="connsiteX32-289" fmla="*/ 4650570 w 9397013"/>
              <a:gd name="connsiteY32-290" fmla="*/ 2548084 h 7291226"/>
              <a:gd name="connsiteX33-291" fmla="*/ 4869244 w 9397013"/>
              <a:gd name="connsiteY33-292" fmla="*/ 2261689 h 7291226"/>
              <a:gd name="connsiteX34-293" fmla="*/ 8530746 w 9397013"/>
              <a:gd name="connsiteY34-294" fmla="*/ 7088026 h 7291226"/>
              <a:gd name="connsiteX35-295" fmla="*/ 9397013 w 9397013"/>
              <a:gd name="connsiteY35-296" fmla="*/ 7134207 h 7291226"/>
              <a:gd name="connsiteX36-297" fmla="*/ 8921338 w 9397013"/>
              <a:gd name="connsiteY36-298" fmla="*/ 7115735 h 7291226"/>
              <a:gd name="connsiteX37-299" fmla="*/ 5045299 w 9397013"/>
              <a:gd name="connsiteY37-300" fmla="*/ 2031113 h 7291226"/>
              <a:gd name="connsiteX38-301" fmla="*/ 5273037 w 9397013"/>
              <a:gd name="connsiteY38-302" fmla="*/ 1732846 h 7291226"/>
              <a:gd name="connsiteX39-303" fmla="*/ 9397013 w 9397013"/>
              <a:gd name="connsiteY39-304" fmla="*/ 7134207 h 7291226"/>
              <a:gd name="connsiteX0-305" fmla="*/ 168369 w 9397013"/>
              <a:gd name="connsiteY0-306" fmla="*/ 4779933 h 7291226"/>
              <a:gd name="connsiteX1-307" fmla="*/ 0 w 9397013"/>
              <a:gd name="connsiteY1-308" fmla="*/ 4409146 h 7291226"/>
              <a:gd name="connsiteX2-309" fmla="*/ 3332806 w 9397013"/>
              <a:gd name="connsiteY2-310" fmla="*/ 0 h 7291226"/>
              <a:gd name="connsiteX3-311" fmla="*/ 3794560 w 9397013"/>
              <a:gd name="connsiteY3-312" fmla="*/ 32861 h 7291226"/>
              <a:gd name="connsiteX4-313" fmla="*/ 168369 w 9397013"/>
              <a:gd name="connsiteY4-314" fmla="*/ 4779933 h 7291226"/>
              <a:gd name="connsiteX5-315" fmla="*/ 488220 w 9397013"/>
              <a:gd name="connsiteY5-316" fmla="*/ 5484315 h 7291226"/>
              <a:gd name="connsiteX6-317" fmla="*/ 299082 w 9397013"/>
              <a:gd name="connsiteY6-318" fmla="*/ 5067791 h 7291226"/>
              <a:gd name="connsiteX7-319" fmla="*/ 4106456 w 9397013"/>
              <a:gd name="connsiteY7-320" fmla="*/ 55057 h 7291226"/>
              <a:gd name="connsiteX8-321" fmla="*/ 4585079 w 9397013"/>
              <a:gd name="connsiteY8-322" fmla="*/ 89119 h 7291226"/>
              <a:gd name="connsiteX9-323" fmla="*/ 488220 w 9397013"/>
              <a:gd name="connsiteY9-324" fmla="*/ 5484315 h 7291226"/>
              <a:gd name="connsiteX10-325" fmla="*/ 779421 w 9397013"/>
              <a:gd name="connsiteY10-326" fmla="*/ 6125606 h 7291226"/>
              <a:gd name="connsiteX11-327" fmla="*/ 618065 w 9397013"/>
              <a:gd name="connsiteY11-328" fmla="*/ 5770263 h 7291226"/>
              <a:gd name="connsiteX12-329" fmla="*/ 4897528 w 9397013"/>
              <a:gd name="connsiteY12-330" fmla="*/ 111354 h 7291226"/>
              <a:gd name="connsiteX13-331" fmla="*/ 5324893 w 9397013"/>
              <a:gd name="connsiteY13-332" fmla="*/ 141768 h 7291226"/>
              <a:gd name="connsiteX14-333" fmla="*/ 779421 w 9397013"/>
              <a:gd name="connsiteY14-334" fmla="*/ 6125606 h 7291226"/>
              <a:gd name="connsiteX15-335" fmla="*/ 1099910 w 9397013"/>
              <a:gd name="connsiteY15-336" fmla="*/ 6831395 h 7291226"/>
              <a:gd name="connsiteX16-337" fmla="*/ 919656 w 9397013"/>
              <a:gd name="connsiteY16-338" fmla="*/ 6434435 h 7291226"/>
              <a:gd name="connsiteX17-339" fmla="*/ 5668965 w 9397013"/>
              <a:gd name="connsiteY17-340" fmla="*/ 166254 h 7291226"/>
              <a:gd name="connsiteX18-341" fmla="*/ 6114044 w 9397013"/>
              <a:gd name="connsiteY18-342" fmla="*/ 197929 h 7291226"/>
              <a:gd name="connsiteX19-343" fmla="*/ 1099910 w 9397013"/>
              <a:gd name="connsiteY19-344" fmla="*/ 6831395 h 7291226"/>
              <a:gd name="connsiteX20-345" fmla="*/ 7106560 w 9397013"/>
              <a:gd name="connsiteY20-346" fmla="*/ 7291226 h 7291226"/>
              <a:gd name="connsiteX21-347" fmla="*/ 6670875 w 9397013"/>
              <a:gd name="connsiteY21-348" fmla="*/ 7291226 h 7291226"/>
              <a:gd name="connsiteX22-349" fmla="*/ 3849932 w 9397013"/>
              <a:gd name="connsiteY22-350" fmla="*/ 3596670 h 7291226"/>
              <a:gd name="connsiteX23-351" fmla="*/ 4086202 w 9397013"/>
              <a:gd name="connsiteY23-352" fmla="*/ 3287229 h 7291226"/>
              <a:gd name="connsiteX24-353" fmla="*/ 7106560 w 9397013"/>
              <a:gd name="connsiteY24-354" fmla="*/ 7291226 h 7291226"/>
              <a:gd name="connsiteX25-355" fmla="*/ 7934229 w 9397013"/>
              <a:gd name="connsiteY25-356" fmla="*/ 7291226 h 7291226"/>
              <a:gd name="connsiteX26-357" fmla="*/ 7444802 w 9397013"/>
              <a:gd name="connsiteY26-358" fmla="*/ 7291226 h 7291226"/>
              <a:gd name="connsiteX27-359" fmla="*/ 4245793 w 9397013"/>
              <a:gd name="connsiteY27-360" fmla="*/ 3078214 h 7291226"/>
              <a:gd name="connsiteX28-361" fmla="*/ 4490696 w 9397013"/>
              <a:gd name="connsiteY28-362" fmla="*/ 2757469 h 7291226"/>
              <a:gd name="connsiteX29-363" fmla="*/ 7934229 w 9397013"/>
              <a:gd name="connsiteY29-364" fmla="*/ 7291226 h 7291226"/>
              <a:gd name="connsiteX30-365" fmla="*/ 8530746 w 9397013"/>
              <a:gd name="connsiteY30-366" fmla="*/ 7088026 h 7291226"/>
              <a:gd name="connsiteX31-367" fmla="*/ 8150153 w 9397013"/>
              <a:gd name="connsiteY31-368" fmla="*/ 7097262 h 7291226"/>
              <a:gd name="connsiteX32-369" fmla="*/ 4650570 w 9397013"/>
              <a:gd name="connsiteY32-370" fmla="*/ 2548084 h 7291226"/>
              <a:gd name="connsiteX33-371" fmla="*/ 4869244 w 9397013"/>
              <a:gd name="connsiteY33-372" fmla="*/ 2261689 h 7291226"/>
              <a:gd name="connsiteX34-373" fmla="*/ 8530746 w 9397013"/>
              <a:gd name="connsiteY34-374" fmla="*/ 7088026 h 7291226"/>
              <a:gd name="connsiteX35-375" fmla="*/ 9397013 w 9397013"/>
              <a:gd name="connsiteY35-376" fmla="*/ 7134207 h 7291226"/>
              <a:gd name="connsiteX36-377" fmla="*/ 8921338 w 9397013"/>
              <a:gd name="connsiteY36-378" fmla="*/ 7115735 h 7291226"/>
              <a:gd name="connsiteX37-379" fmla="*/ 5045299 w 9397013"/>
              <a:gd name="connsiteY37-380" fmla="*/ 2031113 h 7291226"/>
              <a:gd name="connsiteX38-381" fmla="*/ 5273037 w 9397013"/>
              <a:gd name="connsiteY38-382" fmla="*/ 1732846 h 7291226"/>
              <a:gd name="connsiteX39-383" fmla="*/ 9397013 w 9397013"/>
              <a:gd name="connsiteY39-384" fmla="*/ 7134207 h 7291226"/>
              <a:gd name="connsiteX0-385" fmla="*/ 168369 w 9397013"/>
              <a:gd name="connsiteY0-386" fmla="*/ 4779933 h 7291226"/>
              <a:gd name="connsiteX1-387" fmla="*/ 0 w 9397013"/>
              <a:gd name="connsiteY1-388" fmla="*/ 4409146 h 7291226"/>
              <a:gd name="connsiteX2-389" fmla="*/ 3332806 w 9397013"/>
              <a:gd name="connsiteY2-390" fmla="*/ 0 h 7291226"/>
              <a:gd name="connsiteX3-391" fmla="*/ 3794560 w 9397013"/>
              <a:gd name="connsiteY3-392" fmla="*/ 32861 h 7291226"/>
              <a:gd name="connsiteX4-393" fmla="*/ 168369 w 9397013"/>
              <a:gd name="connsiteY4-394" fmla="*/ 4779933 h 7291226"/>
              <a:gd name="connsiteX5-395" fmla="*/ 488220 w 9397013"/>
              <a:gd name="connsiteY5-396" fmla="*/ 5484315 h 7291226"/>
              <a:gd name="connsiteX6-397" fmla="*/ 299082 w 9397013"/>
              <a:gd name="connsiteY6-398" fmla="*/ 5067791 h 7291226"/>
              <a:gd name="connsiteX7-399" fmla="*/ 4106456 w 9397013"/>
              <a:gd name="connsiteY7-400" fmla="*/ 55057 h 7291226"/>
              <a:gd name="connsiteX8-401" fmla="*/ 4585079 w 9397013"/>
              <a:gd name="connsiteY8-402" fmla="*/ 89119 h 7291226"/>
              <a:gd name="connsiteX9-403" fmla="*/ 488220 w 9397013"/>
              <a:gd name="connsiteY9-404" fmla="*/ 5484315 h 7291226"/>
              <a:gd name="connsiteX10-405" fmla="*/ 779421 w 9397013"/>
              <a:gd name="connsiteY10-406" fmla="*/ 6125606 h 7291226"/>
              <a:gd name="connsiteX11-407" fmla="*/ 618065 w 9397013"/>
              <a:gd name="connsiteY11-408" fmla="*/ 5770263 h 7291226"/>
              <a:gd name="connsiteX12-409" fmla="*/ 4897528 w 9397013"/>
              <a:gd name="connsiteY12-410" fmla="*/ 111354 h 7291226"/>
              <a:gd name="connsiteX13-411" fmla="*/ 5324893 w 9397013"/>
              <a:gd name="connsiteY13-412" fmla="*/ 141768 h 7291226"/>
              <a:gd name="connsiteX14-413" fmla="*/ 779421 w 9397013"/>
              <a:gd name="connsiteY14-414" fmla="*/ 6125606 h 7291226"/>
              <a:gd name="connsiteX15-415" fmla="*/ 1099910 w 9397013"/>
              <a:gd name="connsiteY15-416" fmla="*/ 6831395 h 7291226"/>
              <a:gd name="connsiteX16-417" fmla="*/ 919656 w 9397013"/>
              <a:gd name="connsiteY16-418" fmla="*/ 6434435 h 7291226"/>
              <a:gd name="connsiteX17-419" fmla="*/ 5668965 w 9397013"/>
              <a:gd name="connsiteY17-420" fmla="*/ 166254 h 7291226"/>
              <a:gd name="connsiteX18-421" fmla="*/ 6114044 w 9397013"/>
              <a:gd name="connsiteY18-422" fmla="*/ 197929 h 7291226"/>
              <a:gd name="connsiteX19-423" fmla="*/ 1099910 w 9397013"/>
              <a:gd name="connsiteY19-424" fmla="*/ 6831395 h 7291226"/>
              <a:gd name="connsiteX20-425" fmla="*/ 7106560 w 9397013"/>
              <a:gd name="connsiteY20-426" fmla="*/ 7291226 h 7291226"/>
              <a:gd name="connsiteX21-427" fmla="*/ 6670875 w 9397013"/>
              <a:gd name="connsiteY21-428" fmla="*/ 7291226 h 7291226"/>
              <a:gd name="connsiteX22-429" fmla="*/ 3849932 w 9397013"/>
              <a:gd name="connsiteY22-430" fmla="*/ 3596670 h 7291226"/>
              <a:gd name="connsiteX23-431" fmla="*/ 4086202 w 9397013"/>
              <a:gd name="connsiteY23-432" fmla="*/ 3287229 h 7291226"/>
              <a:gd name="connsiteX24-433" fmla="*/ 7106560 w 9397013"/>
              <a:gd name="connsiteY24-434" fmla="*/ 7291226 h 7291226"/>
              <a:gd name="connsiteX25-435" fmla="*/ 7934229 w 9397013"/>
              <a:gd name="connsiteY25-436" fmla="*/ 7291226 h 7291226"/>
              <a:gd name="connsiteX26-437" fmla="*/ 7444802 w 9397013"/>
              <a:gd name="connsiteY26-438" fmla="*/ 7291226 h 7291226"/>
              <a:gd name="connsiteX27-439" fmla="*/ 4245793 w 9397013"/>
              <a:gd name="connsiteY27-440" fmla="*/ 3078214 h 7291226"/>
              <a:gd name="connsiteX28-441" fmla="*/ 4490696 w 9397013"/>
              <a:gd name="connsiteY28-442" fmla="*/ 2757469 h 7291226"/>
              <a:gd name="connsiteX29-443" fmla="*/ 7934229 w 9397013"/>
              <a:gd name="connsiteY29-444" fmla="*/ 7291226 h 7291226"/>
              <a:gd name="connsiteX30-445" fmla="*/ 8567691 w 9397013"/>
              <a:gd name="connsiteY30-446" fmla="*/ 7124971 h 7291226"/>
              <a:gd name="connsiteX31-447" fmla="*/ 8150153 w 9397013"/>
              <a:gd name="connsiteY31-448" fmla="*/ 7097262 h 7291226"/>
              <a:gd name="connsiteX32-449" fmla="*/ 4650570 w 9397013"/>
              <a:gd name="connsiteY32-450" fmla="*/ 2548084 h 7291226"/>
              <a:gd name="connsiteX33-451" fmla="*/ 4869244 w 9397013"/>
              <a:gd name="connsiteY33-452" fmla="*/ 2261689 h 7291226"/>
              <a:gd name="connsiteX34-453" fmla="*/ 8567691 w 9397013"/>
              <a:gd name="connsiteY34-454" fmla="*/ 7124971 h 7291226"/>
              <a:gd name="connsiteX35-455" fmla="*/ 9397013 w 9397013"/>
              <a:gd name="connsiteY35-456" fmla="*/ 7134207 h 7291226"/>
              <a:gd name="connsiteX36-457" fmla="*/ 8921338 w 9397013"/>
              <a:gd name="connsiteY36-458" fmla="*/ 7115735 h 7291226"/>
              <a:gd name="connsiteX37-459" fmla="*/ 5045299 w 9397013"/>
              <a:gd name="connsiteY37-460" fmla="*/ 2031113 h 7291226"/>
              <a:gd name="connsiteX38-461" fmla="*/ 5273037 w 9397013"/>
              <a:gd name="connsiteY38-462" fmla="*/ 1732846 h 7291226"/>
              <a:gd name="connsiteX39-463" fmla="*/ 9397013 w 9397013"/>
              <a:gd name="connsiteY39-464" fmla="*/ 7134207 h 7291226"/>
              <a:gd name="connsiteX0-465" fmla="*/ 168369 w 9397013"/>
              <a:gd name="connsiteY0-466" fmla="*/ 4779933 h 7291226"/>
              <a:gd name="connsiteX1-467" fmla="*/ 0 w 9397013"/>
              <a:gd name="connsiteY1-468" fmla="*/ 4409146 h 7291226"/>
              <a:gd name="connsiteX2-469" fmla="*/ 3332806 w 9397013"/>
              <a:gd name="connsiteY2-470" fmla="*/ 0 h 7291226"/>
              <a:gd name="connsiteX3-471" fmla="*/ 3794560 w 9397013"/>
              <a:gd name="connsiteY3-472" fmla="*/ 32861 h 7291226"/>
              <a:gd name="connsiteX4-473" fmla="*/ 168369 w 9397013"/>
              <a:gd name="connsiteY4-474" fmla="*/ 4779933 h 7291226"/>
              <a:gd name="connsiteX5-475" fmla="*/ 488220 w 9397013"/>
              <a:gd name="connsiteY5-476" fmla="*/ 5484315 h 7291226"/>
              <a:gd name="connsiteX6-477" fmla="*/ 299082 w 9397013"/>
              <a:gd name="connsiteY6-478" fmla="*/ 5067791 h 7291226"/>
              <a:gd name="connsiteX7-479" fmla="*/ 4106456 w 9397013"/>
              <a:gd name="connsiteY7-480" fmla="*/ 55057 h 7291226"/>
              <a:gd name="connsiteX8-481" fmla="*/ 4585079 w 9397013"/>
              <a:gd name="connsiteY8-482" fmla="*/ 89119 h 7291226"/>
              <a:gd name="connsiteX9-483" fmla="*/ 488220 w 9397013"/>
              <a:gd name="connsiteY9-484" fmla="*/ 5484315 h 7291226"/>
              <a:gd name="connsiteX10-485" fmla="*/ 779421 w 9397013"/>
              <a:gd name="connsiteY10-486" fmla="*/ 6125606 h 7291226"/>
              <a:gd name="connsiteX11-487" fmla="*/ 618065 w 9397013"/>
              <a:gd name="connsiteY11-488" fmla="*/ 5770263 h 7291226"/>
              <a:gd name="connsiteX12-489" fmla="*/ 4897528 w 9397013"/>
              <a:gd name="connsiteY12-490" fmla="*/ 111354 h 7291226"/>
              <a:gd name="connsiteX13-491" fmla="*/ 5324893 w 9397013"/>
              <a:gd name="connsiteY13-492" fmla="*/ 141768 h 7291226"/>
              <a:gd name="connsiteX14-493" fmla="*/ 779421 w 9397013"/>
              <a:gd name="connsiteY14-494" fmla="*/ 6125606 h 7291226"/>
              <a:gd name="connsiteX15-495" fmla="*/ 1099910 w 9397013"/>
              <a:gd name="connsiteY15-496" fmla="*/ 6831395 h 7291226"/>
              <a:gd name="connsiteX16-497" fmla="*/ 919656 w 9397013"/>
              <a:gd name="connsiteY16-498" fmla="*/ 6434435 h 7291226"/>
              <a:gd name="connsiteX17-499" fmla="*/ 5668965 w 9397013"/>
              <a:gd name="connsiteY17-500" fmla="*/ 166254 h 7291226"/>
              <a:gd name="connsiteX18-501" fmla="*/ 6114044 w 9397013"/>
              <a:gd name="connsiteY18-502" fmla="*/ 197929 h 7291226"/>
              <a:gd name="connsiteX19-503" fmla="*/ 1099910 w 9397013"/>
              <a:gd name="connsiteY19-504" fmla="*/ 6831395 h 7291226"/>
              <a:gd name="connsiteX20-505" fmla="*/ 7106560 w 9397013"/>
              <a:gd name="connsiteY20-506" fmla="*/ 7291226 h 7291226"/>
              <a:gd name="connsiteX21-507" fmla="*/ 6670875 w 9397013"/>
              <a:gd name="connsiteY21-508" fmla="*/ 7291226 h 7291226"/>
              <a:gd name="connsiteX22-509" fmla="*/ 3849932 w 9397013"/>
              <a:gd name="connsiteY22-510" fmla="*/ 3596670 h 7291226"/>
              <a:gd name="connsiteX23-511" fmla="*/ 4086202 w 9397013"/>
              <a:gd name="connsiteY23-512" fmla="*/ 3287229 h 7291226"/>
              <a:gd name="connsiteX24-513" fmla="*/ 7106560 w 9397013"/>
              <a:gd name="connsiteY24-514" fmla="*/ 7291226 h 7291226"/>
              <a:gd name="connsiteX25-515" fmla="*/ 7934229 w 9397013"/>
              <a:gd name="connsiteY25-516" fmla="*/ 7291226 h 7291226"/>
              <a:gd name="connsiteX26-517" fmla="*/ 7444802 w 9397013"/>
              <a:gd name="connsiteY26-518" fmla="*/ 7291226 h 7291226"/>
              <a:gd name="connsiteX27-519" fmla="*/ 4245793 w 9397013"/>
              <a:gd name="connsiteY27-520" fmla="*/ 3078214 h 7291226"/>
              <a:gd name="connsiteX28-521" fmla="*/ 4490696 w 9397013"/>
              <a:gd name="connsiteY28-522" fmla="*/ 2757469 h 7291226"/>
              <a:gd name="connsiteX29-523" fmla="*/ 7934229 w 9397013"/>
              <a:gd name="connsiteY29-524" fmla="*/ 7291226 h 7291226"/>
              <a:gd name="connsiteX30-525" fmla="*/ 8567691 w 9397013"/>
              <a:gd name="connsiteY30-526" fmla="*/ 7124971 h 7291226"/>
              <a:gd name="connsiteX31-527" fmla="*/ 8159389 w 9397013"/>
              <a:gd name="connsiteY31-528" fmla="*/ 7134208 h 7291226"/>
              <a:gd name="connsiteX32-529" fmla="*/ 4650570 w 9397013"/>
              <a:gd name="connsiteY32-530" fmla="*/ 2548084 h 7291226"/>
              <a:gd name="connsiteX33-531" fmla="*/ 4869244 w 9397013"/>
              <a:gd name="connsiteY33-532" fmla="*/ 2261689 h 7291226"/>
              <a:gd name="connsiteX34-533" fmla="*/ 8567691 w 9397013"/>
              <a:gd name="connsiteY34-534" fmla="*/ 7124971 h 7291226"/>
              <a:gd name="connsiteX35-535" fmla="*/ 9397013 w 9397013"/>
              <a:gd name="connsiteY35-536" fmla="*/ 7134207 h 7291226"/>
              <a:gd name="connsiteX36-537" fmla="*/ 8921338 w 9397013"/>
              <a:gd name="connsiteY36-538" fmla="*/ 7115735 h 7291226"/>
              <a:gd name="connsiteX37-539" fmla="*/ 5045299 w 9397013"/>
              <a:gd name="connsiteY37-540" fmla="*/ 2031113 h 7291226"/>
              <a:gd name="connsiteX38-541" fmla="*/ 5273037 w 9397013"/>
              <a:gd name="connsiteY38-542" fmla="*/ 1732846 h 7291226"/>
              <a:gd name="connsiteX39-543" fmla="*/ 9397013 w 9397013"/>
              <a:gd name="connsiteY39-544" fmla="*/ 7134207 h 7291226"/>
              <a:gd name="connsiteX0-545" fmla="*/ 168369 w 9397013"/>
              <a:gd name="connsiteY0-546" fmla="*/ 4779933 h 7291226"/>
              <a:gd name="connsiteX1-547" fmla="*/ 0 w 9397013"/>
              <a:gd name="connsiteY1-548" fmla="*/ 4409146 h 7291226"/>
              <a:gd name="connsiteX2-549" fmla="*/ 3332806 w 9397013"/>
              <a:gd name="connsiteY2-550" fmla="*/ 0 h 7291226"/>
              <a:gd name="connsiteX3-551" fmla="*/ 3794560 w 9397013"/>
              <a:gd name="connsiteY3-552" fmla="*/ 32861 h 7291226"/>
              <a:gd name="connsiteX4-553" fmla="*/ 168369 w 9397013"/>
              <a:gd name="connsiteY4-554" fmla="*/ 4779933 h 7291226"/>
              <a:gd name="connsiteX5-555" fmla="*/ 488220 w 9397013"/>
              <a:gd name="connsiteY5-556" fmla="*/ 5484315 h 7291226"/>
              <a:gd name="connsiteX6-557" fmla="*/ 299082 w 9397013"/>
              <a:gd name="connsiteY6-558" fmla="*/ 5067791 h 7291226"/>
              <a:gd name="connsiteX7-559" fmla="*/ 4106456 w 9397013"/>
              <a:gd name="connsiteY7-560" fmla="*/ 55057 h 7291226"/>
              <a:gd name="connsiteX8-561" fmla="*/ 4585079 w 9397013"/>
              <a:gd name="connsiteY8-562" fmla="*/ 89119 h 7291226"/>
              <a:gd name="connsiteX9-563" fmla="*/ 488220 w 9397013"/>
              <a:gd name="connsiteY9-564" fmla="*/ 5484315 h 7291226"/>
              <a:gd name="connsiteX10-565" fmla="*/ 779421 w 9397013"/>
              <a:gd name="connsiteY10-566" fmla="*/ 6125606 h 7291226"/>
              <a:gd name="connsiteX11-567" fmla="*/ 618065 w 9397013"/>
              <a:gd name="connsiteY11-568" fmla="*/ 5770263 h 7291226"/>
              <a:gd name="connsiteX12-569" fmla="*/ 4897528 w 9397013"/>
              <a:gd name="connsiteY12-570" fmla="*/ 111354 h 7291226"/>
              <a:gd name="connsiteX13-571" fmla="*/ 5324893 w 9397013"/>
              <a:gd name="connsiteY13-572" fmla="*/ 141768 h 7291226"/>
              <a:gd name="connsiteX14-573" fmla="*/ 779421 w 9397013"/>
              <a:gd name="connsiteY14-574" fmla="*/ 6125606 h 7291226"/>
              <a:gd name="connsiteX15-575" fmla="*/ 1099910 w 9397013"/>
              <a:gd name="connsiteY15-576" fmla="*/ 6831395 h 7291226"/>
              <a:gd name="connsiteX16-577" fmla="*/ 919656 w 9397013"/>
              <a:gd name="connsiteY16-578" fmla="*/ 6434435 h 7291226"/>
              <a:gd name="connsiteX17-579" fmla="*/ 5668965 w 9397013"/>
              <a:gd name="connsiteY17-580" fmla="*/ 166254 h 7291226"/>
              <a:gd name="connsiteX18-581" fmla="*/ 6114044 w 9397013"/>
              <a:gd name="connsiteY18-582" fmla="*/ 197929 h 7291226"/>
              <a:gd name="connsiteX19-583" fmla="*/ 1099910 w 9397013"/>
              <a:gd name="connsiteY19-584" fmla="*/ 6831395 h 7291226"/>
              <a:gd name="connsiteX20-585" fmla="*/ 7106560 w 9397013"/>
              <a:gd name="connsiteY20-586" fmla="*/ 7291226 h 7291226"/>
              <a:gd name="connsiteX21-587" fmla="*/ 6670875 w 9397013"/>
              <a:gd name="connsiteY21-588" fmla="*/ 7291226 h 7291226"/>
              <a:gd name="connsiteX22-589" fmla="*/ 3849932 w 9397013"/>
              <a:gd name="connsiteY22-590" fmla="*/ 3596670 h 7291226"/>
              <a:gd name="connsiteX23-591" fmla="*/ 4086202 w 9397013"/>
              <a:gd name="connsiteY23-592" fmla="*/ 3287229 h 7291226"/>
              <a:gd name="connsiteX24-593" fmla="*/ 7106560 w 9397013"/>
              <a:gd name="connsiteY24-594" fmla="*/ 7291226 h 7291226"/>
              <a:gd name="connsiteX25-595" fmla="*/ 7777211 w 9397013"/>
              <a:gd name="connsiteY25-596" fmla="*/ 7124972 h 7291226"/>
              <a:gd name="connsiteX26-597" fmla="*/ 7444802 w 9397013"/>
              <a:gd name="connsiteY26-598" fmla="*/ 7291226 h 7291226"/>
              <a:gd name="connsiteX27-599" fmla="*/ 4245793 w 9397013"/>
              <a:gd name="connsiteY27-600" fmla="*/ 3078214 h 7291226"/>
              <a:gd name="connsiteX28-601" fmla="*/ 4490696 w 9397013"/>
              <a:gd name="connsiteY28-602" fmla="*/ 2757469 h 7291226"/>
              <a:gd name="connsiteX29-603" fmla="*/ 7777211 w 9397013"/>
              <a:gd name="connsiteY29-604" fmla="*/ 7124972 h 7291226"/>
              <a:gd name="connsiteX30-605" fmla="*/ 8567691 w 9397013"/>
              <a:gd name="connsiteY30-606" fmla="*/ 7124971 h 7291226"/>
              <a:gd name="connsiteX31-607" fmla="*/ 8159389 w 9397013"/>
              <a:gd name="connsiteY31-608" fmla="*/ 7134208 h 7291226"/>
              <a:gd name="connsiteX32-609" fmla="*/ 4650570 w 9397013"/>
              <a:gd name="connsiteY32-610" fmla="*/ 2548084 h 7291226"/>
              <a:gd name="connsiteX33-611" fmla="*/ 4869244 w 9397013"/>
              <a:gd name="connsiteY33-612" fmla="*/ 2261689 h 7291226"/>
              <a:gd name="connsiteX34-613" fmla="*/ 8567691 w 9397013"/>
              <a:gd name="connsiteY34-614" fmla="*/ 7124971 h 7291226"/>
              <a:gd name="connsiteX35-615" fmla="*/ 9397013 w 9397013"/>
              <a:gd name="connsiteY35-616" fmla="*/ 7134207 h 7291226"/>
              <a:gd name="connsiteX36-617" fmla="*/ 8921338 w 9397013"/>
              <a:gd name="connsiteY36-618" fmla="*/ 7115735 h 7291226"/>
              <a:gd name="connsiteX37-619" fmla="*/ 5045299 w 9397013"/>
              <a:gd name="connsiteY37-620" fmla="*/ 2031113 h 7291226"/>
              <a:gd name="connsiteX38-621" fmla="*/ 5273037 w 9397013"/>
              <a:gd name="connsiteY38-622" fmla="*/ 1732846 h 7291226"/>
              <a:gd name="connsiteX39-623" fmla="*/ 9397013 w 9397013"/>
              <a:gd name="connsiteY39-624" fmla="*/ 7134207 h 7291226"/>
              <a:gd name="connsiteX0-625" fmla="*/ 168369 w 9397013"/>
              <a:gd name="connsiteY0-626" fmla="*/ 4779933 h 7291226"/>
              <a:gd name="connsiteX1-627" fmla="*/ 0 w 9397013"/>
              <a:gd name="connsiteY1-628" fmla="*/ 4409146 h 7291226"/>
              <a:gd name="connsiteX2-629" fmla="*/ 3332806 w 9397013"/>
              <a:gd name="connsiteY2-630" fmla="*/ 0 h 7291226"/>
              <a:gd name="connsiteX3-631" fmla="*/ 3794560 w 9397013"/>
              <a:gd name="connsiteY3-632" fmla="*/ 32861 h 7291226"/>
              <a:gd name="connsiteX4-633" fmla="*/ 168369 w 9397013"/>
              <a:gd name="connsiteY4-634" fmla="*/ 4779933 h 7291226"/>
              <a:gd name="connsiteX5-635" fmla="*/ 488220 w 9397013"/>
              <a:gd name="connsiteY5-636" fmla="*/ 5484315 h 7291226"/>
              <a:gd name="connsiteX6-637" fmla="*/ 299082 w 9397013"/>
              <a:gd name="connsiteY6-638" fmla="*/ 5067791 h 7291226"/>
              <a:gd name="connsiteX7-639" fmla="*/ 4106456 w 9397013"/>
              <a:gd name="connsiteY7-640" fmla="*/ 55057 h 7291226"/>
              <a:gd name="connsiteX8-641" fmla="*/ 4585079 w 9397013"/>
              <a:gd name="connsiteY8-642" fmla="*/ 89119 h 7291226"/>
              <a:gd name="connsiteX9-643" fmla="*/ 488220 w 9397013"/>
              <a:gd name="connsiteY9-644" fmla="*/ 5484315 h 7291226"/>
              <a:gd name="connsiteX10-645" fmla="*/ 779421 w 9397013"/>
              <a:gd name="connsiteY10-646" fmla="*/ 6125606 h 7291226"/>
              <a:gd name="connsiteX11-647" fmla="*/ 618065 w 9397013"/>
              <a:gd name="connsiteY11-648" fmla="*/ 5770263 h 7291226"/>
              <a:gd name="connsiteX12-649" fmla="*/ 4897528 w 9397013"/>
              <a:gd name="connsiteY12-650" fmla="*/ 111354 h 7291226"/>
              <a:gd name="connsiteX13-651" fmla="*/ 5324893 w 9397013"/>
              <a:gd name="connsiteY13-652" fmla="*/ 141768 h 7291226"/>
              <a:gd name="connsiteX14-653" fmla="*/ 779421 w 9397013"/>
              <a:gd name="connsiteY14-654" fmla="*/ 6125606 h 7291226"/>
              <a:gd name="connsiteX15-655" fmla="*/ 1099910 w 9397013"/>
              <a:gd name="connsiteY15-656" fmla="*/ 6831395 h 7291226"/>
              <a:gd name="connsiteX16-657" fmla="*/ 919656 w 9397013"/>
              <a:gd name="connsiteY16-658" fmla="*/ 6434435 h 7291226"/>
              <a:gd name="connsiteX17-659" fmla="*/ 5668965 w 9397013"/>
              <a:gd name="connsiteY17-660" fmla="*/ 166254 h 7291226"/>
              <a:gd name="connsiteX18-661" fmla="*/ 6114044 w 9397013"/>
              <a:gd name="connsiteY18-662" fmla="*/ 197929 h 7291226"/>
              <a:gd name="connsiteX19-663" fmla="*/ 1099910 w 9397013"/>
              <a:gd name="connsiteY19-664" fmla="*/ 6831395 h 7291226"/>
              <a:gd name="connsiteX20-665" fmla="*/ 7106560 w 9397013"/>
              <a:gd name="connsiteY20-666" fmla="*/ 7291226 h 7291226"/>
              <a:gd name="connsiteX21-667" fmla="*/ 6670875 w 9397013"/>
              <a:gd name="connsiteY21-668" fmla="*/ 7291226 h 7291226"/>
              <a:gd name="connsiteX22-669" fmla="*/ 3849932 w 9397013"/>
              <a:gd name="connsiteY22-670" fmla="*/ 3596670 h 7291226"/>
              <a:gd name="connsiteX23-671" fmla="*/ 4086202 w 9397013"/>
              <a:gd name="connsiteY23-672" fmla="*/ 3287229 h 7291226"/>
              <a:gd name="connsiteX24-673" fmla="*/ 7106560 w 9397013"/>
              <a:gd name="connsiteY24-674" fmla="*/ 7291226 h 7291226"/>
              <a:gd name="connsiteX25-675" fmla="*/ 7777211 w 9397013"/>
              <a:gd name="connsiteY25-676" fmla="*/ 7124972 h 7291226"/>
              <a:gd name="connsiteX26-677" fmla="*/ 7324729 w 9397013"/>
              <a:gd name="connsiteY26-678" fmla="*/ 7124972 h 7291226"/>
              <a:gd name="connsiteX27-679" fmla="*/ 4245793 w 9397013"/>
              <a:gd name="connsiteY27-680" fmla="*/ 3078214 h 7291226"/>
              <a:gd name="connsiteX28-681" fmla="*/ 4490696 w 9397013"/>
              <a:gd name="connsiteY28-682" fmla="*/ 2757469 h 7291226"/>
              <a:gd name="connsiteX29-683" fmla="*/ 7777211 w 9397013"/>
              <a:gd name="connsiteY29-684" fmla="*/ 7124972 h 7291226"/>
              <a:gd name="connsiteX30-685" fmla="*/ 8567691 w 9397013"/>
              <a:gd name="connsiteY30-686" fmla="*/ 7124971 h 7291226"/>
              <a:gd name="connsiteX31-687" fmla="*/ 8159389 w 9397013"/>
              <a:gd name="connsiteY31-688" fmla="*/ 7134208 h 7291226"/>
              <a:gd name="connsiteX32-689" fmla="*/ 4650570 w 9397013"/>
              <a:gd name="connsiteY32-690" fmla="*/ 2548084 h 7291226"/>
              <a:gd name="connsiteX33-691" fmla="*/ 4869244 w 9397013"/>
              <a:gd name="connsiteY33-692" fmla="*/ 2261689 h 7291226"/>
              <a:gd name="connsiteX34-693" fmla="*/ 8567691 w 9397013"/>
              <a:gd name="connsiteY34-694" fmla="*/ 7124971 h 7291226"/>
              <a:gd name="connsiteX35-695" fmla="*/ 9397013 w 9397013"/>
              <a:gd name="connsiteY35-696" fmla="*/ 7134207 h 7291226"/>
              <a:gd name="connsiteX36-697" fmla="*/ 8921338 w 9397013"/>
              <a:gd name="connsiteY36-698" fmla="*/ 7115735 h 7291226"/>
              <a:gd name="connsiteX37-699" fmla="*/ 5045299 w 9397013"/>
              <a:gd name="connsiteY37-700" fmla="*/ 2031113 h 7291226"/>
              <a:gd name="connsiteX38-701" fmla="*/ 5273037 w 9397013"/>
              <a:gd name="connsiteY38-702" fmla="*/ 1732846 h 7291226"/>
              <a:gd name="connsiteX39-703" fmla="*/ 9397013 w 9397013"/>
              <a:gd name="connsiteY39-704" fmla="*/ 7134207 h 7291226"/>
              <a:gd name="connsiteX0-705" fmla="*/ 168369 w 9397013"/>
              <a:gd name="connsiteY0-706" fmla="*/ 4779933 h 7291226"/>
              <a:gd name="connsiteX1-707" fmla="*/ 0 w 9397013"/>
              <a:gd name="connsiteY1-708" fmla="*/ 4409146 h 7291226"/>
              <a:gd name="connsiteX2-709" fmla="*/ 3332806 w 9397013"/>
              <a:gd name="connsiteY2-710" fmla="*/ 0 h 7291226"/>
              <a:gd name="connsiteX3-711" fmla="*/ 3794560 w 9397013"/>
              <a:gd name="connsiteY3-712" fmla="*/ 32861 h 7291226"/>
              <a:gd name="connsiteX4-713" fmla="*/ 168369 w 9397013"/>
              <a:gd name="connsiteY4-714" fmla="*/ 4779933 h 7291226"/>
              <a:gd name="connsiteX5-715" fmla="*/ 488220 w 9397013"/>
              <a:gd name="connsiteY5-716" fmla="*/ 5484315 h 7291226"/>
              <a:gd name="connsiteX6-717" fmla="*/ 299082 w 9397013"/>
              <a:gd name="connsiteY6-718" fmla="*/ 5067791 h 7291226"/>
              <a:gd name="connsiteX7-719" fmla="*/ 4106456 w 9397013"/>
              <a:gd name="connsiteY7-720" fmla="*/ 55057 h 7291226"/>
              <a:gd name="connsiteX8-721" fmla="*/ 4585079 w 9397013"/>
              <a:gd name="connsiteY8-722" fmla="*/ 89119 h 7291226"/>
              <a:gd name="connsiteX9-723" fmla="*/ 488220 w 9397013"/>
              <a:gd name="connsiteY9-724" fmla="*/ 5484315 h 7291226"/>
              <a:gd name="connsiteX10-725" fmla="*/ 779421 w 9397013"/>
              <a:gd name="connsiteY10-726" fmla="*/ 6125606 h 7291226"/>
              <a:gd name="connsiteX11-727" fmla="*/ 618065 w 9397013"/>
              <a:gd name="connsiteY11-728" fmla="*/ 5770263 h 7291226"/>
              <a:gd name="connsiteX12-729" fmla="*/ 4897528 w 9397013"/>
              <a:gd name="connsiteY12-730" fmla="*/ 111354 h 7291226"/>
              <a:gd name="connsiteX13-731" fmla="*/ 5324893 w 9397013"/>
              <a:gd name="connsiteY13-732" fmla="*/ 141768 h 7291226"/>
              <a:gd name="connsiteX14-733" fmla="*/ 779421 w 9397013"/>
              <a:gd name="connsiteY14-734" fmla="*/ 6125606 h 7291226"/>
              <a:gd name="connsiteX15-735" fmla="*/ 1099910 w 9397013"/>
              <a:gd name="connsiteY15-736" fmla="*/ 6831395 h 7291226"/>
              <a:gd name="connsiteX16-737" fmla="*/ 919656 w 9397013"/>
              <a:gd name="connsiteY16-738" fmla="*/ 6434435 h 7291226"/>
              <a:gd name="connsiteX17-739" fmla="*/ 5668965 w 9397013"/>
              <a:gd name="connsiteY17-740" fmla="*/ 166254 h 7291226"/>
              <a:gd name="connsiteX18-741" fmla="*/ 6114044 w 9397013"/>
              <a:gd name="connsiteY18-742" fmla="*/ 197929 h 7291226"/>
              <a:gd name="connsiteX19-743" fmla="*/ 1099910 w 9397013"/>
              <a:gd name="connsiteY19-744" fmla="*/ 6831395 h 7291226"/>
              <a:gd name="connsiteX20-745" fmla="*/ 6968015 w 9397013"/>
              <a:gd name="connsiteY20-746" fmla="*/ 7143444 h 7291226"/>
              <a:gd name="connsiteX21-747" fmla="*/ 6670875 w 9397013"/>
              <a:gd name="connsiteY21-748" fmla="*/ 7291226 h 7291226"/>
              <a:gd name="connsiteX22-749" fmla="*/ 3849932 w 9397013"/>
              <a:gd name="connsiteY22-750" fmla="*/ 3596670 h 7291226"/>
              <a:gd name="connsiteX23-751" fmla="*/ 4086202 w 9397013"/>
              <a:gd name="connsiteY23-752" fmla="*/ 3287229 h 7291226"/>
              <a:gd name="connsiteX24-753" fmla="*/ 6968015 w 9397013"/>
              <a:gd name="connsiteY24-754" fmla="*/ 7143444 h 7291226"/>
              <a:gd name="connsiteX25-755" fmla="*/ 7777211 w 9397013"/>
              <a:gd name="connsiteY25-756" fmla="*/ 7124972 h 7291226"/>
              <a:gd name="connsiteX26-757" fmla="*/ 7324729 w 9397013"/>
              <a:gd name="connsiteY26-758" fmla="*/ 7124972 h 7291226"/>
              <a:gd name="connsiteX27-759" fmla="*/ 4245793 w 9397013"/>
              <a:gd name="connsiteY27-760" fmla="*/ 3078214 h 7291226"/>
              <a:gd name="connsiteX28-761" fmla="*/ 4490696 w 9397013"/>
              <a:gd name="connsiteY28-762" fmla="*/ 2757469 h 7291226"/>
              <a:gd name="connsiteX29-763" fmla="*/ 7777211 w 9397013"/>
              <a:gd name="connsiteY29-764" fmla="*/ 7124972 h 7291226"/>
              <a:gd name="connsiteX30-765" fmla="*/ 8567691 w 9397013"/>
              <a:gd name="connsiteY30-766" fmla="*/ 7124971 h 7291226"/>
              <a:gd name="connsiteX31-767" fmla="*/ 8159389 w 9397013"/>
              <a:gd name="connsiteY31-768" fmla="*/ 7134208 h 7291226"/>
              <a:gd name="connsiteX32-769" fmla="*/ 4650570 w 9397013"/>
              <a:gd name="connsiteY32-770" fmla="*/ 2548084 h 7291226"/>
              <a:gd name="connsiteX33-771" fmla="*/ 4869244 w 9397013"/>
              <a:gd name="connsiteY33-772" fmla="*/ 2261689 h 7291226"/>
              <a:gd name="connsiteX34-773" fmla="*/ 8567691 w 9397013"/>
              <a:gd name="connsiteY34-774" fmla="*/ 7124971 h 7291226"/>
              <a:gd name="connsiteX35-775" fmla="*/ 9397013 w 9397013"/>
              <a:gd name="connsiteY35-776" fmla="*/ 7134207 h 7291226"/>
              <a:gd name="connsiteX36-777" fmla="*/ 8921338 w 9397013"/>
              <a:gd name="connsiteY36-778" fmla="*/ 7115735 h 7291226"/>
              <a:gd name="connsiteX37-779" fmla="*/ 5045299 w 9397013"/>
              <a:gd name="connsiteY37-780" fmla="*/ 2031113 h 7291226"/>
              <a:gd name="connsiteX38-781" fmla="*/ 5273037 w 9397013"/>
              <a:gd name="connsiteY38-782" fmla="*/ 1732846 h 7291226"/>
              <a:gd name="connsiteX39-783" fmla="*/ 9397013 w 9397013"/>
              <a:gd name="connsiteY39-784" fmla="*/ 7134207 h 7291226"/>
              <a:gd name="connsiteX0-785" fmla="*/ 168369 w 9397013"/>
              <a:gd name="connsiteY0-786" fmla="*/ 4779933 h 7143444"/>
              <a:gd name="connsiteX1-787" fmla="*/ 0 w 9397013"/>
              <a:gd name="connsiteY1-788" fmla="*/ 4409146 h 7143444"/>
              <a:gd name="connsiteX2-789" fmla="*/ 3332806 w 9397013"/>
              <a:gd name="connsiteY2-790" fmla="*/ 0 h 7143444"/>
              <a:gd name="connsiteX3-791" fmla="*/ 3794560 w 9397013"/>
              <a:gd name="connsiteY3-792" fmla="*/ 32861 h 7143444"/>
              <a:gd name="connsiteX4-793" fmla="*/ 168369 w 9397013"/>
              <a:gd name="connsiteY4-794" fmla="*/ 4779933 h 7143444"/>
              <a:gd name="connsiteX5-795" fmla="*/ 488220 w 9397013"/>
              <a:gd name="connsiteY5-796" fmla="*/ 5484315 h 7143444"/>
              <a:gd name="connsiteX6-797" fmla="*/ 299082 w 9397013"/>
              <a:gd name="connsiteY6-798" fmla="*/ 5067791 h 7143444"/>
              <a:gd name="connsiteX7-799" fmla="*/ 4106456 w 9397013"/>
              <a:gd name="connsiteY7-800" fmla="*/ 55057 h 7143444"/>
              <a:gd name="connsiteX8-801" fmla="*/ 4585079 w 9397013"/>
              <a:gd name="connsiteY8-802" fmla="*/ 89119 h 7143444"/>
              <a:gd name="connsiteX9-803" fmla="*/ 488220 w 9397013"/>
              <a:gd name="connsiteY9-804" fmla="*/ 5484315 h 7143444"/>
              <a:gd name="connsiteX10-805" fmla="*/ 779421 w 9397013"/>
              <a:gd name="connsiteY10-806" fmla="*/ 6125606 h 7143444"/>
              <a:gd name="connsiteX11-807" fmla="*/ 618065 w 9397013"/>
              <a:gd name="connsiteY11-808" fmla="*/ 5770263 h 7143444"/>
              <a:gd name="connsiteX12-809" fmla="*/ 4897528 w 9397013"/>
              <a:gd name="connsiteY12-810" fmla="*/ 111354 h 7143444"/>
              <a:gd name="connsiteX13-811" fmla="*/ 5324893 w 9397013"/>
              <a:gd name="connsiteY13-812" fmla="*/ 141768 h 7143444"/>
              <a:gd name="connsiteX14-813" fmla="*/ 779421 w 9397013"/>
              <a:gd name="connsiteY14-814" fmla="*/ 6125606 h 7143444"/>
              <a:gd name="connsiteX15-815" fmla="*/ 1099910 w 9397013"/>
              <a:gd name="connsiteY15-816" fmla="*/ 6831395 h 7143444"/>
              <a:gd name="connsiteX16-817" fmla="*/ 919656 w 9397013"/>
              <a:gd name="connsiteY16-818" fmla="*/ 6434435 h 7143444"/>
              <a:gd name="connsiteX17-819" fmla="*/ 5668965 w 9397013"/>
              <a:gd name="connsiteY17-820" fmla="*/ 166254 h 7143444"/>
              <a:gd name="connsiteX18-821" fmla="*/ 6114044 w 9397013"/>
              <a:gd name="connsiteY18-822" fmla="*/ 197929 h 7143444"/>
              <a:gd name="connsiteX19-823" fmla="*/ 1099910 w 9397013"/>
              <a:gd name="connsiteY19-824" fmla="*/ 6831395 h 7143444"/>
              <a:gd name="connsiteX20-825" fmla="*/ 6968015 w 9397013"/>
              <a:gd name="connsiteY20-826" fmla="*/ 7143444 h 7143444"/>
              <a:gd name="connsiteX21-827" fmla="*/ 6550802 w 9397013"/>
              <a:gd name="connsiteY21-828" fmla="*/ 7143444 h 7143444"/>
              <a:gd name="connsiteX22-829" fmla="*/ 3849932 w 9397013"/>
              <a:gd name="connsiteY22-830" fmla="*/ 3596670 h 7143444"/>
              <a:gd name="connsiteX23-831" fmla="*/ 4086202 w 9397013"/>
              <a:gd name="connsiteY23-832" fmla="*/ 3287229 h 7143444"/>
              <a:gd name="connsiteX24-833" fmla="*/ 6968015 w 9397013"/>
              <a:gd name="connsiteY24-834" fmla="*/ 7143444 h 7143444"/>
              <a:gd name="connsiteX25-835" fmla="*/ 7777211 w 9397013"/>
              <a:gd name="connsiteY25-836" fmla="*/ 7124972 h 7143444"/>
              <a:gd name="connsiteX26-837" fmla="*/ 7324729 w 9397013"/>
              <a:gd name="connsiteY26-838" fmla="*/ 7124972 h 7143444"/>
              <a:gd name="connsiteX27-839" fmla="*/ 4245793 w 9397013"/>
              <a:gd name="connsiteY27-840" fmla="*/ 3078214 h 7143444"/>
              <a:gd name="connsiteX28-841" fmla="*/ 4490696 w 9397013"/>
              <a:gd name="connsiteY28-842" fmla="*/ 2757469 h 7143444"/>
              <a:gd name="connsiteX29-843" fmla="*/ 7777211 w 9397013"/>
              <a:gd name="connsiteY29-844" fmla="*/ 7124972 h 7143444"/>
              <a:gd name="connsiteX30-845" fmla="*/ 8567691 w 9397013"/>
              <a:gd name="connsiteY30-846" fmla="*/ 7124971 h 7143444"/>
              <a:gd name="connsiteX31-847" fmla="*/ 8159389 w 9397013"/>
              <a:gd name="connsiteY31-848" fmla="*/ 7134208 h 7143444"/>
              <a:gd name="connsiteX32-849" fmla="*/ 4650570 w 9397013"/>
              <a:gd name="connsiteY32-850" fmla="*/ 2548084 h 7143444"/>
              <a:gd name="connsiteX33-851" fmla="*/ 4869244 w 9397013"/>
              <a:gd name="connsiteY33-852" fmla="*/ 2261689 h 7143444"/>
              <a:gd name="connsiteX34-853" fmla="*/ 8567691 w 9397013"/>
              <a:gd name="connsiteY34-854" fmla="*/ 7124971 h 7143444"/>
              <a:gd name="connsiteX35-855" fmla="*/ 9397013 w 9397013"/>
              <a:gd name="connsiteY35-856" fmla="*/ 7134207 h 7143444"/>
              <a:gd name="connsiteX36-857" fmla="*/ 8921338 w 9397013"/>
              <a:gd name="connsiteY36-858" fmla="*/ 7115735 h 7143444"/>
              <a:gd name="connsiteX37-859" fmla="*/ 5045299 w 9397013"/>
              <a:gd name="connsiteY37-860" fmla="*/ 2031113 h 7143444"/>
              <a:gd name="connsiteX38-861" fmla="*/ 5273037 w 9397013"/>
              <a:gd name="connsiteY38-862" fmla="*/ 1732846 h 7143444"/>
              <a:gd name="connsiteX39-863" fmla="*/ 9397013 w 9397013"/>
              <a:gd name="connsiteY39-864" fmla="*/ 7134207 h 7143444"/>
              <a:gd name="connsiteX0-865" fmla="*/ 168369 w 9397013"/>
              <a:gd name="connsiteY0-866" fmla="*/ 4779933 h 7143444"/>
              <a:gd name="connsiteX1-867" fmla="*/ 0 w 9397013"/>
              <a:gd name="connsiteY1-868" fmla="*/ 4409146 h 7143444"/>
              <a:gd name="connsiteX2-869" fmla="*/ 3332806 w 9397013"/>
              <a:gd name="connsiteY2-870" fmla="*/ 0 h 7143444"/>
              <a:gd name="connsiteX3-871" fmla="*/ 3794560 w 9397013"/>
              <a:gd name="connsiteY3-872" fmla="*/ 32861 h 7143444"/>
              <a:gd name="connsiteX4-873" fmla="*/ 168369 w 9397013"/>
              <a:gd name="connsiteY4-874" fmla="*/ 4779933 h 7143444"/>
              <a:gd name="connsiteX5-875" fmla="*/ 488220 w 9397013"/>
              <a:gd name="connsiteY5-876" fmla="*/ 5484315 h 7143444"/>
              <a:gd name="connsiteX6-877" fmla="*/ 299082 w 9397013"/>
              <a:gd name="connsiteY6-878" fmla="*/ 5067791 h 7143444"/>
              <a:gd name="connsiteX7-879" fmla="*/ 4106456 w 9397013"/>
              <a:gd name="connsiteY7-880" fmla="*/ 55057 h 7143444"/>
              <a:gd name="connsiteX8-881" fmla="*/ 4585079 w 9397013"/>
              <a:gd name="connsiteY8-882" fmla="*/ 89119 h 7143444"/>
              <a:gd name="connsiteX9-883" fmla="*/ 488220 w 9397013"/>
              <a:gd name="connsiteY9-884" fmla="*/ 5484315 h 7143444"/>
              <a:gd name="connsiteX10-885" fmla="*/ 779421 w 9397013"/>
              <a:gd name="connsiteY10-886" fmla="*/ 6125606 h 7143444"/>
              <a:gd name="connsiteX11-887" fmla="*/ 618065 w 9397013"/>
              <a:gd name="connsiteY11-888" fmla="*/ 5770263 h 7143444"/>
              <a:gd name="connsiteX12-889" fmla="*/ 4897528 w 9397013"/>
              <a:gd name="connsiteY12-890" fmla="*/ 111354 h 7143444"/>
              <a:gd name="connsiteX13-891" fmla="*/ 5324893 w 9397013"/>
              <a:gd name="connsiteY13-892" fmla="*/ 141768 h 7143444"/>
              <a:gd name="connsiteX14-893" fmla="*/ 779421 w 9397013"/>
              <a:gd name="connsiteY14-894" fmla="*/ 6125606 h 7143444"/>
              <a:gd name="connsiteX15-895" fmla="*/ 1099910 w 9397013"/>
              <a:gd name="connsiteY15-896" fmla="*/ 6831395 h 7143444"/>
              <a:gd name="connsiteX16-897" fmla="*/ 919656 w 9397013"/>
              <a:gd name="connsiteY16-898" fmla="*/ 6434435 h 7143444"/>
              <a:gd name="connsiteX17-899" fmla="*/ 5668965 w 9397013"/>
              <a:gd name="connsiteY17-900" fmla="*/ 166254 h 7143444"/>
              <a:gd name="connsiteX18-901" fmla="*/ 6114044 w 9397013"/>
              <a:gd name="connsiteY18-902" fmla="*/ 197929 h 7143444"/>
              <a:gd name="connsiteX19-903" fmla="*/ 1099910 w 9397013"/>
              <a:gd name="connsiteY19-904" fmla="*/ 6831395 h 7143444"/>
              <a:gd name="connsiteX20-905" fmla="*/ 6958778 w 9397013"/>
              <a:gd name="connsiteY20-906" fmla="*/ 7124971 h 7143444"/>
              <a:gd name="connsiteX21-907" fmla="*/ 6550802 w 9397013"/>
              <a:gd name="connsiteY21-908" fmla="*/ 7143444 h 7143444"/>
              <a:gd name="connsiteX22-909" fmla="*/ 3849932 w 9397013"/>
              <a:gd name="connsiteY22-910" fmla="*/ 3596670 h 7143444"/>
              <a:gd name="connsiteX23-911" fmla="*/ 4086202 w 9397013"/>
              <a:gd name="connsiteY23-912" fmla="*/ 3287229 h 7143444"/>
              <a:gd name="connsiteX24-913" fmla="*/ 6958778 w 9397013"/>
              <a:gd name="connsiteY24-914" fmla="*/ 7124971 h 7143444"/>
              <a:gd name="connsiteX25-915" fmla="*/ 7777211 w 9397013"/>
              <a:gd name="connsiteY25-916" fmla="*/ 7124972 h 7143444"/>
              <a:gd name="connsiteX26-917" fmla="*/ 7324729 w 9397013"/>
              <a:gd name="connsiteY26-918" fmla="*/ 7124972 h 7143444"/>
              <a:gd name="connsiteX27-919" fmla="*/ 4245793 w 9397013"/>
              <a:gd name="connsiteY27-920" fmla="*/ 3078214 h 7143444"/>
              <a:gd name="connsiteX28-921" fmla="*/ 4490696 w 9397013"/>
              <a:gd name="connsiteY28-922" fmla="*/ 2757469 h 7143444"/>
              <a:gd name="connsiteX29-923" fmla="*/ 7777211 w 9397013"/>
              <a:gd name="connsiteY29-924" fmla="*/ 7124972 h 7143444"/>
              <a:gd name="connsiteX30-925" fmla="*/ 8567691 w 9397013"/>
              <a:gd name="connsiteY30-926" fmla="*/ 7124971 h 7143444"/>
              <a:gd name="connsiteX31-927" fmla="*/ 8159389 w 9397013"/>
              <a:gd name="connsiteY31-928" fmla="*/ 7134208 h 7143444"/>
              <a:gd name="connsiteX32-929" fmla="*/ 4650570 w 9397013"/>
              <a:gd name="connsiteY32-930" fmla="*/ 2548084 h 7143444"/>
              <a:gd name="connsiteX33-931" fmla="*/ 4869244 w 9397013"/>
              <a:gd name="connsiteY33-932" fmla="*/ 2261689 h 7143444"/>
              <a:gd name="connsiteX34-933" fmla="*/ 8567691 w 9397013"/>
              <a:gd name="connsiteY34-934" fmla="*/ 7124971 h 7143444"/>
              <a:gd name="connsiteX35-935" fmla="*/ 9397013 w 9397013"/>
              <a:gd name="connsiteY35-936" fmla="*/ 7134207 h 7143444"/>
              <a:gd name="connsiteX36-937" fmla="*/ 8921338 w 9397013"/>
              <a:gd name="connsiteY36-938" fmla="*/ 7115735 h 7143444"/>
              <a:gd name="connsiteX37-939" fmla="*/ 5045299 w 9397013"/>
              <a:gd name="connsiteY37-940" fmla="*/ 2031113 h 7143444"/>
              <a:gd name="connsiteX38-941" fmla="*/ 5273037 w 9397013"/>
              <a:gd name="connsiteY38-942" fmla="*/ 1732846 h 7143444"/>
              <a:gd name="connsiteX39-943" fmla="*/ 9397013 w 9397013"/>
              <a:gd name="connsiteY39-944" fmla="*/ 7134207 h 7143444"/>
              <a:gd name="connsiteX0-945" fmla="*/ 168369 w 9397013"/>
              <a:gd name="connsiteY0-946" fmla="*/ 4779933 h 7134208"/>
              <a:gd name="connsiteX1-947" fmla="*/ 0 w 9397013"/>
              <a:gd name="connsiteY1-948" fmla="*/ 4409146 h 7134208"/>
              <a:gd name="connsiteX2-949" fmla="*/ 3332806 w 9397013"/>
              <a:gd name="connsiteY2-950" fmla="*/ 0 h 7134208"/>
              <a:gd name="connsiteX3-951" fmla="*/ 3794560 w 9397013"/>
              <a:gd name="connsiteY3-952" fmla="*/ 32861 h 7134208"/>
              <a:gd name="connsiteX4-953" fmla="*/ 168369 w 9397013"/>
              <a:gd name="connsiteY4-954" fmla="*/ 4779933 h 7134208"/>
              <a:gd name="connsiteX5-955" fmla="*/ 488220 w 9397013"/>
              <a:gd name="connsiteY5-956" fmla="*/ 5484315 h 7134208"/>
              <a:gd name="connsiteX6-957" fmla="*/ 299082 w 9397013"/>
              <a:gd name="connsiteY6-958" fmla="*/ 5067791 h 7134208"/>
              <a:gd name="connsiteX7-959" fmla="*/ 4106456 w 9397013"/>
              <a:gd name="connsiteY7-960" fmla="*/ 55057 h 7134208"/>
              <a:gd name="connsiteX8-961" fmla="*/ 4585079 w 9397013"/>
              <a:gd name="connsiteY8-962" fmla="*/ 89119 h 7134208"/>
              <a:gd name="connsiteX9-963" fmla="*/ 488220 w 9397013"/>
              <a:gd name="connsiteY9-964" fmla="*/ 5484315 h 7134208"/>
              <a:gd name="connsiteX10-965" fmla="*/ 779421 w 9397013"/>
              <a:gd name="connsiteY10-966" fmla="*/ 6125606 h 7134208"/>
              <a:gd name="connsiteX11-967" fmla="*/ 618065 w 9397013"/>
              <a:gd name="connsiteY11-968" fmla="*/ 5770263 h 7134208"/>
              <a:gd name="connsiteX12-969" fmla="*/ 4897528 w 9397013"/>
              <a:gd name="connsiteY12-970" fmla="*/ 111354 h 7134208"/>
              <a:gd name="connsiteX13-971" fmla="*/ 5324893 w 9397013"/>
              <a:gd name="connsiteY13-972" fmla="*/ 141768 h 7134208"/>
              <a:gd name="connsiteX14-973" fmla="*/ 779421 w 9397013"/>
              <a:gd name="connsiteY14-974" fmla="*/ 6125606 h 7134208"/>
              <a:gd name="connsiteX15-975" fmla="*/ 1099910 w 9397013"/>
              <a:gd name="connsiteY15-976" fmla="*/ 6831395 h 7134208"/>
              <a:gd name="connsiteX16-977" fmla="*/ 919656 w 9397013"/>
              <a:gd name="connsiteY16-978" fmla="*/ 6434435 h 7134208"/>
              <a:gd name="connsiteX17-979" fmla="*/ 5668965 w 9397013"/>
              <a:gd name="connsiteY17-980" fmla="*/ 166254 h 7134208"/>
              <a:gd name="connsiteX18-981" fmla="*/ 6114044 w 9397013"/>
              <a:gd name="connsiteY18-982" fmla="*/ 197929 h 7134208"/>
              <a:gd name="connsiteX19-983" fmla="*/ 1099910 w 9397013"/>
              <a:gd name="connsiteY19-984" fmla="*/ 6831395 h 7134208"/>
              <a:gd name="connsiteX20-985" fmla="*/ 6958778 w 9397013"/>
              <a:gd name="connsiteY20-986" fmla="*/ 7124971 h 7134208"/>
              <a:gd name="connsiteX21-987" fmla="*/ 6541566 w 9397013"/>
              <a:gd name="connsiteY21-988" fmla="*/ 7115735 h 7134208"/>
              <a:gd name="connsiteX22-989" fmla="*/ 3849932 w 9397013"/>
              <a:gd name="connsiteY22-990" fmla="*/ 3596670 h 7134208"/>
              <a:gd name="connsiteX23-991" fmla="*/ 4086202 w 9397013"/>
              <a:gd name="connsiteY23-992" fmla="*/ 3287229 h 7134208"/>
              <a:gd name="connsiteX24-993" fmla="*/ 6958778 w 9397013"/>
              <a:gd name="connsiteY24-994" fmla="*/ 7124971 h 7134208"/>
              <a:gd name="connsiteX25-995" fmla="*/ 7777211 w 9397013"/>
              <a:gd name="connsiteY25-996" fmla="*/ 7124972 h 7134208"/>
              <a:gd name="connsiteX26-997" fmla="*/ 7324729 w 9397013"/>
              <a:gd name="connsiteY26-998" fmla="*/ 7124972 h 7134208"/>
              <a:gd name="connsiteX27-999" fmla="*/ 4245793 w 9397013"/>
              <a:gd name="connsiteY27-1000" fmla="*/ 3078214 h 7134208"/>
              <a:gd name="connsiteX28-1001" fmla="*/ 4490696 w 9397013"/>
              <a:gd name="connsiteY28-1002" fmla="*/ 2757469 h 7134208"/>
              <a:gd name="connsiteX29-1003" fmla="*/ 7777211 w 9397013"/>
              <a:gd name="connsiteY29-1004" fmla="*/ 7124972 h 7134208"/>
              <a:gd name="connsiteX30-1005" fmla="*/ 8567691 w 9397013"/>
              <a:gd name="connsiteY30-1006" fmla="*/ 7124971 h 7134208"/>
              <a:gd name="connsiteX31-1007" fmla="*/ 8159389 w 9397013"/>
              <a:gd name="connsiteY31-1008" fmla="*/ 7134208 h 7134208"/>
              <a:gd name="connsiteX32-1009" fmla="*/ 4650570 w 9397013"/>
              <a:gd name="connsiteY32-1010" fmla="*/ 2548084 h 7134208"/>
              <a:gd name="connsiteX33-1011" fmla="*/ 4869244 w 9397013"/>
              <a:gd name="connsiteY33-1012" fmla="*/ 2261689 h 7134208"/>
              <a:gd name="connsiteX34-1013" fmla="*/ 8567691 w 9397013"/>
              <a:gd name="connsiteY34-1014" fmla="*/ 7124971 h 7134208"/>
              <a:gd name="connsiteX35-1015" fmla="*/ 9397013 w 9397013"/>
              <a:gd name="connsiteY35-1016" fmla="*/ 7134207 h 7134208"/>
              <a:gd name="connsiteX36-1017" fmla="*/ 8921338 w 9397013"/>
              <a:gd name="connsiteY36-1018" fmla="*/ 7115735 h 7134208"/>
              <a:gd name="connsiteX37-1019" fmla="*/ 5045299 w 9397013"/>
              <a:gd name="connsiteY37-1020" fmla="*/ 2031113 h 7134208"/>
              <a:gd name="connsiteX38-1021" fmla="*/ 5273037 w 9397013"/>
              <a:gd name="connsiteY38-1022" fmla="*/ 1732846 h 7134208"/>
              <a:gd name="connsiteX39-1023" fmla="*/ 9397013 w 9397013"/>
              <a:gd name="connsiteY39-1024" fmla="*/ 7134207 h 7134208"/>
              <a:gd name="connsiteX0-1025" fmla="*/ 168369 w 9397013"/>
              <a:gd name="connsiteY0-1026" fmla="*/ 4779933 h 7134208"/>
              <a:gd name="connsiteX1-1027" fmla="*/ 0 w 9397013"/>
              <a:gd name="connsiteY1-1028" fmla="*/ 4409146 h 7134208"/>
              <a:gd name="connsiteX2-1029" fmla="*/ 3332806 w 9397013"/>
              <a:gd name="connsiteY2-1030" fmla="*/ 0 h 7134208"/>
              <a:gd name="connsiteX3-1031" fmla="*/ 3794560 w 9397013"/>
              <a:gd name="connsiteY3-1032" fmla="*/ 32861 h 7134208"/>
              <a:gd name="connsiteX4-1033" fmla="*/ 168369 w 9397013"/>
              <a:gd name="connsiteY4-1034" fmla="*/ 4779933 h 7134208"/>
              <a:gd name="connsiteX5-1035" fmla="*/ 488220 w 9397013"/>
              <a:gd name="connsiteY5-1036" fmla="*/ 5484315 h 7134208"/>
              <a:gd name="connsiteX6-1037" fmla="*/ 299082 w 9397013"/>
              <a:gd name="connsiteY6-1038" fmla="*/ 5067791 h 7134208"/>
              <a:gd name="connsiteX7-1039" fmla="*/ 4106456 w 9397013"/>
              <a:gd name="connsiteY7-1040" fmla="*/ 55057 h 7134208"/>
              <a:gd name="connsiteX8-1041" fmla="*/ 4585079 w 9397013"/>
              <a:gd name="connsiteY8-1042" fmla="*/ 89119 h 7134208"/>
              <a:gd name="connsiteX9-1043" fmla="*/ 488220 w 9397013"/>
              <a:gd name="connsiteY9-1044" fmla="*/ 5484315 h 7134208"/>
              <a:gd name="connsiteX10-1045" fmla="*/ 779421 w 9397013"/>
              <a:gd name="connsiteY10-1046" fmla="*/ 6125606 h 7134208"/>
              <a:gd name="connsiteX11-1047" fmla="*/ 618065 w 9397013"/>
              <a:gd name="connsiteY11-1048" fmla="*/ 5770263 h 7134208"/>
              <a:gd name="connsiteX12-1049" fmla="*/ 4897528 w 9397013"/>
              <a:gd name="connsiteY12-1050" fmla="*/ 111354 h 7134208"/>
              <a:gd name="connsiteX13-1051" fmla="*/ 5324893 w 9397013"/>
              <a:gd name="connsiteY13-1052" fmla="*/ 141768 h 7134208"/>
              <a:gd name="connsiteX14-1053" fmla="*/ 779421 w 9397013"/>
              <a:gd name="connsiteY14-1054" fmla="*/ 6125606 h 7134208"/>
              <a:gd name="connsiteX15-1055" fmla="*/ 1099910 w 9397013"/>
              <a:gd name="connsiteY15-1056" fmla="*/ 6831395 h 7134208"/>
              <a:gd name="connsiteX16-1057" fmla="*/ 919656 w 9397013"/>
              <a:gd name="connsiteY16-1058" fmla="*/ 6434435 h 7134208"/>
              <a:gd name="connsiteX17-1059" fmla="*/ 5668965 w 9397013"/>
              <a:gd name="connsiteY17-1060" fmla="*/ 166254 h 7134208"/>
              <a:gd name="connsiteX18-1061" fmla="*/ 6114044 w 9397013"/>
              <a:gd name="connsiteY18-1062" fmla="*/ 197929 h 7134208"/>
              <a:gd name="connsiteX19-1063" fmla="*/ 1099910 w 9397013"/>
              <a:gd name="connsiteY19-1064" fmla="*/ 6831395 h 7134208"/>
              <a:gd name="connsiteX20-1065" fmla="*/ 6958778 w 9397013"/>
              <a:gd name="connsiteY20-1066" fmla="*/ 7124971 h 7134208"/>
              <a:gd name="connsiteX21-1067" fmla="*/ 6560038 w 9397013"/>
              <a:gd name="connsiteY21-1068" fmla="*/ 7134207 h 7134208"/>
              <a:gd name="connsiteX22-1069" fmla="*/ 3849932 w 9397013"/>
              <a:gd name="connsiteY22-1070" fmla="*/ 3596670 h 7134208"/>
              <a:gd name="connsiteX23-1071" fmla="*/ 4086202 w 9397013"/>
              <a:gd name="connsiteY23-1072" fmla="*/ 3287229 h 7134208"/>
              <a:gd name="connsiteX24-1073" fmla="*/ 6958778 w 9397013"/>
              <a:gd name="connsiteY24-1074" fmla="*/ 7124971 h 7134208"/>
              <a:gd name="connsiteX25-1075" fmla="*/ 7777211 w 9397013"/>
              <a:gd name="connsiteY25-1076" fmla="*/ 7124972 h 7134208"/>
              <a:gd name="connsiteX26-1077" fmla="*/ 7324729 w 9397013"/>
              <a:gd name="connsiteY26-1078" fmla="*/ 7124972 h 7134208"/>
              <a:gd name="connsiteX27-1079" fmla="*/ 4245793 w 9397013"/>
              <a:gd name="connsiteY27-1080" fmla="*/ 3078214 h 7134208"/>
              <a:gd name="connsiteX28-1081" fmla="*/ 4490696 w 9397013"/>
              <a:gd name="connsiteY28-1082" fmla="*/ 2757469 h 7134208"/>
              <a:gd name="connsiteX29-1083" fmla="*/ 7777211 w 9397013"/>
              <a:gd name="connsiteY29-1084" fmla="*/ 7124972 h 7134208"/>
              <a:gd name="connsiteX30-1085" fmla="*/ 8567691 w 9397013"/>
              <a:gd name="connsiteY30-1086" fmla="*/ 7124971 h 7134208"/>
              <a:gd name="connsiteX31-1087" fmla="*/ 8159389 w 9397013"/>
              <a:gd name="connsiteY31-1088" fmla="*/ 7134208 h 7134208"/>
              <a:gd name="connsiteX32-1089" fmla="*/ 4650570 w 9397013"/>
              <a:gd name="connsiteY32-1090" fmla="*/ 2548084 h 7134208"/>
              <a:gd name="connsiteX33-1091" fmla="*/ 4869244 w 9397013"/>
              <a:gd name="connsiteY33-1092" fmla="*/ 2261689 h 7134208"/>
              <a:gd name="connsiteX34-1093" fmla="*/ 8567691 w 9397013"/>
              <a:gd name="connsiteY34-1094" fmla="*/ 7124971 h 7134208"/>
              <a:gd name="connsiteX35-1095" fmla="*/ 9397013 w 9397013"/>
              <a:gd name="connsiteY35-1096" fmla="*/ 7134207 h 7134208"/>
              <a:gd name="connsiteX36-1097" fmla="*/ 8921338 w 9397013"/>
              <a:gd name="connsiteY36-1098" fmla="*/ 7115735 h 7134208"/>
              <a:gd name="connsiteX37-1099" fmla="*/ 5045299 w 9397013"/>
              <a:gd name="connsiteY37-1100" fmla="*/ 2031113 h 7134208"/>
              <a:gd name="connsiteX38-1101" fmla="*/ 5273037 w 9397013"/>
              <a:gd name="connsiteY38-1102" fmla="*/ 1732846 h 7134208"/>
              <a:gd name="connsiteX39-1103" fmla="*/ 9397013 w 9397013"/>
              <a:gd name="connsiteY39-1104" fmla="*/ 7134207 h 7134208"/>
              <a:gd name="connsiteX0-1105" fmla="*/ 168369 w 9397013"/>
              <a:gd name="connsiteY0-1106" fmla="*/ 4779933 h 7134208"/>
              <a:gd name="connsiteX1-1107" fmla="*/ 0 w 9397013"/>
              <a:gd name="connsiteY1-1108" fmla="*/ 4409146 h 7134208"/>
              <a:gd name="connsiteX2-1109" fmla="*/ 3332806 w 9397013"/>
              <a:gd name="connsiteY2-1110" fmla="*/ 0 h 7134208"/>
              <a:gd name="connsiteX3-1111" fmla="*/ 3794560 w 9397013"/>
              <a:gd name="connsiteY3-1112" fmla="*/ 32861 h 7134208"/>
              <a:gd name="connsiteX4-1113" fmla="*/ 168369 w 9397013"/>
              <a:gd name="connsiteY4-1114" fmla="*/ 4779933 h 7134208"/>
              <a:gd name="connsiteX5-1115" fmla="*/ 488220 w 9397013"/>
              <a:gd name="connsiteY5-1116" fmla="*/ 5484315 h 7134208"/>
              <a:gd name="connsiteX6-1117" fmla="*/ 299082 w 9397013"/>
              <a:gd name="connsiteY6-1118" fmla="*/ 5067791 h 7134208"/>
              <a:gd name="connsiteX7-1119" fmla="*/ 4106456 w 9397013"/>
              <a:gd name="connsiteY7-1120" fmla="*/ 55057 h 7134208"/>
              <a:gd name="connsiteX8-1121" fmla="*/ 4585079 w 9397013"/>
              <a:gd name="connsiteY8-1122" fmla="*/ 89119 h 7134208"/>
              <a:gd name="connsiteX9-1123" fmla="*/ 488220 w 9397013"/>
              <a:gd name="connsiteY9-1124" fmla="*/ 5484315 h 7134208"/>
              <a:gd name="connsiteX10-1125" fmla="*/ 779421 w 9397013"/>
              <a:gd name="connsiteY10-1126" fmla="*/ 6125606 h 7134208"/>
              <a:gd name="connsiteX11-1127" fmla="*/ 618065 w 9397013"/>
              <a:gd name="connsiteY11-1128" fmla="*/ 5770263 h 7134208"/>
              <a:gd name="connsiteX12-1129" fmla="*/ 4897528 w 9397013"/>
              <a:gd name="connsiteY12-1130" fmla="*/ 111354 h 7134208"/>
              <a:gd name="connsiteX13-1131" fmla="*/ 5324893 w 9397013"/>
              <a:gd name="connsiteY13-1132" fmla="*/ 141768 h 7134208"/>
              <a:gd name="connsiteX14-1133" fmla="*/ 779421 w 9397013"/>
              <a:gd name="connsiteY14-1134" fmla="*/ 6125606 h 7134208"/>
              <a:gd name="connsiteX15-1135" fmla="*/ 1099910 w 9397013"/>
              <a:gd name="connsiteY15-1136" fmla="*/ 6831395 h 7134208"/>
              <a:gd name="connsiteX16-1137" fmla="*/ 919656 w 9397013"/>
              <a:gd name="connsiteY16-1138" fmla="*/ 6434435 h 7134208"/>
              <a:gd name="connsiteX17-1139" fmla="*/ 5668965 w 9397013"/>
              <a:gd name="connsiteY17-1140" fmla="*/ 166254 h 7134208"/>
              <a:gd name="connsiteX18-1141" fmla="*/ 6077099 w 9397013"/>
              <a:gd name="connsiteY18-1142" fmla="*/ 225638 h 7134208"/>
              <a:gd name="connsiteX19-1143" fmla="*/ 1099910 w 9397013"/>
              <a:gd name="connsiteY19-1144" fmla="*/ 6831395 h 7134208"/>
              <a:gd name="connsiteX20-1145" fmla="*/ 6958778 w 9397013"/>
              <a:gd name="connsiteY20-1146" fmla="*/ 7124971 h 7134208"/>
              <a:gd name="connsiteX21-1147" fmla="*/ 6560038 w 9397013"/>
              <a:gd name="connsiteY21-1148" fmla="*/ 7134207 h 7134208"/>
              <a:gd name="connsiteX22-1149" fmla="*/ 3849932 w 9397013"/>
              <a:gd name="connsiteY22-1150" fmla="*/ 3596670 h 7134208"/>
              <a:gd name="connsiteX23-1151" fmla="*/ 4086202 w 9397013"/>
              <a:gd name="connsiteY23-1152" fmla="*/ 3287229 h 7134208"/>
              <a:gd name="connsiteX24-1153" fmla="*/ 6958778 w 9397013"/>
              <a:gd name="connsiteY24-1154" fmla="*/ 7124971 h 7134208"/>
              <a:gd name="connsiteX25-1155" fmla="*/ 7777211 w 9397013"/>
              <a:gd name="connsiteY25-1156" fmla="*/ 7124972 h 7134208"/>
              <a:gd name="connsiteX26-1157" fmla="*/ 7324729 w 9397013"/>
              <a:gd name="connsiteY26-1158" fmla="*/ 7124972 h 7134208"/>
              <a:gd name="connsiteX27-1159" fmla="*/ 4245793 w 9397013"/>
              <a:gd name="connsiteY27-1160" fmla="*/ 3078214 h 7134208"/>
              <a:gd name="connsiteX28-1161" fmla="*/ 4490696 w 9397013"/>
              <a:gd name="connsiteY28-1162" fmla="*/ 2757469 h 7134208"/>
              <a:gd name="connsiteX29-1163" fmla="*/ 7777211 w 9397013"/>
              <a:gd name="connsiteY29-1164" fmla="*/ 7124972 h 7134208"/>
              <a:gd name="connsiteX30-1165" fmla="*/ 8567691 w 9397013"/>
              <a:gd name="connsiteY30-1166" fmla="*/ 7124971 h 7134208"/>
              <a:gd name="connsiteX31-1167" fmla="*/ 8159389 w 9397013"/>
              <a:gd name="connsiteY31-1168" fmla="*/ 7134208 h 7134208"/>
              <a:gd name="connsiteX32-1169" fmla="*/ 4650570 w 9397013"/>
              <a:gd name="connsiteY32-1170" fmla="*/ 2548084 h 7134208"/>
              <a:gd name="connsiteX33-1171" fmla="*/ 4869244 w 9397013"/>
              <a:gd name="connsiteY33-1172" fmla="*/ 2261689 h 7134208"/>
              <a:gd name="connsiteX34-1173" fmla="*/ 8567691 w 9397013"/>
              <a:gd name="connsiteY34-1174" fmla="*/ 7124971 h 7134208"/>
              <a:gd name="connsiteX35-1175" fmla="*/ 9397013 w 9397013"/>
              <a:gd name="connsiteY35-1176" fmla="*/ 7134207 h 7134208"/>
              <a:gd name="connsiteX36-1177" fmla="*/ 8921338 w 9397013"/>
              <a:gd name="connsiteY36-1178" fmla="*/ 7115735 h 7134208"/>
              <a:gd name="connsiteX37-1179" fmla="*/ 5045299 w 9397013"/>
              <a:gd name="connsiteY37-1180" fmla="*/ 2031113 h 7134208"/>
              <a:gd name="connsiteX38-1181" fmla="*/ 5273037 w 9397013"/>
              <a:gd name="connsiteY38-1182" fmla="*/ 1732846 h 7134208"/>
              <a:gd name="connsiteX39-1183" fmla="*/ 9397013 w 9397013"/>
              <a:gd name="connsiteY39-1184" fmla="*/ 7134207 h 7134208"/>
              <a:gd name="connsiteX0-1185" fmla="*/ 168369 w 9397013"/>
              <a:gd name="connsiteY0-1186" fmla="*/ 4779933 h 7134208"/>
              <a:gd name="connsiteX1-1187" fmla="*/ 0 w 9397013"/>
              <a:gd name="connsiteY1-1188" fmla="*/ 4409146 h 7134208"/>
              <a:gd name="connsiteX2-1189" fmla="*/ 3332806 w 9397013"/>
              <a:gd name="connsiteY2-1190" fmla="*/ 0 h 7134208"/>
              <a:gd name="connsiteX3-1191" fmla="*/ 3794560 w 9397013"/>
              <a:gd name="connsiteY3-1192" fmla="*/ 32861 h 7134208"/>
              <a:gd name="connsiteX4-1193" fmla="*/ 168369 w 9397013"/>
              <a:gd name="connsiteY4-1194" fmla="*/ 4779933 h 7134208"/>
              <a:gd name="connsiteX5-1195" fmla="*/ 488220 w 9397013"/>
              <a:gd name="connsiteY5-1196" fmla="*/ 5484315 h 7134208"/>
              <a:gd name="connsiteX6-1197" fmla="*/ 299082 w 9397013"/>
              <a:gd name="connsiteY6-1198" fmla="*/ 5067791 h 7134208"/>
              <a:gd name="connsiteX7-1199" fmla="*/ 4106456 w 9397013"/>
              <a:gd name="connsiteY7-1200" fmla="*/ 55057 h 7134208"/>
              <a:gd name="connsiteX8-1201" fmla="*/ 4585079 w 9397013"/>
              <a:gd name="connsiteY8-1202" fmla="*/ 89119 h 7134208"/>
              <a:gd name="connsiteX9-1203" fmla="*/ 488220 w 9397013"/>
              <a:gd name="connsiteY9-1204" fmla="*/ 5484315 h 7134208"/>
              <a:gd name="connsiteX10-1205" fmla="*/ 779421 w 9397013"/>
              <a:gd name="connsiteY10-1206" fmla="*/ 6125606 h 7134208"/>
              <a:gd name="connsiteX11-1207" fmla="*/ 618065 w 9397013"/>
              <a:gd name="connsiteY11-1208" fmla="*/ 5770263 h 7134208"/>
              <a:gd name="connsiteX12-1209" fmla="*/ 4897528 w 9397013"/>
              <a:gd name="connsiteY12-1210" fmla="*/ 111354 h 7134208"/>
              <a:gd name="connsiteX13-1211" fmla="*/ 5324893 w 9397013"/>
              <a:gd name="connsiteY13-1212" fmla="*/ 141768 h 7134208"/>
              <a:gd name="connsiteX14-1213" fmla="*/ 779421 w 9397013"/>
              <a:gd name="connsiteY14-1214" fmla="*/ 6125606 h 7134208"/>
              <a:gd name="connsiteX15-1215" fmla="*/ 1099910 w 9397013"/>
              <a:gd name="connsiteY15-1216" fmla="*/ 6831395 h 7134208"/>
              <a:gd name="connsiteX16-1217" fmla="*/ 919656 w 9397013"/>
              <a:gd name="connsiteY16-1218" fmla="*/ 6434435 h 7134208"/>
              <a:gd name="connsiteX17-1219" fmla="*/ 5613547 w 9397013"/>
              <a:gd name="connsiteY17-1220" fmla="*/ 240145 h 7134208"/>
              <a:gd name="connsiteX18-1221" fmla="*/ 6077099 w 9397013"/>
              <a:gd name="connsiteY18-1222" fmla="*/ 225638 h 7134208"/>
              <a:gd name="connsiteX19-1223" fmla="*/ 1099910 w 9397013"/>
              <a:gd name="connsiteY19-1224" fmla="*/ 6831395 h 7134208"/>
              <a:gd name="connsiteX20-1225" fmla="*/ 6958778 w 9397013"/>
              <a:gd name="connsiteY20-1226" fmla="*/ 7124971 h 7134208"/>
              <a:gd name="connsiteX21-1227" fmla="*/ 6560038 w 9397013"/>
              <a:gd name="connsiteY21-1228" fmla="*/ 7134207 h 7134208"/>
              <a:gd name="connsiteX22-1229" fmla="*/ 3849932 w 9397013"/>
              <a:gd name="connsiteY22-1230" fmla="*/ 3596670 h 7134208"/>
              <a:gd name="connsiteX23-1231" fmla="*/ 4086202 w 9397013"/>
              <a:gd name="connsiteY23-1232" fmla="*/ 3287229 h 7134208"/>
              <a:gd name="connsiteX24-1233" fmla="*/ 6958778 w 9397013"/>
              <a:gd name="connsiteY24-1234" fmla="*/ 7124971 h 7134208"/>
              <a:gd name="connsiteX25-1235" fmla="*/ 7777211 w 9397013"/>
              <a:gd name="connsiteY25-1236" fmla="*/ 7124972 h 7134208"/>
              <a:gd name="connsiteX26-1237" fmla="*/ 7324729 w 9397013"/>
              <a:gd name="connsiteY26-1238" fmla="*/ 7124972 h 7134208"/>
              <a:gd name="connsiteX27-1239" fmla="*/ 4245793 w 9397013"/>
              <a:gd name="connsiteY27-1240" fmla="*/ 3078214 h 7134208"/>
              <a:gd name="connsiteX28-1241" fmla="*/ 4490696 w 9397013"/>
              <a:gd name="connsiteY28-1242" fmla="*/ 2757469 h 7134208"/>
              <a:gd name="connsiteX29-1243" fmla="*/ 7777211 w 9397013"/>
              <a:gd name="connsiteY29-1244" fmla="*/ 7124972 h 7134208"/>
              <a:gd name="connsiteX30-1245" fmla="*/ 8567691 w 9397013"/>
              <a:gd name="connsiteY30-1246" fmla="*/ 7124971 h 7134208"/>
              <a:gd name="connsiteX31-1247" fmla="*/ 8159389 w 9397013"/>
              <a:gd name="connsiteY31-1248" fmla="*/ 7134208 h 7134208"/>
              <a:gd name="connsiteX32-1249" fmla="*/ 4650570 w 9397013"/>
              <a:gd name="connsiteY32-1250" fmla="*/ 2548084 h 7134208"/>
              <a:gd name="connsiteX33-1251" fmla="*/ 4869244 w 9397013"/>
              <a:gd name="connsiteY33-1252" fmla="*/ 2261689 h 7134208"/>
              <a:gd name="connsiteX34-1253" fmla="*/ 8567691 w 9397013"/>
              <a:gd name="connsiteY34-1254" fmla="*/ 7124971 h 7134208"/>
              <a:gd name="connsiteX35-1255" fmla="*/ 9397013 w 9397013"/>
              <a:gd name="connsiteY35-1256" fmla="*/ 7134207 h 7134208"/>
              <a:gd name="connsiteX36-1257" fmla="*/ 8921338 w 9397013"/>
              <a:gd name="connsiteY36-1258" fmla="*/ 7115735 h 7134208"/>
              <a:gd name="connsiteX37-1259" fmla="*/ 5045299 w 9397013"/>
              <a:gd name="connsiteY37-1260" fmla="*/ 2031113 h 7134208"/>
              <a:gd name="connsiteX38-1261" fmla="*/ 5273037 w 9397013"/>
              <a:gd name="connsiteY38-1262" fmla="*/ 1732846 h 7134208"/>
              <a:gd name="connsiteX39-1263" fmla="*/ 9397013 w 9397013"/>
              <a:gd name="connsiteY39-1264" fmla="*/ 7134207 h 7134208"/>
              <a:gd name="connsiteX0-1265" fmla="*/ 168369 w 9397013"/>
              <a:gd name="connsiteY0-1266" fmla="*/ 4779933 h 7134208"/>
              <a:gd name="connsiteX1-1267" fmla="*/ 0 w 9397013"/>
              <a:gd name="connsiteY1-1268" fmla="*/ 4409146 h 7134208"/>
              <a:gd name="connsiteX2-1269" fmla="*/ 3332806 w 9397013"/>
              <a:gd name="connsiteY2-1270" fmla="*/ 0 h 7134208"/>
              <a:gd name="connsiteX3-1271" fmla="*/ 3794560 w 9397013"/>
              <a:gd name="connsiteY3-1272" fmla="*/ 32861 h 7134208"/>
              <a:gd name="connsiteX4-1273" fmla="*/ 168369 w 9397013"/>
              <a:gd name="connsiteY4-1274" fmla="*/ 4779933 h 7134208"/>
              <a:gd name="connsiteX5-1275" fmla="*/ 488220 w 9397013"/>
              <a:gd name="connsiteY5-1276" fmla="*/ 5484315 h 7134208"/>
              <a:gd name="connsiteX6-1277" fmla="*/ 299082 w 9397013"/>
              <a:gd name="connsiteY6-1278" fmla="*/ 5067791 h 7134208"/>
              <a:gd name="connsiteX7-1279" fmla="*/ 4106456 w 9397013"/>
              <a:gd name="connsiteY7-1280" fmla="*/ 55057 h 7134208"/>
              <a:gd name="connsiteX8-1281" fmla="*/ 4585079 w 9397013"/>
              <a:gd name="connsiteY8-1282" fmla="*/ 89119 h 7134208"/>
              <a:gd name="connsiteX9-1283" fmla="*/ 488220 w 9397013"/>
              <a:gd name="connsiteY9-1284" fmla="*/ 5484315 h 7134208"/>
              <a:gd name="connsiteX10-1285" fmla="*/ 779421 w 9397013"/>
              <a:gd name="connsiteY10-1286" fmla="*/ 6125606 h 7134208"/>
              <a:gd name="connsiteX11-1287" fmla="*/ 618065 w 9397013"/>
              <a:gd name="connsiteY11-1288" fmla="*/ 5770263 h 7134208"/>
              <a:gd name="connsiteX12-1289" fmla="*/ 4897528 w 9397013"/>
              <a:gd name="connsiteY12-1290" fmla="*/ 111354 h 7134208"/>
              <a:gd name="connsiteX13-1291" fmla="*/ 5324893 w 9397013"/>
              <a:gd name="connsiteY13-1292" fmla="*/ 141768 h 7134208"/>
              <a:gd name="connsiteX14-1293" fmla="*/ 779421 w 9397013"/>
              <a:gd name="connsiteY14-1294" fmla="*/ 6125606 h 7134208"/>
              <a:gd name="connsiteX15-1295" fmla="*/ 1099910 w 9397013"/>
              <a:gd name="connsiteY15-1296" fmla="*/ 6831395 h 7134208"/>
              <a:gd name="connsiteX16-1297" fmla="*/ 919656 w 9397013"/>
              <a:gd name="connsiteY16-1298" fmla="*/ 6434435 h 7134208"/>
              <a:gd name="connsiteX17-1299" fmla="*/ 5641256 w 9397013"/>
              <a:gd name="connsiteY17-1300" fmla="*/ 212436 h 7134208"/>
              <a:gd name="connsiteX18-1301" fmla="*/ 6077099 w 9397013"/>
              <a:gd name="connsiteY18-1302" fmla="*/ 225638 h 7134208"/>
              <a:gd name="connsiteX19-1303" fmla="*/ 1099910 w 9397013"/>
              <a:gd name="connsiteY19-1304" fmla="*/ 6831395 h 7134208"/>
              <a:gd name="connsiteX20-1305" fmla="*/ 6958778 w 9397013"/>
              <a:gd name="connsiteY20-1306" fmla="*/ 7124971 h 7134208"/>
              <a:gd name="connsiteX21-1307" fmla="*/ 6560038 w 9397013"/>
              <a:gd name="connsiteY21-1308" fmla="*/ 7134207 h 7134208"/>
              <a:gd name="connsiteX22-1309" fmla="*/ 3849932 w 9397013"/>
              <a:gd name="connsiteY22-1310" fmla="*/ 3596670 h 7134208"/>
              <a:gd name="connsiteX23-1311" fmla="*/ 4086202 w 9397013"/>
              <a:gd name="connsiteY23-1312" fmla="*/ 3287229 h 7134208"/>
              <a:gd name="connsiteX24-1313" fmla="*/ 6958778 w 9397013"/>
              <a:gd name="connsiteY24-1314" fmla="*/ 7124971 h 7134208"/>
              <a:gd name="connsiteX25-1315" fmla="*/ 7777211 w 9397013"/>
              <a:gd name="connsiteY25-1316" fmla="*/ 7124972 h 7134208"/>
              <a:gd name="connsiteX26-1317" fmla="*/ 7324729 w 9397013"/>
              <a:gd name="connsiteY26-1318" fmla="*/ 7124972 h 7134208"/>
              <a:gd name="connsiteX27-1319" fmla="*/ 4245793 w 9397013"/>
              <a:gd name="connsiteY27-1320" fmla="*/ 3078214 h 7134208"/>
              <a:gd name="connsiteX28-1321" fmla="*/ 4490696 w 9397013"/>
              <a:gd name="connsiteY28-1322" fmla="*/ 2757469 h 7134208"/>
              <a:gd name="connsiteX29-1323" fmla="*/ 7777211 w 9397013"/>
              <a:gd name="connsiteY29-1324" fmla="*/ 7124972 h 7134208"/>
              <a:gd name="connsiteX30-1325" fmla="*/ 8567691 w 9397013"/>
              <a:gd name="connsiteY30-1326" fmla="*/ 7124971 h 7134208"/>
              <a:gd name="connsiteX31-1327" fmla="*/ 8159389 w 9397013"/>
              <a:gd name="connsiteY31-1328" fmla="*/ 7134208 h 7134208"/>
              <a:gd name="connsiteX32-1329" fmla="*/ 4650570 w 9397013"/>
              <a:gd name="connsiteY32-1330" fmla="*/ 2548084 h 7134208"/>
              <a:gd name="connsiteX33-1331" fmla="*/ 4869244 w 9397013"/>
              <a:gd name="connsiteY33-1332" fmla="*/ 2261689 h 7134208"/>
              <a:gd name="connsiteX34-1333" fmla="*/ 8567691 w 9397013"/>
              <a:gd name="connsiteY34-1334" fmla="*/ 7124971 h 7134208"/>
              <a:gd name="connsiteX35-1335" fmla="*/ 9397013 w 9397013"/>
              <a:gd name="connsiteY35-1336" fmla="*/ 7134207 h 7134208"/>
              <a:gd name="connsiteX36-1337" fmla="*/ 8921338 w 9397013"/>
              <a:gd name="connsiteY36-1338" fmla="*/ 7115735 h 7134208"/>
              <a:gd name="connsiteX37-1339" fmla="*/ 5045299 w 9397013"/>
              <a:gd name="connsiteY37-1340" fmla="*/ 2031113 h 7134208"/>
              <a:gd name="connsiteX38-1341" fmla="*/ 5273037 w 9397013"/>
              <a:gd name="connsiteY38-1342" fmla="*/ 1732846 h 7134208"/>
              <a:gd name="connsiteX39-1343" fmla="*/ 9397013 w 9397013"/>
              <a:gd name="connsiteY39-1344" fmla="*/ 7134207 h 7134208"/>
              <a:gd name="connsiteX0-1345" fmla="*/ 168369 w 9397013"/>
              <a:gd name="connsiteY0-1346" fmla="*/ 4779933 h 7134208"/>
              <a:gd name="connsiteX1-1347" fmla="*/ 0 w 9397013"/>
              <a:gd name="connsiteY1-1348" fmla="*/ 4409146 h 7134208"/>
              <a:gd name="connsiteX2-1349" fmla="*/ 3332806 w 9397013"/>
              <a:gd name="connsiteY2-1350" fmla="*/ 0 h 7134208"/>
              <a:gd name="connsiteX3-1351" fmla="*/ 3794560 w 9397013"/>
              <a:gd name="connsiteY3-1352" fmla="*/ 32861 h 7134208"/>
              <a:gd name="connsiteX4-1353" fmla="*/ 168369 w 9397013"/>
              <a:gd name="connsiteY4-1354" fmla="*/ 4779933 h 7134208"/>
              <a:gd name="connsiteX5-1355" fmla="*/ 488220 w 9397013"/>
              <a:gd name="connsiteY5-1356" fmla="*/ 5484315 h 7134208"/>
              <a:gd name="connsiteX6-1357" fmla="*/ 299082 w 9397013"/>
              <a:gd name="connsiteY6-1358" fmla="*/ 5067791 h 7134208"/>
              <a:gd name="connsiteX7-1359" fmla="*/ 4106456 w 9397013"/>
              <a:gd name="connsiteY7-1360" fmla="*/ 55057 h 7134208"/>
              <a:gd name="connsiteX8-1361" fmla="*/ 4585079 w 9397013"/>
              <a:gd name="connsiteY8-1362" fmla="*/ 89119 h 7134208"/>
              <a:gd name="connsiteX9-1363" fmla="*/ 488220 w 9397013"/>
              <a:gd name="connsiteY9-1364" fmla="*/ 5484315 h 7134208"/>
              <a:gd name="connsiteX10-1365" fmla="*/ 779421 w 9397013"/>
              <a:gd name="connsiteY10-1366" fmla="*/ 6125606 h 7134208"/>
              <a:gd name="connsiteX11-1367" fmla="*/ 618065 w 9397013"/>
              <a:gd name="connsiteY11-1368" fmla="*/ 5770263 h 7134208"/>
              <a:gd name="connsiteX12-1369" fmla="*/ 4897528 w 9397013"/>
              <a:gd name="connsiteY12-1370" fmla="*/ 111354 h 7134208"/>
              <a:gd name="connsiteX13-1371" fmla="*/ 5260238 w 9397013"/>
              <a:gd name="connsiteY13-1372" fmla="*/ 234131 h 7134208"/>
              <a:gd name="connsiteX14-1373" fmla="*/ 779421 w 9397013"/>
              <a:gd name="connsiteY14-1374" fmla="*/ 6125606 h 7134208"/>
              <a:gd name="connsiteX15-1375" fmla="*/ 1099910 w 9397013"/>
              <a:gd name="connsiteY15-1376" fmla="*/ 6831395 h 7134208"/>
              <a:gd name="connsiteX16-1377" fmla="*/ 919656 w 9397013"/>
              <a:gd name="connsiteY16-1378" fmla="*/ 6434435 h 7134208"/>
              <a:gd name="connsiteX17-1379" fmla="*/ 5641256 w 9397013"/>
              <a:gd name="connsiteY17-1380" fmla="*/ 212436 h 7134208"/>
              <a:gd name="connsiteX18-1381" fmla="*/ 6077099 w 9397013"/>
              <a:gd name="connsiteY18-1382" fmla="*/ 225638 h 7134208"/>
              <a:gd name="connsiteX19-1383" fmla="*/ 1099910 w 9397013"/>
              <a:gd name="connsiteY19-1384" fmla="*/ 6831395 h 7134208"/>
              <a:gd name="connsiteX20-1385" fmla="*/ 6958778 w 9397013"/>
              <a:gd name="connsiteY20-1386" fmla="*/ 7124971 h 7134208"/>
              <a:gd name="connsiteX21-1387" fmla="*/ 6560038 w 9397013"/>
              <a:gd name="connsiteY21-1388" fmla="*/ 7134207 h 7134208"/>
              <a:gd name="connsiteX22-1389" fmla="*/ 3849932 w 9397013"/>
              <a:gd name="connsiteY22-1390" fmla="*/ 3596670 h 7134208"/>
              <a:gd name="connsiteX23-1391" fmla="*/ 4086202 w 9397013"/>
              <a:gd name="connsiteY23-1392" fmla="*/ 3287229 h 7134208"/>
              <a:gd name="connsiteX24-1393" fmla="*/ 6958778 w 9397013"/>
              <a:gd name="connsiteY24-1394" fmla="*/ 7124971 h 7134208"/>
              <a:gd name="connsiteX25-1395" fmla="*/ 7777211 w 9397013"/>
              <a:gd name="connsiteY25-1396" fmla="*/ 7124972 h 7134208"/>
              <a:gd name="connsiteX26-1397" fmla="*/ 7324729 w 9397013"/>
              <a:gd name="connsiteY26-1398" fmla="*/ 7124972 h 7134208"/>
              <a:gd name="connsiteX27-1399" fmla="*/ 4245793 w 9397013"/>
              <a:gd name="connsiteY27-1400" fmla="*/ 3078214 h 7134208"/>
              <a:gd name="connsiteX28-1401" fmla="*/ 4490696 w 9397013"/>
              <a:gd name="connsiteY28-1402" fmla="*/ 2757469 h 7134208"/>
              <a:gd name="connsiteX29-1403" fmla="*/ 7777211 w 9397013"/>
              <a:gd name="connsiteY29-1404" fmla="*/ 7124972 h 7134208"/>
              <a:gd name="connsiteX30-1405" fmla="*/ 8567691 w 9397013"/>
              <a:gd name="connsiteY30-1406" fmla="*/ 7124971 h 7134208"/>
              <a:gd name="connsiteX31-1407" fmla="*/ 8159389 w 9397013"/>
              <a:gd name="connsiteY31-1408" fmla="*/ 7134208 h 7134208"/>
              <a:gd name="connsiteX32-1409" fmla="*/ 4650570 w 9397013"/>
              <a:gd name="connsiteY32-1410" fmla="*/ 2548084 h 7134208"/>
              <a:gd name="connsiteX33-1411" fmla="*/ 4869244 w 9397013"/>
              <a:gd name="connsiteY33-1412" fmla="*/ 2261689 h 7134208"/>
              <a:gd name="connsiteX34-1413" fmla="*/ 8567691 w 9397013"/>
              <a:gd name="connsiteY34-1414" fmla="*/ 7124971 h 7134208"/>
              <a:gd name="connsiteX35-1415" fmla="*/ 9397013 w 9397013"/>
              <a:gd name="connsiteY35-1416" fmla="*/ 7134207 h 7134208"/>
              <a:gd name="connsiteX36-1417" fmla="*/ 8921338 w 9397013"/>
              <a:gd name="connsiteY36-1418" fmla="*/ 7115735 h 7134208"/>
              <a:gd name="connsiteX37-1419" fmla="*/ 5045299 w 9397013"/>
              <a:gd name="connsiteY37-1420" fmla="*/ 2031113 h 7134208"/>
              <a:gd name="connsiteX38-1421" fmla="*/ 5273037 w 9397013"/>
              <a:gd name="connsiteY38-1422" fmla="*/ 1732846 h 7134208"/>
              <a:gd name="connsiteX39-1423" fmla="*/ 9397013 w 9397013"/>
              <a:gd name="connsiteY39-1424" fmla="*/ 7134207 h 7134208"/>
              <a:gd name="connsiteX0-1425" fmla="*/ 168369 w 9397013"/>
              <a:gd name="connsiteY0-1426" fmla="*/ 4779933 h 7134208"/>
              <a:gd name="connsiteX1-1427" fmla="*/ 0 w 9397013"/>
              <a:gd name="connsiteY1-1428" fmla="*/ 4409146 h 7134208"/>
              <a:gd name="connsiteX2-1429" fmla="*/ 3332806 w 9397013"/>
              <a:gd name="connsiteY2-1430" fmla="*/ 0 h 7134208"/>
              <a:gd name="connsiteX3-1431" fmla="*/ 3794560 w 9397013"/>
              <a:gd name="connsiteY3-1432" fmla="*/ 32861 h 7134208"/>
              <a:gd name="connsiteX4-1433" fmla="*/ 168369 w 9397013"/>
              <a:gd name="connsiteY4-1434" fmla="*/ 4779933 h 7134208"/>
              <a:gd name="connsiteX5-1435" fmla="*/ 488220 w 9397013"/>
              <a:gd name="connsiteY5-1436" fmla="*/ 5484315 h 7134208"/>
              <a:gd name="connsiteX6-1437" fmla="*/ 299082 w 9397013"/>
              <a:gd name="connsiteY6-1438" fmla="*/ 5067791 h 7134208"/>
              <a:gd name="connsiteX7-1439" fmla="*/ 4106456 w 9397013"/>
              <a:gd name="connsiteY7-1440" fmla="*/ 55057 h 7134208"/>
              <a:gd name="connsiteX8-1441" fmla="*/ 4585079 w 9397013"/>
              <a:gd name="connsiteY8-1442" fmla="*/ 89119 h 7134208"/>
              <a:gd name="connsiteX9-1443" fmla="*/ 488220 w 9397013"/>
              <a:gd name="connsiteY9-1444" fmla="*/ 5484315 h 7134208"/>
              <a:gd name="connsiteX10-1445" fmla="*/ 779421 w 9397013"/>
              <a:gd name="connsiteY10-1446" fmla="*/ 6125606 h 7134208"/>
              <a:gd name="connsiteX11-1447" fmla="*/ 618065 w 9397013"/>
              <a:gd name="connsiteY11-1448" fmla="*/ 5770263 h 7134208"/>
              <a:gd name="connsiteX12-1449" fmla="*/ 4805164 w 9397013"/>
              <a:gd name="connsiteY12-1450" fmla="*/ 212954 h 7134208"/>
              <a:gd name="connsiteX13-1451" fmla="*/ 5260238 w 9397013"/>
              <a:gd name="connsiteY13-1452" fmla="*/ 234131 h 7134208"/>
              <a:gd name="connsiteX14-1453" fmla="*/ 779421 w 9397013"/>
              <a:gd name="connsiteY14-1454" fmla="*/ 6125606 h 7134208"/>
              <a:gd name="connsiteX15-1455" fmla="*/ 1099910 w 9397013"/>
              <a:gd name="connsiteY15-1456" fmla="*/ 6831395 h 7134208"/>
              <a:gd name="connsiteX16-1457" fmla="*/ 919656 w 9397013"/>
              <a:gd name="connsiteY16-1458" fmla="*/ 6434435 h 7134208"/>
              <a:gd name="connsiteX17-1459" fmla="*/ 5641256 w 9397013"/>
              <a:gd name="connsiteY17-1460" fmla="*/ 212436 h 7134208"/>
              <a:gd name="connsiteX18-1461" fmla="*/ 6077099 w 9397013"/>
              <a:gd name="connsiteY18-1462" fmla="*/ 225638 h 7134208"/>
              <a:gd name="connsiteX19-1463" fmla="*/ 1099910 w 9397013"/>
              <a:gd name="connsiteY19-1464" fmla="*/ 6831395 h 7134208"/>
              <a:gd name="connsiteX20-1465" fmla="*/ 6958778 w 9397013"/>
              <a:gd name="connsiteY20-1466" fmla="*/ 7124971 h 7134208"/>
              <a:gd name="connsiteX21-1467" fmla="*/ 6560038 w 9397013"/>
              <a:gd name="connsiteY21-1468" fmla="*/ 7134207 h 7134208"/>
              <a:gd name="connsiteX22-1469" fmla="*/ 3849932 w 9397013"/>
              <a:gd name="connsiteY22-1470" fmla="*/ 3596670 h 7134208"/>
              <a:gd name="connsiteX23-1471" fmla="*/ 4086202 w 9397013"/>
              <a:gd name="connsiteY23-1472" fmla="*/ 3287229 h 7134208"/>
              <a:gd name="connsiteX24-1473" fmla="*/ 6958778 w 9397013"/>
              <a:gd name="connsiteY24-1474" fmla="*/ 7124971 h 7134208"/>
              <a:gd name="connsiteX25-1475" fmla="*/ 7777211 w 9397013"/>
              <a:gd name="connsiteY25-1476" fmla="*/ 7124972 h 7134208"/>
              <a:gd name="connsiteX26-1477" fmla="*/ 7324729 w 9397013"/>
              <a:gd name="connsiteY26-1478" fmla="*/ 7124972 h 7134208"/>
              <a:gd name="connsiteX27-1479" fmla="*/ 4245793 w 9397013"/>
              <a:gd name="connsiteY27-1480" fmla="*/ 3078214 h 7134208"/>
              <a:gd name="connsiteX28-1481" fmla="*/ 4490696 w 9397013"/>
              <a:gd name="connsiteY28-1482" fmla="*/ 2757469 h 7134208"/>
              <a:gd name="connsiteX29-1483" fmla="*/ 7777211 w 9397013"/>
              <a:gd name="connsiteY29-1484" fmla="*/ 7124972 h 7134208"/>
              <a:gd name="connsiteX30-1485" fmla="*/ 8567691 w 9397013"/>
              <a:gd name="connsiteY30-1486" fmla="*/ 7124971 h 7134208"/>
              <a:gd name="connsiteX31-1487" fmla="*/ 8159389 w 9397013"/>
              <a:gd name="connsiteY31-1488" fmla="*/ 7134208 h 7134208"/>
              <a:gd name="connsiteX32-1489" fmla="*/ 4650570 w 9397013"/>
              <a:gd name="connsiteY32-1490" fmla="*/ 2548084 h 7134208"/>
              <a:gd name="connsiteX33-1491" fmla="*/ 4869244 w 9397013"/>
              <a:gd name="connsiteY33-1492" fmla="*/ 2261689 h 7134208"/>
              <a:gd name="connsiteX34-1493" fmla="*/ 8567691 w 9397013"/>
              <a:gd name="connsiteY34-1494" fmla="*/ 7124971 h 7134208"/>
              <a:gd name="connsiteX35-1495" fmla="*/ 9397013 w 9397013"/>
              <a:gd name="connsiteY35-1496" fmla="*/ 7134207 h 7134208"/>
              <a:gd name="connsiteX36-1497" fmla="*/ 8921338 w 9397013"/>
              <a:gd name="connsiteY36-1498" fmla="*/ 7115735 h 7134208"/>
              <a:gd name="connsiteX37-1499" fmla="*/ 5045299 w 9397013"/>
              <a:gd name="connsiteY37-1500" fmla="*/ 2031113 h 7134208"/>
              <a:gd name="connsiteX38-1501" fmla="*/ 5273037 w 9397013"/>
              <a:gd name="connsiteY38-1502" fmla="*/ 1732846 h 7134208"/>
              <a:gd name="connsiteX39-1503" fmla="*/ 9397013 w 9397013"/>
              <a:gd name="connsiteY39-1504" fmla="*/ 7134207 h 7134208"/>
              <a:gd name="connsiteX0-1505" fmla="*/ 168369 w 9397013"/>
              <a:gd name="connsiteY0-1506" fmla="*/ 4779933 h 7134208"/>
              <a:gd name="connsiteX1-1507" fmla="*/ 0 w 9397013"/>
              <a:gd name="connsiteY1-1508" fmla="*/ 4409146 h 7134208"/>
              <a:gd name="connsiteX2-1509" fmla="*/ 3332806 w 9397013"/>
              <a:gd name="connsiteY2-1510" fmla="*/ 0 h 7134208"/>
              <a:gd name="connsiteX3-1511" fmla="*/ 3794560 w 9397013"/>
              <a:gd name="connsiteY3-1512" fmla="*/ 32861 h 7134208"/>
              <a:gd name="connsiteX4-1513" fmla="*/ 168369 w 9397013"/>
              <a:gd name="connsiteY4-1514" fmla="*/ 4779933 h 7134208"/>
              <a:gd name="connsiteX5-1515" fmla="*/ 488220 w 9397013"/>
              <a:gd name="connsiteY5-1516" fmla="*/ 5484315 h 7134208"/>
              <a:gd name="connsiteX6-1517" fmla="*/ 299082 w 9397013"/>
              <a:gd name="connsiteY6-1518" fmla="*/ 5067791 h 7134208"/>
              <a:gd name="connsiteX7-1519" fmla="*/ 4106456 w 9397013"/>
              <a:gd name="connsiteY7-1520" fmla="*/ 55057 h 7134208"/>
              <a:gd name="connsiteX8-1521" fmla="*/ 4465006 w 9397013"/>
              <a:gd name="connsiteY8-1522" fmla="*/ 209192 h 7134208"/>
              <a:gd name="connsiteX9-1523" fmla="*/ 488220 w 9397013"/>
              <a:gd name="connsiteY9-1524" fmla="*/ 5484315 h 7134208"/>
              <a:gd name="connsiteX10-1525" fmla="*/ 779421 w 9397013"/>
              <a:gd name="connsiteY10-1526" fmla="*/ 6125606 h 7134208"/>
              <a:gd name="connsiteX11-1527" fmla="*/ 618065 w 9397013"/>
              <a:gd name="connsiteY11-1528" fmla="*/ 5770263 h 7134208"/>
              <a:gd name="connsiteX12-1529" fmla="*/ 4805164 w 9397013"/>
              <a:gd name="connsiteY12-1530" fmla="*/ 212954 h 7134208"/>
              <a:gd name="connsiteX13-1531" fmla="*/ 5260238 w 9397013"/>
              <a:gd name="connsiteY13-1532" fmla="*/ 234131 h 7134208"/>
              <a:gd name="connsiteX14-1533" fmla="*/ 779421 w 9397013"/>
              <a:gd name="connsiteY14-1534" fmla="*/ 6125606 h 7134208"/>
              <a:gd name="connsiteX15-1535" fmla="*/ 1099910 w 9397013"/>
              <a:gd name="connsiteY15-1536" fmla="*/ 6831395 h 7134208"/>
              <a:gd name="connsiteX16-1537" fmla="*/ 919656 w 9397013"/>
              <a:gd name="connsiteY16-1538" fmla="*/ 6434435 h 7134208"/>
              <a:gd name="connsiteX17-1539" fmla="*/ 5641256 w 9397013"/>
              <a:gd name="connsiteY17-1540" fmla="*/ 212436 h 7134208"/>
              <a:gd name="connsiteX18-1541" fmla="*/ 6077099 w 9397013"/>
              <a:gd name="connsiteY18-1542" fmla="*/ 225638 h 7134208"/>
              <a:gd name="connsiteX19-1543" fmla="*/ 1099910 w 9397013"/>
              <a:gd name="connsiteY19-1544" fmla="*/ 6831395 h 7134208"/>
              <a:gd name="connsiteX20-1545" fmla="*/ 6958778 w 9397013"/>
              <a:gd name="connsiteY20-1546" fmla="*/ 7124971 h 7134208"/>
              <a:gd name="connsiteX21-1547" fmla="*/ 6560038 w 9397013"/>
              <a:gd name="connsiteY21-1548" fmla="*/ 7134207 h 7134208"/>
              <a:gd name="connsiteX22-1549" fmla="*/ 3849932 w 9397013"/>
              <a:gd name="connsiteY22-1550" fmla="*/ 3596670 h 7134208"/>
              <a:gd name="connsiteX23-1551" fmla="*/ 4086202 w 9397013"/>
              <a:gd name="connsiteY23-1552" fmla="*/ 3287229 h 7134208"/>
              <a:gd name="connsiteX24-1553" fmla="*/ 6958778 w 9397013"/>
              <a:gd name="connsiteY24-1554" fmla="*/ 7124971 h 7134208"/>
              <a:gd name="connsiteX25-1555" fmla="*/ 7777211 w 9397013"/>
              <a:gd name="connsiteY25-1556" fmla="*/ 7124972 h 7134208"/>
              <a:gd name="connsiteX26-1557" fmla="*/ 7324729 w 9397013"/>
              <a:gd name="connsiteY26-1558" fmla="*/ 7124972 h 7134208"/>
              <a:gd name="connsiteX27-1559" fmla="*/ 4245793 w 9397013"/>
              <a:gd name="connsiteY27-1560" fmla="*/ 3078214 h 7134208"/>
              <a:gd name="connsiteX28-1561" fmla="*/ 4490696 w 9397013"/>
              <a:gd name="connsiteY28-1562" fmla="*/ 2757469 h 7134208"/>
              <a:gd name="connsiteX29-1563" fmla="*/ 7777211 w 9397013"/>
              <a:gd name="connsiteY29-1564" fmla="*/ 7124972 h 7134208"/>
              <a:gd name="connsiteX30-1565" fmla="*/ 8567691 w 9397013"/>
              <a:gd name="connsiteY30-1566" fmla="*/ 7124971 h 7134208"/>
              <a:gd name="connsiteX31-1567" fmla="*/ 8159389 w 9397013"/>
              <a:gd name="connsiteY31-1568" fmla="*/ 7134208 h 7134208"/>
              <a:gd name="connsiteX32-1569" fmla="*/ 4650570 w 9397013"/>
              <a:gd name="connsiteY32-1570" fmla="*/ 2548084 h 7134208"/>
              <a:gd name="connsiteX33-1571" fmla="*/ 4869244 w 9397013"/>
              <a:gd name="connsiteY33-1572" fmla="*/ 2261689 h 7134208"/>
              <a:gd name="connsiteX34-1573" fmla="*/ 8567691 w 9397013"/>
              <a:gd name="connsiteY34-1574" fmla="*/ 7124971 h 7134208"/>
              <a:gd name="connsiteX35-1575" fmla="*/ 9397013 w 9397013"/>
              <a:gd name="connsiteY35-1576" fmla="*/ 7134207 h 7134208"/>
              <a:gd name="connsiteX36-1577" fmla="*/ 8921338 w 9397013"/>
              <a:gd name="connsiteY36-1578" fmla="*/ 7115735 h 7134208"/>
              <a:gd name="connsiteX37-1579" fmla="*/ 5045299 w 9397013"/>
              <a:gd name="connsiteY37-1580" fmla="*/ 2031113 h 7134208"/>
              <a:gd name="connsiteX38-1581" fmla="*/ 5273037 w 9397013"/>
              <a:gd name="connsiteY38-1582" fmla="*/ 1732846 h 7134208"/>
              <a:gd name="connsiteX39-1583" fmla="*/ 9397013 w 9397013"/>
              <a:gd name="connsiteY39-1584" fmla="*/ 7134207 h 7134208"/>
              <a:gd name="connsiteX0-1585" fmla="*/ 168369 w 9397013"/>
              <a:gd name="connsiteY0-1586" fmla="*/ 4779933 h 7134208"/>
              <a:gd name="connsiteX1-1587" fmla="*/ 0 w 9397013"/>
              <a:gd name="connsiteY1-1588" fmla="*/ 4409146 h 7134208"/>
              <a:gd name="connsiteX2-1589" fmla="*/ 3332806 w 9397013"/>
              <a:gd name="connsiteY2-1590" fmla="*/ 0 h 7134208"/>
              <a:gd name="connsiteX3-1591" fmla="*/ 3794560 w 9397013"/>
              <a:gd name="connsiteY3-1592" fmla="*/ 32861 h 7134208"/>
              <a:gd name="connsiteX4-1593" fmla="*/ 168369 w 9397013"/>
              <a:gd name="connsiteY4-1594" fmla="*/ 4779933 h 7134208"/>
              <a:gd name="connsiteX5-1595" fmla="*/ 488220 w 9397013"/>
              <a:gd name="connsiteY5-1596" fmla="*/ 5484315 h 7134208"/>
              <a:gd name="connsiteX6-1597" fmla="*/ 299082 w 9397013"/>
              <a:gd name="connsiteY6-1598" fmla="*/ 5067791 h 7134208"/>
              <a:gd name="connsiteX7-1599" fmla="*/ 3977147 w 9397013"/>
              <a:gd name="connsiteY7-1600" fmla="*/ 212075 h 7134208"/>
              <a:gd name="connsiteX8-1601" fmla="*/ 4465006 w 9397013"/>
              <a:gd name="connsiteY8-1602" fmla="*/ 209192 h 7134208"/>
              <a:gd name="connsiteX9-1603" fmla="*/ 488220 w 9397013"/>
              <a:gd name="connsiteY9-1604" fmla="*/ 5484315 h 7134208"/>
              <a:gd name="connsiteX10-1605" fmla="*/ 779421 w 9397013"/>
              <a:gd name="connsiteY10-1606" fmla="*/ 6125606 h 7134208"/>
              <a:gd name="connsiteX11-1607" fmla="*/ 618065 w 9397013"/>
              <a:gd name="connsiteY11-1608" fmla="*/ 5770263 h 7134208"/>
              <a:gd name="connsiteX12-1609" fmla="*/ 4805164 w 9397013"/>
              <a:gd name="connsiteY12-1610" fmla="*/ 212954 h 7134208"/>
              <a:gd name="connsiteX13-1611" fmla="*/ 5260238 w 9397013"/>
              <a:gd name="connsiteY13-1612" fmla="*/ 234131 h 7134208"/>
              <a:gd name="connsiteX14-1613" fmla="*/ 779421 w 9397013"/>
              <a:gd name="connsiteY14-1614" fmla="*/ 6125606 h 7134208"/>
              <a:gd name="connsiteX15-1615" fmla="*/ 1099910 w 9397013"/>
              <a:gd name="connsiteY15-1616" fmla="*/ 6831395 h 7134208"/>
              <a:gd name="connsiteX16-1617" fmla="*/ 919656 w 9397013"/>
              <a:gd name="connsiteY16-1618" fmla="*/ 6434435 h 7134208"/>
              <a:gd name="connsiteX17-1619" fmla="*/ 5641256 w 9397013"/>
              <a:gd name="connsiteY17-1620" fmla="*/ 212436 h 7134208"/>
              <a:gd name="connsiteX18-1621" fmla="*/ 6077099 w 9397013"/>
              <a:gd name="connsiteY18-1622" fmla="*/ 225638 h 7134208"/>
              <a:gd name="connsiteX19-1623" fmla="*/ 1099910 w 9397013"/>
              <a:gd name="connsiteY19-1624" fmla="*/ 6831395 h 7134208"/>
              <a:gd name="connsiteX20-1625" fmla="*/ 6958778 w 9397013"/>
              <a:gd name="connsiteY20-1626" fmla="*/ 7124971 h 7134208"/>
              <a:gd name="connsiteX21-1627" fmla="*/ 6560038 w 9397013"/>
              <a:gd name="connsiteY21-1628" fmla="*/ 7134207 h 7134208"/>
              <a:gd name="connsiteX22-1629" fmla="*/ 3849932 w 9397013"/>
              <a:gd name="connsiteY22-1630" fmla="*/ 3596670 h 7134208"/>
              <a:gd name="connsiteX23-1631" fmla="*/ 4086202 w 9397013"/>
              <a:gd name="connsiteY23-1632" fmla="*/ 3287229 h 7134208"/>
              <a:gd name="connsiteX24-1633" fmla="*/ 6958778 w 9397013"/>
              <a:gd name="connsiteY24-1634" fmla="*/ 7124971 h 7134208"/>
              <a:gd name="connsiteX25-1635" fmla="*/ 7777211 w 9397013"/>
              <a:gd name="connsiteY25-1636" fmla="*/ 7124972 h 7134208"/>
              <a:gd name="connsiteX26-1637" fmla="*/ 7324729 w 9397013"/>
              <a:gd name="connsiteY26-1638" fmla="*/ 7124972 h 7134208"/>
              <a:gd name="connsiteX27-1639" fmla="*/ 4245793 w 9397013"/>
              <a:gd name="connsiteY27-1640" fmla="*/ 3078214 h 7134208"/>
              <a:gd name="connsiteX28-1641" fmla="*/ 4490696 w 9397013"/>
              <a:gd name="connsiteY28-1642" fmla="*/ 2757469 h 7134208"/>
              <a:gd name="connsiteX29-1643" fmla="*/ 7777211 w 9397013"/>
              <a:gd name="connsiteY29-1644" fmla="*/ 7124972 h 7134208"/>
              <a:gd name="connsiteX30-1645" fmla="*/ 8567691 w 9397013"/>
              <a:gd name="connsiteY30-1646" fmla="*/ 7124971 h 7134208"/>
              <a:gd name="connsiteX31-1647" fmla="*/ 8159389 w 9397013"/>
              <a:gd name="connsiteY31-1648" fmla="*/ 7134208 h 7134208"/>
              <a:gd name="connsiteX32-1649" fmla="*/ 4650570 w 9397013"/>
              <a:gd name="connsiteY32-1650" fmla="*/ 2548084 h 7134208"/>
              <a:gd name="connsiteX33-1651" fmla="*/ 4869244 w 9397013"/>
              <a:gd name="connsiteY33-1652" fmla="*/ 2261689 h 7134208"/>
              <a:gd name="connsiteX34-1653" fmla="*/ 8567691 w 9397013"/>
              <a:gd name="connsiteY34-1654" fmla="*/ 7124971 h 7134208"/>
              <a:gd name="connsiteX35-1655" fmla="*/ 9397013 w 9397013"/>
              <a:gd name="connsiteY35-1656" fmla="*/ 7134207 h 7134208"/>
              <a:gd name="connsiteX36-1657" fmla="*/ 8921338 w 9397013"/>
              <a:gd name="connsiteY36-1658" fmla="*/ 7115735 h 7134208"/>
              <a:gd name="connsiteX37-1659" fmla="*/ 5045299 w 9397013"/>
              <a:gd name="connsiteY37-1660" fmla="*/ 2031113 h 7134208"/>
              <a:gd name="connsiteX38-1661" fmla="*/ 5273037 w 9397013"/>
              <a:gd name="connsiteY38-1662" fmla="*/ 1732846 h 7134208"/>
              <a:gd name="connsiteX39-1663" fmla="*/ 9397013 w 9397013"/>
              <a:gd name="connsiteY39-1664" fmla="*/ 7134207 h 7134208"/>
              <a:gd name="connsiteX0-1665" fmla="*/ 168369 w 9397013"/>
              <a:gd name="connsiteY0-1666" fmla="*/ 4779933 h 7134208"/>
              <a:gd name="connsiteX1-1667" fmla="*/ 0 w 9397013"/>
              <a:gd name="connsiteY1-1668" fmla="*/ 4409146 h 7134208"/>
              <a:gd name="connsiteX2-1669" fmla="*/ 3332806 w 9397013"/>
              <a:gd name="connsiteY2-1670" fmla="*/ 0 h 7134208"/>
              <a:gd name="connsiteX3-1671" fmla="*/ 3628305 w 9397013"/>
              <a:gd name="connsiteY3-1672" fmla="*/ 208352 h 7134208"/>
              <a:gd name="connsiteX4-1673" fmla="*/ 168369 w 9397013"/>
              <a:gd name="connsiteY4-1674" fmla="*/ 4779933 h 7134208"/>
              <a:gd name="connsiteX5-1675" fmla="*/ 488220 w 9397013"/>
              <a:gd name="connsiteY5-1676" fmla="*/ 5484315 h 7134208"/>
              <a:gd name="connsiteX6-1677" fmla="*/ 299082 w 9397013"/>
              <a:gd name="connsiteY6-1678" fmla="*/ 5067791 h 7134208"/>
              <a:gd name="connsiteX7-1679" fmla="*/ 3977147 w 9397013"/>
              <a:gd name="connsiteY7-1680" fmla="*/ 212075 h 7134208"/>
              <a:gd name="connsiteX8-1681" fmla="*/ 4465006 w 9397013"/>
              <a:gd name="connsiteY8-1682" fmla="*/ 209192 h 7134208"/>
              <a:gd name="connsiteX9-1683" fmla="*/ 488220 w 9397013"/>
              <a:gd name="connsiteY9-1684" fmla="*/ 5484315 h 7134208"/>
              <a:gd name="connsiteX10-1685" fmla="*/ 779421 w 9397013"/>
              <a:gd name="connsiteY10-1686" fmla="*/ 6125606 h 7134208"/>
              <a:gd name="connsiteX11-1687" fmla="*/ 618065 w 9397013"/>
              <a:gd name="connsiteY11-1688" fmla="*/ 5770263 h 7134208"/>
              <a:gd name="connsiteX12-1689" fmla="*/ 4805164 w 9397013"/>
              <a:gd name="connsiteY12-1690" fmla="*/ 212954 h 7134208"/>
              <a:gd name="connsiteX13-1691" fmla="*/ 5260238 w 9397013"/>
              <a:gd name="connsiteY13-1692" fmla="*/ 234131 h 7134208"/>
              <a:gd name="connsiteX14-1693" fmla="*/ 779421 w 9397013"/>
              <a:gd name="connsiteY14-1694" fmla="*/ 6125606 h 7134208"/>
              <a:gd name="connsiteX15-1695" fmla="*/ 1099910 w 9397013"/>
              <a:gd name="connsiteY15-1696" fmla="*/ 6831395 h 7134208"/>
              <a:gd name="connsiteX16-1697" fmla="*/ 919656 w 9397013"/>
              <a:gd name="connsiteY16-1698" fmla="*/ 6434435 h 7134208"/>
              <a:gd name="connsiteX17-1699" fmla="*/ 5641256 w 9397013"/>
              <a:gd name="connsiteY17-1700" fmla="*/ 212436 h 7134208"/>
              <a:gd name="connsiteX18-1701" fmla="*/ 6077099 w 9397013"/>
              <a:gd name="connsiteY18-1702" fmla="*/ 225638 h 7134208"/>
              <a:gd name="connsiteX19-1703" fmla="*/ 1099910 w 9397013"/>
              <a:gd name="connsiteY19-1704" fmla="*/ 6831395 h 7134208"/>
              <a:gd name="connsiteX20-1705" fmla="*/ 6958778 w 9397013"/>
              <a:gd name="connsiteY20-1706" fmla="*/ 7124971 h 7134208"/>
              <a:gd name="connsiteX21-1707" fmla="*/ 6560038 w 9397013"/>
              <a:gd name="connsiteY21-1708" fmla="*/ 7134207 h 7134208"/>
              <a:gd name="connsiteX22-1709" fmla="*/ 3849932 w 9397013"/>
              <a:gd name="connsiteY22-1710" fmla="*/ 3596670 h 7134208"/>
              <a:gd name="connsiteX23-1711" fmla="*/ 4086202 w 9397013"/>
              <a:gd name="connsiteY23-1712" fmla="*/ 3287229 h 7134208"/>
              <a:gd name="connsiteX24-1713" fmla="*/ 6958778 w 9397013"/>
              <a:gd name="connsiteY24-1714" fmla="*/ 7124971 h 7134208"/>
              <a:gd name="connsiteX25-1715" fmla="*/ 7777211 w 9397013"/>
              <a:gd name="connsiteY25-1716" fmla="*/ 7124972 h 7134208"/>
              <a:gd name="connsiteX26-1717" fmla="*/ 7324729 w 9397013"/>
              <a:gd name="connsiteY26-1718" fmla="*/ 7124972 h 7134208"/>
              <a:gd name="connsiteX27-1719" fmla="*/ 4245793 w 9397013"/>
              <a:gd name="connsiteY27-1720" fmla="*/ 3078214 h 7134208"/>
              <a:gd name="connsiteX28-1721" fmla="*/ 4490696 w 9397013"/>
              <a:gd name="connsiteY28-1722" fmla="*/ 2757469 h 7134208"/>
              <a:gd name="connsiteX29-1723" fmla="*/ 7777211 w 9397013"/>
              <a:gd name="connsiteY29-1724" fmla="*/ 7124972 h 7134208"/>
              <a:gd name="connsiteX30-1725" fmla="*/ 8567691 w 9397013"/>
              <a:gd name="connsiteY30-1726" fmla="*/ 7124971 h 7134208"/>
              <a:gd name="connsiteX31-1727" fmla="*/ 8159389 w 9397013"/>
              <a:gd name="connsiteY31-1728" fmla="*/ 7134208 h 7134208"/>
              <a:gd name="connsiteX32-1729" fmla="*/ 4650570 w 9397013"/>
              <a:gd name="connsiteY32-1730" fmla="*/ 2548084 h 7134208"/>
              <a:gd name="connsiteX33-1731" fmla="*/ 4869244 w 9397013"/>
              <a:gd name="connsiteY33-1732" fmla="*/ 2261689 h 7134208"/>
              <a:gd name="connsiteX34-1733" fmla="*/ 8567691 w 9397013"/>
              <a:gd name="connsiteY34-1734" fmla="*/ 7124971 h 7134208"/>
              <a:gd name="connsiteX35-1735" fmla="*/ 9397013 w 9397013"/>
              <a:gd name="connsiteY35-1736" fmla="*/ 7134207 h 7134208"/>
              <a:gd name="connsiteX36-1737" fmla="*/ 8921338 w 9397013"/>
              <a:gd name="connsiteY36-1738" fmla="*/ 7115735 h 7134208"/>
              <a:gd name="connsiteX37-1739" fmla="*/ 5045299 w 9397013"/>
              <a:gd name="connsiteY37-1740" fmla="*/ 2031113 h 7134208"/>
              <a:gd name="connsiteX38-1741" fmla="*/ 5273037 w 9397013"/>
              <a:gd name="connsiteY38-1742" fmla="*/ 1732846 h 7134208"/>
              <a:gd name="connsiteX39-1743" fmla="*/ 9397013 w 9397013"/>
              <a:gd name="connsiteY39-1744" fmla="*/ 7134207 h 7134208"/>
              <a:gd name="connsiteX0-1745" fmla="*/ 168369 w 9397013"/>
              <a:gd name="connsiteY0-1746" fmla="*/ 4571581 h 6925856"/>
              <a:gd name="connsiteX1-1747" fmla="*/ 0 w 9397013"/>
              <a:gd name="connsiteY1-1748" fmla="*/ 4200794 h 6925856"/>
              <a:gd name="connsiteX2-1749" fmla="*/ 3175788 w 9397013"/>
              <a:gd name="connsiteY2-1750" fmla="*/ 4084 h 6925856"/>
              <a:gd name="connsiteX3-1751" fmla="*/ 3628305 w 9397013"/>
              <a:gd name="connsiteY3-1752" fmla="*/ 0 h 6925856"/>
              <a:gd name="connsiteX4-1753" fmla="*/ 168369 w 9397013"/>
              <a:gd name="connsiteY4-1754" fmla="*/ 4571581 h 6925856"/>
              <a:gd name="connsiteX5-1755" fmla="*/ 488220 w 9397013"/>
              <a:gd name="connsiteY5-1756" fmla="*/ 5275963 h 6925856"/>
              <a:gd name="connsiteX6-1757" fmla="*/ 299082 w 9397013"/>
              <a:gd name="connsiteY6-1758" fmla="*/ 4859439 h 6925856"/>
              <a:gd name="connsiteX7-1759" fmla="*/ 3977147 w 9397013"/>
              <a:gd name="connsiteY7-1760" fmla="*/ 3723 h 6925856"/>
              <a:gd name="connsiteX8-1761" fmla="*/ 4465006 w 9397013"/>
              <a:gd name="connsiteY8-1762" fmla="*/ 840 h 6925856"/>
              <a:gd name="connsiteX9-1763" fmla="*/ 488220 w 9397013"/>
              <a:gd name="connsiteY9-1764" fmla="*/ 5275963 h 6925856"/>
              <a:gd name="connsiteX10-1765" fmla="*/ 779421 w 9397013"/>
              <a:gd name="connsiteY10-1766" fmla="*/ 5917254 h 6925856"/>
              <a:gd name="connsiteX11-1767" fmla="*/ 618065 w 9397013"/>
              <a:gd name="connsiteY11-1768" fmla="*/ 5561911 h 6925856"/>
              <a:gd name="connsiteX12-1769" fmla="*/ 4805164 w 9397013"/>
              <a:gd name="connsiteY12-1770" fmla="*/ 4602 h 6925856"/>
              <a:gd name="connsiteX13-1771" fmla="*/ 5260238 w 9397013"/>
              <a:gd name="connsiteY13-1772" fmla="*/ 25779 h 6925856"/>
              <a:gd name="connsiteX14-1773" fmla="*/ 779421 w 9397013"/>
              <a:gd name="connsiteY14-1774" fmla="*/ 5917254 h 6925856"/>
              <a:gd name="connsiteX15-1775" fmla="*/ 1099910 w 9397013"/>
              <a:gd name="connsiteY15-1776" fmla="*/ 6623043 h 6925856"/>
              <a:gd name="connsiteX16-1777" fmla="*/ 919656 w 9397013"/>
              <a:gd name="connsiteY16-1778" fmla="*/ 6226083 h 6925856"/>
              <a:gd name="connsiteX17-1779" fmla="*/ 5641256 w 9397013"/>
              <a:gd name="connsiteY17-1780" fmla="*/ 4084 h 6925856"/>
              <a:gd name="connsiteX18-1781" fmla="*/ 6077099 w 9397013"/>
              <a:gd name="connsiteY18-1782" fmla="*/ 17286 h 6925856"/>
              <a:gd name="connsiteX19-1783" fmla="*/ 1099910 w 9397013"/>
              <a:gd name="connsiteY19-1784" fmla="*/ 6623043 h 6925856"/>
              <a:gd name="connsiteX20-1785" fmla="*/ 6958778 w 9397013"/>
              <a:gd name="connsiteY20-1786" fmla="*/ 6916619 h 6925856"/>
              <a:gd name="connsiteX21-1787" fmla="*/ 6560038 w 9397013"/>
              <a:gd name="connsiteY21-1788" fmla="*/ 6925855 h 6925856"/>
              <a:gd name="connsiteX22-1789" fmla="*/ 3849932 w 9397013"/>
              <a:gd name="connsiteY22-1790" fmla="*/ 3388318 h 6925856"/>
              <a:gd name="connsiteX23-1791" fmla="*/ 4086202 w 9397013"/>
              <a:gd name="connsiteY23-1792" fmla="*/ 3078877 h 6925856"/>
              <a:gd name="connsiteX24-1793" fmla="*/ 6958778 w 9397013"/>
              <a:gd name="connsiteY24-1794" fmla="*/ 6916619 h 6925856"/>
              <a:gd name="connsiteX25-1795" fmla="*/ 7777211 w 9397013"/>
              <a:gd name="connsiteY25-1796" fmla="*/ 6916620 h 6925856"/>
              <a:gd name="connsiteX26-1797" fmla="*/ 7324729 w 9397013"/>
              <a:gd name="connsiteY26-1798" fmla="*/ 6916620 h 6925856"/>
              <a:gd name="connsiteX27-1799" fmla="*/ 4245793 w 9397013"/>
              <a:gd name="connsiteY27-1800" fmla="*/ 2869862 h 6925856"/>
              <a:gd name="connsiteX28-1801" fmla="*/ 4490696 w 9397013"/>
              <a:gd name="connsiteY28-1802" fmla="*/ 2549117 h 6925856"/>
              <a:gd name="connsiteX29-1803" fmla="*/ 7777211 w 9397013"/>
              <a:gd name="connsiteY29-1804" fmla="*/ 6916620 h 6925856"/>
              <a:gd name="connsiteX30-1805" fmla="*/ 8567691 w 9397013"/>
              <a:gd name="connsiteY30-1806" fmla="*/ 6916619 h 6925856"/>
              <a:gd name="connsiteX31-1807" fmla="*/ 8159389 w 9397013"/>
              <a:gd name="connsiteY31-1808" fmla="*/ 6925856 h 6925856"/>
              <a:gd name="connsiteX32-1809" fmla="*/ 4650570 w 9397013"/>
              <a:gd name="connsiteY32-1810" fmla="*/ 2339732 h 6925856"/>
              <a:gd name="connsiteX33-1811" fmla="*/ 4869244 w 9397013"/>
              <a:gd name="connsiteY33-1812" fmla="*/ 2053337 h 6925856"/>
              <a:gd name="connsiteX34-1813" fmla="*/ 8567691 w 9397013"/>
              <a:gd name="connsiteY34-1814" fmla="*/ 6916619 h 6925856"/>
              <a:gd name="connsiteX35-1815" fmla="*/ 9397013 w 9397013"/>
              <a:gd name="connsiteY35-1816" fmla="*/ 6925855 h 6925856"/>
              <a:gd name="connsiteX36-1817" fmla="*/ 8921338 w 9397013"/>
              <a:gd name="connsiteY36-1818" fmla="*/ 6907383 h 6925856"/>
              <a:gd name="connsiteX37-1819" fmla="*/ 5045299 w 9397013"/>
              <a:gd name="connsiteY37-1820" fmla="*/ 1822761 h 6925856"/>
              <a:gd name="connsiteX38-1821" fmla="*/ 5273037 w 9397013"/>
              <a:gd name="connsiteY38-1822" fmla="*/ 1524494 h 6925856"/>
              <a:gd name="connsiteX39-1823" fmla="*/ 9397013 w 9397013"/>
              <a:gd name="connsiteY39-1824" fmla="*/ 6925855 h 6925856"/>
              <a:gd name="connsiteX0-1825" fmla="*/ 168369 w 9397013"/>
              <a:gd name="connsiteY0-1826" fmla="*/ 4571581 h 6925856"/>
              <a:gd name="connsiteX1-1827" fmla="*/ 0 w 9397013"/>
              <a:gd name="connsiteY1-1828" fmla="*/ 4200794 h 6925856"/>
              <a:gd name="connsiteX2-1829" fmla="*/ 3175788 w 9397013"/>
              <a:gd name="connsiteY2-1830" fmla="*/ 4084 h 6925856"/>
              <a:gd name="connsiteX3-1831" fmla="*/ 3628305 w 9397013"/>
              <a:gd name="connsiteY3-1832" fmla="*/ 0 h 6925856"/>
              <a:gd name="connsiteX4-1833" fmla="*/ 168369 w 9397013"/>
              <a:gd name="connsiteY4-1834" fmla="*/ 4571581 h 6925856"/>
              <a:gd name="connsiteX5-1835" fmla="*/ 488220 w 9397013"/>
              <a:gd name="connsiteY5-1836" fmla="*/ 5275963 h 6925856"/>
              <a:gd name="connsiteX6-1837" fmla="*/ 299082 w 9397013"/>
              <a:gd name="connsiteY6-1838" fmla="*/ 4859439 h 6925856"/>
              <a:gd name="connsiteX7-1839" fmla="*/ 3977147 w 9397013"/>
              <a:gd name="connsiteY7-1840" fmla="*/ 3723 h 6925856"/>
              <a:gd name="connsiteX8-1841" fmla="*/ 4465006 w 9397013"/>
              <a:gd name="connsiteY8-1842" fmla="*/ 840 h 6925856"/>
              <a:gd name="connsiteX9-1843" fmla="*/ 488220 w 9397013"/>
              <a:gd name="connsiteY9-1844" fmla="*/ 5275963 h 6925856"/>
              <a:gd name="connsiteX10-1845" fmla="*/ 779421 w 9397013"/>
              <a:gd name="connsiteY10-1846" fmla="*/ 5917254 h 6925856"/>
              <a:gd name="connsiteX11-1847" fmla="*/ 618065 w 9397013"/>
              <a:gd name="connsiteY11-1848" fmla="*/ 5561911 h 6925856"/>
              <a:gd name="connsiteX12-1849" fmla="*/ 4805164 w 9397013"/>
              <a:gd name="connsiteY12-1850" fmla="*/ 4602 h 6925856"/>
              <a:gd name="connsiteX13-1851" fmla="*/ 5260238 w 9397013"/>
              <a:gd name="connsiteY13-1852" fmla="*/ 25779 h 6925856"/>
              <a:gd name="connsiteX14-1853" fmla="*/ 779421 w 9397013"/>
              <a:gd name="connsiteY14-1854" fmla="*/ 5917254 h 6925856"/>
              <a:gd name="connsiteX15-1855" fmla="*/ 1598673 w 9397013"/>
              <a:gd name="connsiteY15-1856" fmla="*/ 5976498 h 6925856"/>
              <a:gd name="connsiteX16-1857" fmla="*/ 919656 w 9397013"/>
              <a:gd name="connsiteY16-1858" fmla="*/ 6226083 h 6925856"/>
              <a:gd name="connsiteX17-1859" fmla="*/ 5641256 w 9397013"/>
              <a:gd name="connsiteY17-1860" fmla="*/ 4084 h 6925856"/>
              <a:gd name="connsiteX18-1861" fmla="*/ 6077099 w 9397013"/>
              <a:gd name="connsiteY18-1862" fmla="*/ 17286 h 6925856"/>
              <a:gd name="connsiteX19-1863" fmla="*/ 1598673 w 9397013"/>
              <a:gd name="connsiteY19-1864" fmla="*/ 5976498 h 6925856"/>
              <a:gd name="connsiteX20-1865" fmla="*/ 6958778 w 9397013"/>
              <a:gd name="connsiteY20-1866" fmla="*/ 6916619 h 6925856"/>
              <a:gd name="connsiteX21-1867" fmla="*/ 6560038 w 9397013"/>
              <a:gd name="connsiteY21-1868" fmla="*/ 6925855 h 6925856"/>
              <a:gd name="connsiteX22-1869" fmla="*/ 3849932 w 9397013"/>
              <a:gd name="connsiteY22-1870" fmla="*/ 3388318 h 6925856"/>
              <a:gd name="connsiteX23-1871" fmla="*/ 4086202 w 9397013"/>
              <a:gd name="connsiteY23-1872" fmla="*/ 3078877 h 6925856"/>
              <a:gd name="connsiteX24-1873" fmla="*/ 6958778 w 9397013"/>
              <a:gd name="connsiteY24-1874" fmla="*/ 6916619 h 6925856"/>
              <a:gd name="connsiteX25-1875" fmla="*/ 7777211 w 9397013"/>
              <a:gd name="connsiteY25-1876" fmla="*/ 6916620 h 6925856"/>
              <a:gd name="connsiteX26-1877" fmla="*/ 7324729 w 9397013"/>
              <a:gd name="connsiteY26-1878" fmla="*/ 6916620 h 6925856"/>
              <a:gd name="connsiteX27-1879" fmla="*/ 4245793 w 9397013"/>
              <a:gd name="connsiteY27-1880" fmla="*/ 2869862 h 6925856"/>
              <a:gd name="connsiteX28-1881" fmla="*/ 4490696 w 9397013"/>
              <a:gd name="connsiteY28-1882" fmla="*/ 2549117 h 6925856"/>
              <a:gd name="connsiteX29-1883" fmla="*/ 7777211 w 9397013"/>
              <a:gd name="connsiteY29-1884" fmla="*/ 6916620 h 6925856"/>
              <a:gd name="connsiteX30-1885" fmla="*/ 8567691 w 9397013"/>
              <a:gd name="connsiteY30-1886" fmla="*/ 6916619 h 6925856"/>
              <a:gd name="connsiteX31-1887" fmla="*/ 8159389 w 9397013"/>
              <a:gd name="connsiteY31-1888" fmla="*/ 6925856 h 6925856"/>
              <a:gd name="connsiteX32-1889" fmla="*/ 4650570 w 9397013"/>
              <a:gd name="connsiteY32-1890" fmla="*/ 2339732 h 6925856"/>
              <a:gd name="connsiteX33-1891" fmla="*/ 4869244 w 9397013"/>
              <a:gd name="connsiteY33-1892" fmla="*/ 2053337 h 6925856"/>
              <a:gd name="connsiteX34-1893" fmla="*/ 8567691 w 9397013"/>
              <a:gd name="connsiteY34-1894" fmla="*/ 6916619 h 6925856"/>
              <a:gd name="connsiteX35-1895" fmla="*/ 9397013 w 9397013"/>
              <a:gd name="connsiteY35-1896" fmla="*/ 6925855 h 6925856"/>
              <a:gd name="connsiteX36-1897" fmla="*/ 8921338 w 9397013"/>
              <a:gd name="connsiteY36-1898" fmla="*/ 6907383 h 6925856"/>
              <a:gd name="connsiteX37-1899" fmla="*/ 5045299 w 9397013"/>
              <a:gd name="connsiteY37-1900" fmla="*/ 1822761 h 6925856"/>
              <a:gd name="connsiteX38-1901" fmla="*/ 5273037 w 9397013"/>
              <a:gd name="connsiteY38-1902" fmla="*/ 1524494 h 6925856"/>
              <a:gd name="connsiteX39-1903" fmla="*/ 9397013 w 9397013"/>
              <a:gd name="connsiteY39-1904" fmla="*/ 6925855 h 6925856"/>
              <a:gd name="connsiteX0-1905" fmla="*/ 168369 w 9397013"/>
              <a:gd name="connsiteY0-1906" fmla="*/ 4571581 h 6925856"/>
              <a:gd name="connsiteX1-1907" fmla="*/ 0 w 9397013"/>
              <a:gd name="connsiteY1-1908" fmla="*/ 4200794 h 6925856"/>
              <a:gd name="connsiteX2-1909" fmla="*/ 3175788 w 9397013"/>
              <a:gd name="connsiteY2-1910" fmla="*/ 4084 h 6925856"/>
              <a:gd name="connsiteX3-1911" fmla="*/ 3628305 w 9397013"/>
              <a:gd name="connsiteY3-1912" fmla="*/ 0 h 6925856"/>
              <a:gd name="connsiteX4-1913" fmla="*/ 168369 w 9397013"/>
              <a:gd name="connsiteY4-1914" fmla="*/ 4571581 h 6925856"/>
              <a:gd name="connsiteX5-1915" fmla="*/ 488220 w 9397013"/>
              <a:gd name="connsiteY5-1916" fmla="*/ 5275963 h 6925856"/>
              <a:gd name="connsiteX6-1917" fmla="*/ 299082 w 9397013"/>
              <a:gd name="connsiteY6-1918" fmla="*/ 4859439 h 6925856"/>
              <a:gd name="connsiteX7-1919" fmla="*/ 3977147 w 9397013"/>
              <a:gd name="connsiteY7-1920" fmla="*/ 3723 h 6925856"/>
              <a:gd name="connsiteX8-1921" fmla="*/ 4465006 w 9397013"/>
              <a:gd name="connsiteY8-1922" fmla="*/ 840 h 6925856"/>
              <a:gd name="connsiteX9-1923" fmla="*/ 488220 w 9397013"/>
              <a:gd name="connsiteY9-1924" fmla="*/ 5275963 h 6925856"/>
              <a:gd name="connsiteX10-1925" fmla="*/ 779421 w 9397013"/>
              <a:gd name="connsiteY10-1926" fmla="*/ 5917254 h 6925856"/>
              <a:gd name="connsiteX11-1927" fmla="*/ 618065 w 9397013"/>
              <a:gd name="connsiteY11-1928" fmla="*/ 5561911 h 6925856"/>
              <a:gd name="connsiteX12-1929" fmla="*/ 4805164 w 9397013"/>
              <a:gd name="connsiteY12-1930" fmla="*/ 4602 h 6925856"/>
              <a:gd name="connsiteX13-1931" fmla="*/ 5260238 w 9397013"/>
              <a:gd name="connsiteY13-1932" fmla="*/ 25779 h 6925856"/>
              <a:gd name="connsiteX14-1933" fmla="*/ 779421 w 9397013"/>
              <a:gd name="connsiteY14-1934" fmla="*/ 5917254 h 6925856"/>
              <a:gd name="connsiteX15-1935" fmla="*/ 1598673 w 9397013"/>
              <a:gd name="connsiteY15-1936" fmla="*/ 5976498 h 6925856"/>
              <a:gd name="connsiteX16-1937" fmla="*/ 1566201 w 9397013"/>
              <a:gd name="connsiteY16-1938" fmla="*/ 5394811 h 6925856"/>
              <a:gd name="connsiteX17-1939" fmla="*/ 5641256 w 9397013"/>
              <a:gd name="connsiteY17-1940" fmla="*/ 4084 h 6925856"/>
              <a:gd name="connsiteX18-1941" fmla="*/ 6077099 w 9397013"/>
              <a:gd name="connsiteY18-1942" fmla="*/ 17286 h 6925856"/>
              <a:gd name="connsiteX19-1943" fmla="*/ 1598673 w 9397013"/>
              <a:gd name="connsiteY19-1944" fmla="*/ 5976498 h 6925856"/>
              <a:gd name="connsiteX20-1945" fmla="*/ 6958778 w 9397013"/>
              <a:gd name="connsiteY20-1946" fmla="*/ 6916619 h 6925856"/>
              <a:gd name="connsiteX21-1947" fmla="*/ 6560038 w 9397013"/>
              <a:gd name="connsiteY21-1948" fmla="*/ 6925855 h 6925856"/>
              <a:gd name="connsiteX22-1949" fmla="*/ 3849932 w 9397013"/>
              <a:gd name="connsiteY22-1950" fmla="*/ 3388318 h 6925856"/>
              <a:gd name="connsiteX23-1951" fmla="*/ 4086202 w 9397013"/>
              <a:gd name="connsiteY23-1952" fmla="*/ 3078877 h 6925856"/>
              <a:gd name="connsiteX24-1953" fmla="*/ 6958778 w 9397013"/>
              <a:gd name="connsiteY24-1954" fmla="*/ 6916619 h 6925856"/>
              <a:gd name="connsiteX25-1955" fmla="*/ 7777211 w 9397013"/>
              <a:gd name="connsiteY25-1956" fmla="*/ 6916620 h 6925856"/>
              <a:gd name="connsiteX26-1957" fmla="*/ 7324729 w 9397013"/>
              <a:gd name="connsiteY26-1958" fmla="*/ 6916620 h 6925856"/>
              <a:gd name="connsiteX27-1959" fmla="*/ 4245793 w 9397013"/>
              <a:gd name="connsiteY27-1960" fmla="*/ 2869862 h 6925856"/>
              <a:gd name="connsiteX28-1961" fmla="*/ 4490696 w 9397013"/>
              <a:gd name="connsiteY28-1962" fmla="*/ 2549117 h 6925856"/>
              <a:gd name="connsiteX29-1963" fmla="*/ 7777211 w 9397013"/>
              <a:gd name="connsiteY29-1964" fmla="*/ 6916620 h 6925856"/>
              <a:gd name="connsiteX30-1965" fmla="*/ 8567691 w 9397013"/>
              <a:gd name="connsiteY30-1966" fmla="*/ 6916619 h 6925856"/>
              <a:gd name="connsiteX31-1967" fmla="*/ 8159389 w 9397013"/>
              <a:gd name="connsiteY31-1968" fmla="*/ 6925856 h 6925856"/>
              <a:gd name="connsiteX32-1969" fmla="*/ 4650570 w 9397013"/>
              <a:gd name="connsiteY32-1970" fmla="*/ 2339732 h 6925856"/>
              <a:gd name="connsiteX33-1971" fmla="*/ 4869244 w 9397013"/>
              <a:gd name="connsiteY33-1972" fmla="*/ 2053337 h 6925856"/>
              <a:gd name="connsiteX34-1973" fmla="*/ 8567691 w 9397013"/>
              <a:gd name="connsiteY34-1974" fmla="*/ 6916619 h 6925856"/>
              <a:gd name="connsiteX35-1975" fmla="*/ 9397013 w 9397013"/>
              <a:gd name="connsiteY35-1976" fmla="*/ 6925855 h 6925856"/>
              <a:gd name="connsiteX36-1977" fmla="*/ 8921338 w 9397013"/>
              <a:gd name="connsiteY36-1978" fmla="*/ 6907383 h 6925856"/>
              <a:gd name="connsiteX37-1979" fmla="*/ 5045299 w 9397013"/>
              <a:gd name="connsiteY37-1980" fmla="*/ 1822761 h 6925856"/>
              <a:gd name="connsiteX38-1981" fmla="*/ 5273037 w 9397013"/>
              <a:gd name="connsiteY38-1982" fmla="*/ 1524494 h 6925856"/>
              <a:gd name="connsiteX39-1983" fmla="*/ 9397013 w 9397013"/>
              <a:gd name="connsiteY39-1984" fmla="*/ 6925855 h 6925856"/>
              <a:gd name="connsiteX0-1985" fmla="*/ 168369 w 9397013"/>
              <a:gd name="connsiteY0-1986" fmla="*/ 4571581 h 6925856"/>
              <a:gd name="connsiteX1-1987" fmla="*/ 0 w 9397013"/>
              <a:gd name="connsiteY1-1988" fmla="*/ 4200794 h 6925856"/>
              <a:gd name="connsiteX2-1989" fmla="*/ 3175788 w 9397013"/>
              <a:gd name="connsiteY2-1990" fmla="*/ 4084 h 6925856"/>
              <a:gd name="connsiteX3-1991" fmla="*/ 3628305 w 9397013"/>
              <a:gd name="connsiteY3-1992" fmla="*/ 0 h 6925856"/>
              <a:gd name="connsiteX4-1993" fmla="*/ 168369 w 9397013"/>
              <a:gd name="connsiteY4-1994" fmla="*/ 4571581 h 6925856"/>
              <a:gd name="connsiteX5-1995" fmla="*/ 488220 w 9397013"/>
              <a:gd name="connsiteY5-1996" fmla="*/ 5275963 h 6925856"/>
              <a:gd name="connsiteX6-1997" fmla="*/ 299082 w 9397013"/>
              <a:gd name="connsiteY6-1998" fmla="*/ 4859439 h 6925856"/>
              <a:gd name="connsiteX7-1999" fmla="*/ 3977147 w 9397013"/>
              <a:gd name="connsiteY7-2000" fmla="*/ 3723 h 6925856"/>
              <a:gd name="connsiteX8-2001" fmla="*/ 4465006 w 9397013"/>
              <a:gd name="connsiteY8-2002" fmla="*/ 840 h 6925856"/>
              <a:gd name="connsiteX9-2003" fmla="*/ 488220 w 9397013"/>
              <a:gd name="connsiteY9-2004" fmla="*/ 5275963 h 6925856"/>
              <a:gd name="connsiteX10-2005" fmla="*/ 779421 w 9397013"/>
              <a:gd name="connsiteY10-2006" fmla="*/ 5917254 h 6925856"/>
              <a:gd name="connsiteX11-2007" fmla="*/ 618065 w 9397013"/>
              <a:gd name="connsiteY11-2008" fmla="*/ 5561911 h 6925856"/>
              <a:gd name="connsiteX12-2009" fmla="*/ 4805164 w 9397013"/>
              <a:gd name="connsiteY12-2010" fmla="*/ 4602 h 6925856"/>
              <a:gd name="connsiteX13-2011" fmla="*/ 5260238 w 9397013"/>
              <a:gd name="connsiteY13-2012" fmla="*/ 25779 h 6925856"/>
              <a:gd name="connsiteX14-2013" fmla="*/ 779421 w 9397013"/>
              <a:gd name="connsiteY14-2014" fmla="*/ 5917254 h 6925856"/>
              <a:gd name="connsiteX15-2015" fmla="*/ 1580200 w 9397013"/>
              <a:gd name="connsiteY15-2016" fmla="*/ 5985735 h 6925856"/>
              <a:gd name="connsiteX16-2017" fmla="*/ 1566201 w 9397013"/>
              <a:gd name="connsiteY16-2018" fmla="*/ 5394811 h 6925856"/>
              <a:gd name="connsiteX17-2019" fmla="*/ 5641256 w 9397013"/>
              <a:gd name="connsiteY17-2020" fmla="*/ 4084 h 6925856"/>
              <a:gd name="connsiteX18-2021" fmla="*/ 6077099 w 9397013"/>
              <a:gd name="connsiteY18-2022" fmla="*/ 17286 h 6925856"/>
              <a:gd name="connsiteX19-2023" fmla="*/ 1580200 w 9397013"/>
              <a:gd name="connsiteY19-2024" fmla="*/ 5985735 h 6925856"/>
              <a:gd name="connsiteX20-2025" fmla="*/ 6958778 w 9397013"/>
              <a:gd name="connsiteY20-2026" fmla="*/ 6916619 h 6925856"/>
              <a:gd name="connsiteX21-2027" fmla="*/ 6560038 w 9397013"/>
              <a:gd name="connsiteY21-2028" fmla="*/ 6925855 h 6925856"/>
              <a:gd name="connsiteX22-2029" fmla="*/ 3849932 w 9397013"/>
              <a:gd name="connsiteY22-2030" fmla="*/ 3388318 h 6925856"/>
              <a:gd name="connsiteX23-2031" fmla="*/ 4086202 w 9397013"/>
              <a:gd name="connsiteY23-2032" fmla="*/ 3078877 h 6925856"/>
              <a:gd name="connsiteX24-2033" fmla="*/ 6958778 w 9397013"/>
              <a:gd name="connsiteY24-2034" fmla="*/ 6916619 h 6925856"/>
              <a:gd name="connsiteX25-2035" fmla="*/ 7777211 w 9397013"/>
              <a:gd name="connsiteY25-2036" fmla="*/ 6916620 h 6925856"/>
              <a:gd name="connsiteX26-2037" fmla="*/ 7324729 w 9397013"/>
              <a:gd name="connsiteY26-2038" fmla="*/ 6916620 h 6925856"/>
              <a:gd name="connsiteX27-2039" fmla="*/ 4245793 w 9397013"/>
              <a:gd name="connsiteY27-2040" fmla="*/ 2869862 h 6925856"/>
              <a:gd name="connsiteX28-2041" fmla="*/ 4490696 w 9397013"/>
              <a:gd name="connsiteY28-2042" fmla="*/ 2549117 h 6925856"/>
              <a:gd name="connsiteX29-2043" fmla="*/ 7777211 w 9397013"/>
              <a:gd name="connsiteY29-2044" fmla="*/ 6916620 h 6925856"/>
              <a:gd name="connsiteX30-2045" fmla="*/ 8567691 w 9397013"/>
              <a:gd name="connsiteY30-2046" fmla="*/ 6916619 h 6925856"/>
              <a:gd name="connsiteX31-2047" fmla="*/ 8159389 w 9397013"/>
              <a:gd name="connsiteY31-2048" fmla="*/ 6925856 h 6925856"/>
              <a:gd name="connsiteX32-2049" fmla="*/ 4650570 w 9397013"/>
              <a:gd name="connsiteY32-2050" fmla="*/ 2339732 h 6925856"/>
              <a:gd name="connsiteX33-2051" fmla="*/ 4869244 w 9397013"/>
              <a:gd name="connsiteY33-2052" fmla="*/ 2053337 h 6925856"/>
              <a:gd name="connsiteX34-2053" fmla="*/ 8567691 w 9397013"/>
              <a:gd name="connsiteY34-2054" fmla="*/ 6916619 h 6925856"/>
              <a:gd name="connsiteX35-2055" fmla="*/ 9397013 w 9397013"/>
              <a:gd name="connsiteY35-2056" fmla="*/ 6925855 h 6925856"/>
              <a:gd name="connsiteX36-2057" fmla="*/ 8921338 w 9397013"/>
              <a:gd name="connsiteY36-2058" fmla="*/ 6907383 h 6925856"/>
              <a:gd name="connsiteX37-2059" fmla="*/ 5045299 w 9397013"/>
              <a:gd name="connsiteY37-2060" fmla="*/ 1822761 h 6925856"/>
              <a:gd name="connsiteX38-2061" fmla="*/ 5273037 w 9397013"/>
              <a:gd name="connsiteY38-2062" fmla="*/ 1524494 h 6925856"/>
              <a:gd name="connsiteX39-2063" fmla="*/ 9397013 w 9397013"/>
              <a:gd name="connsiteY39-2064" fmla="*/ 6925855 h 6925856"/>
              <a:gd name="connsiteX0-2065" fmla="*/ 168369 w 9397013"/>
              <a:gd name="connsiteY0-2066" fmla="*/ 4571581 h 6925856"/>
              <a:gd name="connsiteX1-2067" fmla="*/ 0 w 9397013"/>
              <a:gd name="connsiteY1-2068" fmla="*/ 4200794 h 6925856"/>
              <a:gd name="connsiteX2-2069" fmla="*/ 3175788 w 9397013"/>
              <a:gd name="connsiteY2-2070" fmla="*/ 4084 h 6925856"/>
              <a:gd name="connsiteX3-2071" fmla="*/ 3628305 w 9397013"/>
              <a:gd name="connsiteY3-2072" fmla="*/ 0 h 6925856"/>
              <a:gd name="connsiteX4-2073" fmla="*/ 168369 w 9397013"/>
              <a:gd name="connsiteY4-2074" fmla="*/ 4571581 h 6925856"/>
              <a:gd name="connsiteX5-2075" fmla="*/ 488220 w 9397013"/>
              <a:gd name="connsiteY5-2076" fmla="*/ 5275963 h 6925856"/>
              <a:gd name="connsiteX6-2077" fmla="*/ 299082 w 9397013"/>
              <a:gd name="connsiteY6-2078" fmla="*/ 4859439 h 6925856"/>
              <a:gd name="connsiteX7-2079" fmla="*/ 3977147 w 9397013"/>
              <a:gd name="connsiteY7-2080" fmla="*/ 3723 h 6925856"/>
              <a:gd name="connsiteX8-2081" fmla="*/ 4465006 w 9397013"/>
              <a:gd name="connsiteY8-2082" fmla="*/ 840 h 6925856"/>
              <a:gd name="connsiteX9-2083" fmla="*/ 488220 w 9397013"/>
              <a:gd name="connsiteY9-2084" fmla="*/ 5275963 h 6925856"/>
              <a:gd name="connsiteX10-2085" fmla="*/ 1601458 w 9397013"/>
              <a:gd name="connsiteY10-2086" fmla="*/ 4845836 h 6925856"/>
              <a:gd name="connsiteX11-2087" fmla="*/ 618065 w 9397013"/>
              <a:gd name="connsiteY11-2088" fmla="*/ 5561911 h 6925856"/>
              <a:gd name="connsiteX12-2089" fmla="*/ 4805164 w 9397013"/>
              <a:gd name="connsiteY12-2090" fmla="*/ 4602 h 6925856"/>
              <a:gd name="connsiteX13-2091" fmla="*/ 5260238 w 9397013"/>
              <a:gd name="connsiteY13-2092" fmla="*/ 25779 h 6925856"/>
              <a:gd name="connsiteX14-2093" fmla="*/ 1601458 w 9397013"/>
              <a:gd name="connsiteY14-2094" fmla="*/ 4845836 h 6925856"/>
              <a:gd name="connsiteX15-2095" fmla="*/ 1580200 w 9397013"/>
              <a:gd name="connsiteY15-2096" fmla="*/ 5985735 h 6925856"/>
              <a:gd name="connsiteX16-2097" fmla="*/ 1566201 w 9397013"/>
              <a:gd name="connsiteY16-2098" fmla="*/ 5394811 h 6925856"/>
              <a:gd name="connsiteX17-2099" fmla="*/ 5641256 w 9397013"/>
              <a:gd name="connsiteY17-2100" fmla="*/ 4084 h 6925856"/>
              <a:gd name="connsiteX18-2101" fmla="*/ 6077099 w 9397013"/>
              <a:gd name="connsiteY18-2102" fmla="*/ 17286 h 6925856"/>
              <a:gd name="connsiteX19-2103" fmla="*/ 1580200 w 9397013"/>
              <a:gd name="connsiteY19-2104" fmla="*/ 5985735 h 6925856"/>
              <a:gd name="connsiteX20-2105" fmla="*/ 6958778 w 9397013"/>
              <a:gd name="connsiteY20-2106" fmla="*/ 6916619 h 6925856"/>
              <a:gd name="connsiteX21-2107" fmla="*/ 6560038 w 9397013"/>
              <a:gd name="connsiteY21-2108" fmla="*/ 6925855 h 6925856"/>
              <a:gd name="connsiteX22-2109" fmla="*/ 3849932 w 9397013"/>
              <a:gd name="connsiteY22-2110" fmla="*/ 3388318 h 6925856"/>
              <a:gd name="connsiteX23-2111" fmla="*/ 4086202 w 9397013"/>
              <a:gd name="connsiteY23-2112" fmla="*/ 3078877 h 6925856"/>
              <a:gd name="connsiteX24-2113" fmla="*/ 6958778 w 9397013"/>
              <a:gd name="connsiteY24-2114" fmla="*/ 6916619 h 6925856"/>
              <a:gd name="connsiteX25-2115" fmla="*/ 7777211 w 9397013"/>
              <a:gd name="connsiteY25-2116" fmla="*/ 6916620 h 6925856"/>
              <a:gd name="connsiteX26-2117" fmla="*/ 7324729 w 9397013"/>
              <a:gd name="connsiteY26-2118" fmla="*/ 6916620 h 6925856"/>
              <a:gd name="connsiteX27-2119" fmla="*/ 4245793 w 9397013"/>
              <a:gd name="connsiteY27-2120" fmla="*/ 2869862 h 6925856"/>
              <a:gd name="connsiteX28-2121" fmla="*/ 4490696 w 9397013"/>
              <a:gd name="connsiteY28-2122" fmla="*/ 2549117 h 6925856"/>
              <a:gd name="connsiteX29-2123" fmla="*/ 7777211 w 9397013"/>
              <a:gd name="connsiteY29-2124" fmla="*/ 6916620 h 6925856"/>
              <a:gd name="connsiteX30-2125" fmla="*/ 8567691 w 9397013"/>
              <a:gd name="connsiteY30-2126" fmla="*/ 6916619 h 6925856"/>
              <a:gd name="connsiteX31-2127" fmla="*/ 8159389 w 9397013"/>
              <a:gd name="connsiteY31-2128" fmla="*/ 6925856 h 6925856"/>
              <a:gd name="connsiteX32-2129" fmla="*/ 4650570 w 9397013"/>
              <a:gd name="connsiteY32-2130" fmla="*/ 2339732 h 6925856"/>
              <a:gd name="connsiteX33-2131" fmla="*/ 4869244 w 9397013"/>
              <a:gd name="connsiteY33-2132" fmla="*/ 2053337 h 6925856"/>
              <a:gd name="connsiteX34-2133" fmla="*/ 8567691 w 9397013"/>
              <a:gd name="connsiteY34-2134" fmla="*/ 6916619 h 6925856"/>
              <a:gd name="connsiteX35-2135" fmla="*/ 9397013 w 9397013"/>
              <a:gd name="connsiteY35-2136" fmla="*/ 6925855 h 6925856"/>
              <a:gd name="connsiteX36-2137" fmla="*/ 8921338 w 9397013"/>
              <a:gd name="connsiteY36-2138" fmla="*/ 6907383 h 6925856"/>
              <a:gd name="connsiteX37-2139" fmla="*/ 5045299 w 9397013"/>
              <a:gd name="connsiteY37-2140" fmla="*/ 1822761 h 6925856"/>
              <a:gd name="connsiteX38-2141" fmla="*/ 5273037 w 9397013"/>
              <a:gd name="connsiteY38-2142" fmla="*/ 1524494 h 6925856"/>
              <a:gd name="connsiteX39-2143" fmla="*/ 9397013 w 9397013"/>
              <a:gd name="connsiteY39-2144" fmla="*/ 6925855 h 6925856"/>
              <a:gd name="connsiteX0-2145" fmla="*/ 168369 w 9397013"/>
              <a:gd name="connsiteY0-2146" fmla="*/ 4571581 h 6925856"/>
              <a:gd name="connsiteX1-2147" fmla="*/ 0 w 9397013"/>
              <a:gd name="connsiteY1-2148" fmla="*/ 4200794 h 6925856"/>
              <a:gd name="connsiteX2-2149" fmla="*/ 3175788 w 9397013"/>
              <a:gd name="connsiteY2-2150" fmla="*/ 4084 h 6925856"/>
              <a:gd name="connsiteX3-2151" fmla="*/ 3628305 w 9397013"/>
              <a:gd name="connsiteY3-2152" fmla="*/ 0 h 6925856"/>
              <a:gd name="connsiteX4-2153" fmla="*/ 168369 w 9397013"/>
              <a:gd name="connsiteY4-2154" fmla="*/ 4571581 h 6925856"/>
              <a:gd name="connsiteX5-2155" fmla="*/ 488220 w 9397013"/>
              <a:gd name="connsiteY5-2156" fmla="*/ 5275963 h 6925856"/>
              <a:gd name="connsiteX6-2157" fmla="*/ 299082 w 9397013"/>
              <a:gd name="connsiteY6-2158" fmla="*/ 4859439 h 6925856"/>
              <a:gd name="connsiteX7-2159" fmla="*/ 3977147 w 9397013"/>
              <a:gd name="connsiteY7-2160" fmla="*/ 3723 h 6925856"/>
              <a:gd name="connsiteX8-2161" fmla="*/ 4465006 w 9397013"/>
              <a:gd name="connsiteY8-2162" fmla="*/ 840 h 6925856"/>
              <a:gd name="connsiteX9-2163" fmla="*/ 488220 w 9397013"/>
              <a:gd name="connsiteY9-2164" fmla="*/ 5275963 h 6925856"/>
              <a:gd name="connsiteX10-2165" fmla="*/ 1601458 w 9397013"/>
              <a:gd name="connsiteY10-2166" fmla="*/ 4845836 h 6925856"/>
              <a:gd name="connsiteX11-2167" fmla="*/ 1550937 w 9397013"/>
              <a:gd name="connsiteY11-2168" fmla="*/ 4315002 h 6925856"/>
              <a:gd name="connsiteX12-2169" fmla="*/ 4805164 w 9397013"/>
              <a:gd name="connsiteY12-2170" fmla="*/ 4602 h 6925856"/>
              <a:gd name="connsiteX13-2171" fmla="*/ 5260238 w 9397013"/>
              <a:gd name="connsiteY13-2172" fmla="*/ 25779 h 6925856"/>
              <a:gd name="connsiteX14-2173" fmla="*/ 1601458 w 9397013"/>
              <a:gd name="connsiteY14-2174" fmla="*/ 4845836 h 6925856"/>
              <a:gd name="connsiteX15-2175" fmla="*/ 1580200 w 9397013"/>
              <a:gd name="connsiteY15-2176" fmla="*/ 5985735 h 6925856"/>
              <a:gd name="connsiteX16-2177" fmla="*/ 1566201 w 9397013"/>
              <a:gd name="connsiteY16-2178" fmla="*/ 5394811 h 6925856"/>
              <a:gd name="connsiteX17-2179" fmla="*/ 5641256 w 9397013"/>
              <a:gd name="connsiteY17-2180" fmla="*/ 4084 h 6925856"/>
              <a:gd name="connsiteX18-2181" fmla="*/ 6077099 w 9397013"/>
              <a:gd name="connsiteY18-2182" fmla="*/ 17286 h 6925856"/>
              <a:gd name="connsiteX19-2183" fmla="*/ 1580200 w 9397013"/>
              <a:gd name="connsiteY19-2184" fmla="*/ 5985735 h 6925856"/>
              <a:gd name="connsiteX20-2185" fmla="*/ 6958778 w 9397013"/>
              <a:gd name="connsiteY20-2186" fmla="*/ 6916619 h 6925856"/>
              <a:gd name="connsiteX21-2187" fmla="*/ 6560038 w 9397013"/>
              <a:gd name="connsiteY21-2188" fmla="*/ 6925855 h 6925856"/>
              <a:gd name="connsiteX22-2189" fmla="*/ 3849932 w 9397013"/>
              <a:gd name="connsiteY22-2190" fmla="*/ 3388318 h 6925856"/>
              <a:gd name="connsiteX23-2191" fmla="*/ 4086202 w 9397013"/>
              <a:gd name="connsiteY23-2192" fmla="*/ 3078877 h 6925856"/>
              <a:gd name="connsiteX24-2193" fmla="*/ 6958778 w 9397013"/>
              <a:gd name="connsiteY24-2194" fmla="*/ 6916619 h 6925856"/>
              <a:gd name="connsiteX25-2195" fmla="*/ 7777211 w 9397013"/>
              <a:gd name="connsiteY25-2196" fmla="*/ 6916620 h 6925856"/>
              <a:gd name="connsiteX26-2197" fmla="*/ 7324729 w 9397013"/>
              <a:gd name="connsiteY26-2198" fmla="*/ 6916620 h 6925856"/>
              <a:gd name="connsiteX27-2199" fmla="*/ 4245793 w 9397013"/>
              <a:gd name="connsiteY27-2200" fmla="*/ 2869862 h 6925856"/>
              <a:gd name="connsiteX28-2201" fmla="*/ 4490696 w 9397013"/>
              <a:gd name="connsiteY28-2202" fmla="*/ 2549117 h 6925856"/>
              <a:gd name="connsiteX29-2203" fmla="*/ 7777211 w 9397013"/>
              <a:gd name="connsiteY29-2204" fmla="*/ 6916620 h 6925856"/>
              <a:gd name="connsiteX30-2205" fmla="*/ 8567691 w 9397013"/>
              <a:gd name="connsiteY30-2206" fmla="*/ 6916619 h 6925856"/>
              <a:gd name="connsiteX31-2207" fmla="*/ 8159389 w 9397013"/>
              <a:gd name="connsiteY31-2208" fmla="*/ 6925856 h 6925856"/>
              <a:gd name="connsiteX32-2209" fmla="*/ 4650570 w 9397013"/>
              <a:gd name="connsiteY32-2210" fmla="*/ 2339732 h 6925856"/>
              <a:gd name="connsiteX33-2211" fmla="*/ 4869244 w 9397013"/>
              <a:gd name="connsiteY33-2212" fmla="*/ 2053337 h 6925856"/>
              <a:gd name="connsiteX34-2213" fmla="*/ 8567691 w 9397013"/>
              <a:gd name="connsiteY34-2214" fmla="*/ 6916619 h 6925856"/>
              <a:gd name="connsiteX35-2215" fmla="*/ 9397013 w 9397013"/>
              <a:gd name="connsiteY35-2216" fmla="*/ 6925855 h 6925856"/>
              <a:gd name="connsiteX36-2217" fmla="*/ 8921338 w 9397013"/>
              <a:gd name="connsiteY36-2218" fmla="*/ 6907383 h 6925856"/>
              <a:gd name="connsiteX37-2219" fmla="*/ 5045299 w 9397013"/>
              <a:gd name="connsiteY37-2220" fmla="*/ 1822761 h 6925856"/>
              <a:gd name="connsiteX38-2221" fmla="*/ 5273037 w 9397013"/>
              <a:gd name="connsiteY38-2222" fmla="*/ 1524494 h 6925856"/>
              <a:gd name="connsiteX39-2223" fmla="*/ 9397013 w 9397013"/>
              <a:gd name="connsiteY39-2224" fmla="*/ 6925855 h 6925856"/>
              <a:gd name="connsiteX0-2225" fmla="*/ 168369 w 9397013"/>
              <a:gd name="connsiteY0-2226" fmla="*/ 4571581 h 6925856"/>
              <a:gd name="connsiteX1-2227" fmla="*/ 0 w 9397013"/>
              <a:gd name="connsiteY1-2228" fmla="*/ 4200794 h 6925856"/>
              <a:gd name="connsiteX2-2229" fmla="*/ 3175788 w 9397013"/>
              <a:gd name="connsiteY2-2230" fmla="*/ 4084 h 6925856"/>
              <a:gd name="connsiteX3-2231" fmla="*/ 3628305 w 9397013"/>
              <a:gd name="connsiteY3-2232" fmla="*/ 0 h 6925856"/>
              <a:gd name="connsiteX4-2233" fmla="*/ 168369 w 9397013"/>
              <a:gd name="connsiteY4-2234" fmla="*/ 4571581 h 6925856"/>
              <a:gd name="connsiteX5-2235" fmla="*/ 488220 w 9397013"/>
              <a:gd name="connsiteY5-2236" fmla="*/ 5275963 h 6925856"/>
              <a:gd name="connsiteX6-2237" fmla="*/ 299082 w 9397013"/>
              <a:gd name="connsiteY6-2238" fmla="*/ 4859439 h 6925856"/>
              <a:gd name="connsiteX7-2239" fmla="*/ 3977147 w 9397013"/>
              <a:gd name="connsiteY7-2240" fmla="*/ 3723 h 6925856"/>
              <a:gd name="connsiteX8-2241" fmla="*/ 4465006 w 9397013"/>
              <a:gd name="connsiteY8-2242" fmla="*/ 840 h 6925856"/>
              <a:gd name="connsiteX9-2243" fmla="*/ 488220 w 9397013"/>
              <a:gd name="connsiteY9-2244" fmla="*/ 5275963 h 6925856"/>
              <a:gd name="connsiteX10-2245" fmla="*/ 1573749 w 9397013"/>
              <a:gd name="connsiteY10-2246" fmla="*/ 4882781 h 6925856"/>
              <a:gd name="connsiteX11-2247" fmla="*/ 1550937 w 9397013"/>
              <a:gd name="connsiteY11-2248" fmla="*/ 4315002 h 6925856"/>
              <a:gd name="connsiteX12-2249" fmla="*/ 4805164 w 9397013"/>
              <a:gd name="connsiteY12-2250" fmla="*/ 4602 h 6925856"/>
              <a:gd name="connsiteX13-2251" fmla="*/ 5260238 w 9397013"/>
              <a:gd name="connsiteY13-2252" fmla="*/ 25779 h 6925856"/>
              <a:gd name="connsiteX14-2253" fmla="*/ 1573749 w 9397013"/>
              <a:gd name="connsiteY14-2254" fmla="*/ 4882781 h 6925856"/>
              <a:gd name="connsiteX15-2255" fmla="*/ 1580200 w 9397013"/>
              <a:gd name="connsiteY15-2256" fmla="*/ 5985735 h 6925856"/>
              <a:gd name="connsiteX16-2257" fmla="*/ 1566201 w 9397013"/>
              <a:gd name="connsiteY16-2258" fmla="*/ 5394811 h 6925856"/>
              <a:gd name="connsiteX17-2259" fmla="*/ 5641256 w 9397013"/>
              <a:gd name="connsiteY17-2260" fmla="*/ 4084 h 6925856"/>
              <a:gd name="connsiteX18-2261" fmla="*/ 6077099 w 9397013"/>
              <a:gd name="connsiteY18-2262" fmla="*/ 17286 h 6925856"/>
              <a:gd name="connsiteX19-2263" fmla="*/ 1580200 w 9397013"/>
              <a:gd name="connsiteY19-2264" fmla="*/ 5985735 h 6925856"/>
              <a:gd name="connsiteX20-2265" fmla="*/ 6958778 w 9397013"/>
              <a:gd name="connsiteY20-2266" fmla="*/ 6916619 h 6925856"/>
              <a:gd name="connsiteX21-2267" fmla="*/ 6560038 w 9397013"/>
              <a:gd name="connsiteY21-2268" fmla="*/ 6925855 h 6925856"/>
              <a:gd name="connsiteX22-2269" fmla="*/ 3849932 w 9397013"/>
              <a:gd name="connsiteY22-2270" fmla="*/ 3388318 h 6925856"/>
              <a:gd name="connsiteX23-2271" fmla="*/ 4086202 w 9397013"/>
              <a:gd name="connsiteY23-2272" fmla="*/ 3078877 h 6925856"/>
              <a:gd name="connsiteX24-2273" fmla="*/ 6958778 w 9397013"/>
              <a:gd name="connsiteY24-2274" fmla="*/ 6916619 h 6925856"/>
              <a:gd name="connsiteX25-2275" fmla="*/ 7777211 w 9397013"/>
              <a:gd name="connsiteY25-2276" fmla="*/ 6916620 h 6925856"/>
              <a:gd name="connsiteX26-2277" fmla="*/ 7324729 w 9397013"/>
              <a:gd name="connsiteY26-2278" fmla="*/ 6916620 h 6925856"/>
              <a:gd name="connsiteX27-2279" fmla="*/ 4245793 w 9397013"/>
              <a:gd name="connsiteY27-2280" fmla="*/ 2869862 h 6925856"/>
              <a:gd name="connsiteX28-2281" fmla="*/ 4490696 w 9397013"/>
              <a:gd name="connsiteY28-2282" fmla="*/ 2549117 h 6925856"/>
              <a:gd name="connsiteX29-2283" fmla="*/ 7777211 w 9397013"/>
              <a:gd name="connsiteY29-2284" fmla="*/ 6916620 h 6925856"/>
              <a:gd name="connsiteX30-2285" fmla="*/ 8567691 w 9397013"/>
              <a:gd name="connsiteY30-2286" fmla="*/ 6916619 h 6925856"/>
              <a:gd name="connsiteX31-2287" fmla="*/ 8159389 w 9397013"/>
              <a:gd name="connsiteY31-2288" fmla="*/ 6925856 h 6925856"/>
              <a:gd name="connsiteX32-2289" fmla="*/ 4650570 w 9397013"/>
              <a:gd name="connsiteY32-2290" fmla="*/ 2339732 h 6925856"/>
              <a:gd name="connsiteX33-2291" fmla="*/ 4869244 w 9397013"/>
              <a:gd name="connsiteY33-2292" fmla="*/ 2053337 h 6925856"/>
              <a:gd name="connsiteX34-2293" fmla="*/ 8567691 w 9397013"/>
              <a:gd name="connsiteY34-2294" fmla="*/ 6916619 h 6925856"/>
              <a:gd name="connsiteX35-2295" fmla="*/ 9397013 w 9397013"/>
              <a:gd name="connsiteY35-2296" fmla="*/ 6925855 h 6925856"/>
              <a:gd name="connsiteX36-2297" fmla="*/ 8921338 w 9397013"/>
              <a:gd name="connsiteY36-2298" fmla="*/ 6907383 h 6925856"/>
              <a:gd name="connsiteX37-2299" fmla="*/ 5045299 w 9397013"/>
              <a:gd name="connsiteY37-2300" fmla="*/ 1822761 h 6925856"/>
              <a:gd name="connsiteX38-2301" fmla="*/ 5273037 w 9397013"/>
              <a:gd name="connsiteY38-2302" fmla="*/ 1524494 h 6925856"/>
              <a:gd name="connsiteX39-2303" fmla="*/ 9397013 w 9397013"/>
              <a:gd name="connsiteY39-2304" fmla="*/ 6925855 h 6925856"/>
              <a:gd name="connsiteX0-2305" fmla="*/ 168369 w 9397013"/>
              <a:gd name="connsiteY0-2306" fmla="*/ 4571581 h 6925856"/>
              <a:gd name="connsiteX1-2307" fmla="*/ 0 w 9397013"/>
              <a:gd name="connsiteY1-2308" fmla="*/ 4200794 h 6925856"/>
              <a:gd name="connsiteX2-2309" fmla="*/ 3175788 w 9397013"/>
              <a:gd name="connsiteY2-2310" fmla="*/ 4084 h 6925856"/>
              <a:gd name="connsiteX3-2311" fmla="*/ 3628305 w 9397013"/>
              <a:gd name="connsiteY3-2312" fmla="*/ 0 h 6925856"/>
              <a:gd name="connsiteX4-2313" fmla="*/ 168369 w 9397013"/>
              <a:gd name="connsiteY4-2314" fmla="*/ 4571581 h 6925856"/>
              <a:gd name="connsiteX5-2315" fmla="*/ 1578111 w 9397013"/>
              <a:gd name="connsiteY5-2316" fmla="*/ 3835090 h 6925856"/>
              <a:gd name="connsiteX6-2317" fmla="*/ 299082 w 9397013"/>
              <a:gd name="connsiteY6-2318" fmla="*/ 4859439 h 6925856"/>
              <a:gd name="connsiteX7-2319" fmla="*/ 3977147 w 9397013"/>
              <a:gd name="connsiteY7-2320" fmla="*/ 3723 h 6925856"/>
              <a:gd name="connsiteX8-2321" fmla="*/ 4465006 w 9397013"/>
              <a:gd name="connsiteY8-2322" fmla="*/ 840 h 6925856"/>
              <a:gd name="connsiteX9-2323" fmla="*/ 1578111 w 9397013"/>
              <a:gd name="connsiteY9-2324" fmla="*/ 3835090 h 6925856"/>
              <a:gd name="connsiteX10-2325" fmla="*/ 1573749 w 9397013"/>
              <a:gd name="connsiteY10-2326" fmla="*/ 4882781 h 6925856"/>
              <a:gd name="connsiteX11-2327" fmla="*/ 1550937 w 9397013"/>
              <a:gd name="connsiteY11-2328" fmla="*/ 4315002 h 6925856"/>
              <a:gd name="connsiteX12-2329" fmla="*/ 4805164 w 9397013"/>
              <a:gd name="connsiteY12-2330" fmla="*/ 4602 h 6925856"/>
              <a:gd name="connsiteX13-2331" fmla="*/ 5260238 w 9397013"/>
              <a:gd name="connsiteY13-2332" fmla="*/ 25779 h 6925856"/>
              <a:gd name="connsiteX14-2333" fmla="*/ 1573749 w 9397013"/>
              <a:gd name="connsiteY14-2334" fmla="*/ 4882781 h 6925856"/>
              <a:gd name="connsiteX15-2335" fmla="*/ 1580200 w 9397013"/>
              <a:gd name="connsiteY15-2336" fmla="*/ 5985735 h 6925856"/>
              <a:gd name="connsiteX16-2337" fmla="*/ 1566201 w 9397013"/>
              <a:gd name="connsiteY16-2338" fmla="*/ 5394811 h 6925856"/>
              <a:gd name="connsiteX17-2339" fmla="*/ 5641256 w 9397013"/>
              <a:gd name="connsiteY17-2340" fmla="*/ 4084 h 6925856"/>
              <a:gd name="connsiteX18-2341" fmla="*/ 6077099 w 9397013"/>
              <a:gd name="connsiteY18-2342" fmla="*/ 17286 h 6925856"/>
              <a:gd name="connsiteX19-2343" fmla="*/ 1580200 w 9397013"/>
              <a:gd name="connsiteY19-2344" fmla="*/ 5985735 h 6925856"/>
              <a:gd name="connsiteX20-2345" fmla="*/ 6958778 w 9397013"/>
              <a:gd name="connsiteY20-2346" fmla="*/ 6916619 h 6925856"/>
              <a:gd name="connsiteX21-2347" fmla="*/ 6560038 w 9397013"/>
              <a:gd name="connsiteY21-2348" fmla="*/ 6925855 h 6925856"/>
              <a:gd name="connsiteX22-2349" fmla="*/ 3849932 w 9397013"/>
              <a:gd name="connsiteY22-2350" fmla="*/ 3388318 h 6925856"/>
              <a:gd name="connsiteX23-2351" fmla="*/ 4086202 w 9397013"/>
              <a:gd name="connsiteY23-2352" fmla="*/ 3078877 h 6925856"/>
              <a:gd name="connsiteX24-2353" fmla="*/ 6958778 w 9397013"/>
              <a:gd name="connsiteY24-2354" fmla="*/ 6916619 h 6925856"/>
              <a:gd name="connsiteX25-2355" fmla="*/ 7777211 w 9397013"/>
              <a:gd name="connsiteY25-2356" fmla="*/ 6916620 h 6925856"/>
              <a:gd name="connsiteX26-2357" fmla="*/ 7324729 w 9397013"/>
              <a:gd name="connsiteY26-2358" fmla="*/ 6916620 h 6925856"/>
              <a:gd name="connsiteX27-2359" fmla="*/ 4245793 w 9397013"/>
              <a:gd name="connsiteY27-2360" fmla="*/ 2869862 h 6925856"/>
              <a:gd name="connsiteX28-2361" fmla="*/ 4490696 w 9397013"/>
              <a:gd name="connsiteY28-2362" fmla="*/ 2549117 h 6925856"/>
              <a:gd name="connsiteX29-2363" fmla="*/ 7777211 w 9397013"/>
              <a:gd name="connsiteY29-2364" fmla="*/ 6916620 h 6925856"/>
              <a:gd name="connsiteX30-2365" fmla="*/ 8567691 w 9397013"/>
              <a:gd name="connsiteY30-2366" fmla="*/ 6916619 h 6925856"/>
              <a:gd name="connsiteX31-2367" fmla="*/ 8159389 w 9397013"/>
              <a:gd name="connsiteY31-2368" fmla="*/ 6925856 h 6925856"/>
              <a:gd name="connsiteX32-2369" fmla="*/ 4650570 w 9397013"/>
              <a:gd name="connsiteY32-2370" fmla="*/ 2339732 h 6925856"/>
              <a:gd name="connsiteX33-2371" fmla="*/ 4869244 w 9397013"/>
              <a:gd name="connsiteY33-2372" fmla="*/ 2053337 h 6925856"/>
              <a:gd name="connsiteX34-2373" fmla="*/ 8567691 w 9397013"/>
              <a:gd name="connsiteY34-2374" fmla="*/ 6916619 h 6925856"/>
              <a:gd name="connsiteX35-2375" fmla="*/ 9397013 w 9397013"/>
              <a:gd name="connsiteY35-2376" fmla="*/ 6925855 h 6925856"/>
              <a:gd name="connsiteX36-2377" fmla="*/ 8921338 w 9397013"/>
              <a:gd name="connsiteY36-2378" fmla="*/ 6907383 h 6925856"/>
              <a:gd name="connsiteX37-2379" fmla="*/ 5045299 w 9397013"/>
              <a:gd name="connsiteY37-2380" fmla="*/ 1822761 h 6925856"/>
              <a:gd name="connsiteX38-2381" fmla="*/ 5273037 w 9397013"/>
              <a:gd name="connsiteY38-2382" fmla="*/ 1524494 h 6925856"/>
              <a:gd name="connsiteX39-2383" fmla="*/ 9397013 w 9397013"/>
              <a:gd name="connsiteY39-2384" fmla="*/ 6925855 h 6925856"/>
              <a:gd name="connsiteX0-2385" fmla="*/ 168369 w 9397013"/>
              <a:gd name="connsiteY0-2386" fmla="*/ 4571581 h 6925856"/>
              <a:gd name="connsiteX1-2387" fmla="*/ 0 w 9397013"/>
              <a:gd name="connsiteY1-2388" fmla="*/ 4200794 h 6925856"/>
              <a:gd name="connsiteX2-2389" fmla="*/ 3175788 w 9397013"/>
              <a:gd name="connsiteY2-2390" fmla="*/ 4084 h 6925856"/>
              <a:gd name="connsiteX3-2391" fmla="*/ 3628305 w 9397013"/>
              <a:gd name="connsiteY3-2392" fmla="*/ 0 h 6925856"/>
              <a:gd name="connsiteX4-2393" fmla="*/ 168369 w 9397013"/>
              <a:gd name="connsiteY4-2394" fmla="*/ 4571581 h 6925856"/>
              <a:gd name="connsiteX5-2395" fmla="*/ 1578111 w 9397013"/>
              <a:gd name="connsiteY5-2396" fmla="*/ 3835090 h 6925856"/>
              <a:gd name="connsiteX6-2397" fmla="*/ 1564463 w 9397013"/>
              <a:gd name="connsiteY6-2398" fmla="*/ 3206130 h 6925856"/>
              <a:gd name="connsiteX7-2399" fmla="*/ 3977147 w 9397013"/>
              <a:gd name="connsiteY7-2400" fmla="*/ 3723 h 6925856"/>
              <a:gd name="connsiteX8-2401" fmla="*/ 4465006 w 9397013"/>
              <a:gd name="connsiteY8-2402" fmla="*/ 840 h 6925856"/>
              <a:gd name="connsiteX9-2403" fmla="*/ 1578111 w 9397013"/>
              <a:gd name="connsiteY9-2404" fmla="*/ 3835090 h 6925856"/>
              <a:gd name="connsiteX10-2405" fmla="*/ 1573749 w 9397013"/>
              <a:gd name="connsiteY10-2406" fmla="*/ 4882781 h 6925856"/>
              <a:gd name="connsiteX11-2407" fmla="*/ 1550937 w 9397013"/>
              <a:gd name="connsiteY11-2408" fmla="*/ 4315002 h 6925856"/>
              <a:gd name="connsiteX12-2409" fmla="*/ 4805164 w 9397013"/>
              <a:gd name="connsiteY12-2410" fmla="*/ 4602 h 6925856"/>
              <a:gd name="connsiteX13-2411" fmla="*/ 5260238 w 9397013"/>
              <a:gd name="connsiteY13-2412" fmla="*/ 25779 h 6925856"/>
              <a:gd name="connsiteX14-2413" fmla="*/ 1573749 w 9397013"/>
              <a:gd name="connsiteY14-2414" fmla="*/ 4882781 h 6925856"/>
              <a:gd name="connsiteX15-2415" fmla="*/ 1580200 w 9397013"/>
              <a:gd name="connsiteY15-2416" fmla="*/ 5985735 h 6925856"/>
              <a:gd name="connsiteX16-2417" fmla="*/ 1566201 w 9397013"/>
              <a:gd name="connsiteY16-2418" fmla="*/ 5394811 h 6925856"/>
              <a:gd name="connsiteX17-2419" fmla="*/ 5641256 w 9397013"/>
              <a:gd name="connsiteY17-2420" fmla="*/ 4084 h 6925856"/>
              <a:gd name="connsiteX18-2421" fmla="*/ 6077099 w 9397013"/>
              <a:gd name="connsiteY18-2422" fmla="*/ 17286 h 6925856"/>
              <a:gd name="connsiteX19-2423" fmla="*/ 1580200 w 9397013"/>
              <a:gd name="connsiteY19-2424" fmla="*/ 5985735 h 6925856"/>
              <a:gd name="connsiteX20-2425" fmla="*/ 6958778 w 9397013"/>
              <a:gd name="connsiteY20-2426" fmla="*/ 6916619 h 6925856"/>
              <a:gd name="connsiteX21-2427" fmla="*/ 6560038 w 9397013"/>
              <a:gd name="connsiteY21-2428" fmla="*/ 6925855 h 6925856"/>
              <a:gd name="connsiteX22-2429" fmla="*/ 3849932 w 9397013"/>
              <a:gd name="connsiteY22-2430" fmla="*/ 3388318 h 6925856"/>
              <a:gd name="connsiteX23-2431" fmla="*/ 4086202 w 9397013"/>
              <a:gd name="connsiteY23-2432" fmla="*/ 3078877 h 6925856"/>
              <a:gd name="connsiteX24-2433" fmla="*/ 6958778 w 9397013"/>
              <a:gd name="connsiteY24-2434" fmla="*/ 6916619 h 6925856"/>
              <a:gd name="connsiteX25-2435" fmla="*/ 7777211 w 9397013"/>
              <a:gd name="connsiteY25-2436" fmla="*/ 6916620 h 6925856"/>
              <a:gd name="connsiteX26-2437" fmla="*/ 7324729 w 9397013"/>
              <a:gd name="connsiteY26-2438" fmla="*/ 6916620 h 6925856"/>
              <a:gd name="connsiteX27-2439" fmla="*/ 4245793 w 9397013"/>
              <a:gd name="connsiteY27-2440" fmla="*/ 2869862 h 6925856"/>
              <a:gd name="connsiteX28-2441" fmla="*/ 4490696 w 9397013"/>
              <a:gd name="connsiteY28-2442" fmla="*/ 2549117 h 6925856"/>
              <a:gd name="connsiteX29-2443" fmla="*/ 7777211 w 9397013"/>
              <a:gd name="connsiteY29-2444" fmla="*/ 6916620 h 6925856"/>
              <a:gd name="connsiteX30-2445" fmla="*/ 8567691 w 9397013"/>
              <a:gd name="connsiteY30-2446" fmla="*/ 6916619 h 6925856"/>
              <a:gd name="connsiteX31-2447" fmla="*/ 8159389 w 9397013"/>
              <a:gd name="connsiteY31-2448" fmla="*/ 6925856 h 6925856"/>
              <a:gd name="connsiteX32-2449" fmla="*/ 4650570 w 9397013"/>
              <a:gd name="connsiteY32-2450" fmla="*/ 2339732 h 6925856"/>
              <a:gd name="connsiteX33-2451" fmla="*/ 4869244 w 9397013"/>
              <a:gd name="connsiteY33-2452" fmla="*/ 2053337 h 6925856"/>
              <a:gd name="connsiteX34-2453" fmla="*/ 8567691 w 9397013"/>
              <a:gd name="connsiteY34-2454" fmla="*/ 6916619 h 6925856"/>
              <a:gd name="connsiteX35-2455" fmla="*/ 9397013 w 9397013"/>
              <a:gd name="connsiteY35-2456" fmla="*/ 6925855 h 6925856"/>
              <a:gd name="connsiteX36-2457" fmla="*/ 8921338 w 9397013"/>
              <a:gd name="connsiteY36-2458" fmla="*/ 6907383 h 6925856"/>
              <a:gd name="connsiteX37-2459" fmla="*/ 5045299 w 9397013"/>
              <a:gd name="connsiteY37-2460" fmla="*/ 1822761 h 6925856"/>
              <a:gd name="connsiteX38-2461" fmla="*/ 5273037 w 9397013"/>
              <a:gd name="connsiteY38-2462" fmla="*/ 1524494 h 6925856"/>
              <a:gd name="connsiteX39-2463" fmla="*/ 9397013 w 9397013"/>
              <a:gd name="connsiteY39-2464" fmla="*/ 6925855 h 6925856"/>
              <a:gd name="connsiteX0-2465" fmla="*/ 1572296 w 9397013"/>
              <a:gd name="connsiteY0-2466" fmla="*/ 2715072 h 6925856"/>
              <a:gd name="connsiteX1-2467" fmla="*/ 0 w 9397013"/>
              <a:gd name="connsiteY1-2468" fmla="*/ 4200794 h 6925856"/>
              <a:gd name="connsiteX2-2469" fmla="*/ 3175788 w 9397013"/>
              <a:gd name="connsiteY2-2470" fmla="*/ 4084 h 6925856"/>
              <a:gd name="connsiteX3-2471" fmla="*/ 3628305 w 9397013"/>
              <a:gd name="connsiteY3-2472" fmla="*/ 0 h 6925856"/>
              <a:gd name="connsiteX4-2473" fmla="*/ 1572296 w 9397013"/>
              <a:gd name="connsiteY4-2474" fmla="*/ 2715072 h 6925856"/>
              <a:gd name="connsiteX5-2475" fmla="*/ 1578111 w 9397013"/>
              <a:gd name="connsiteY5-2476" fmla="*/ 3835090 h 6925856"/>
              <a:gd name="connsiteX6-2477" fmla="*/ 1564463 w 9397013"/>
              <a:gd name="connsiteY6-2478" fmla="*/ 3206130 h 6925856"/>
              <a:gd name="connsiteX7-2479" fmla="*/ 3977147 w 9397013"/>
              <a:gd name="connsiteY7-2480" fmla="*/ 3723 h 6925856"/>
              <a:gd name="connsiteX8-2481" fmla="*/ 4465006 w 9397013"/>
              <a:gd name="connsiteY8-2482" fmla="*/ 840 h 6925856"/>
              <a:gd name="connsiteX9-2483" fmla="*/ 1578111 w 9397013"/>
              <a:gd name="connsiteY9-2484" fmla="*/ 3835090 h 6925856"/>
              <a:gd name="connsiteX10-2485" fmla="*/ 1573749 w 9397013"/>
              <a:gd name="connsiteY10-2486" fmla="*/ 4882781 h 6925856"/>
              <a:gd name="connsiteX11-2487" fmla="*/ 1550937 w 9397013"/>
              <a:gd name="connsiteY11-2488" fmla="*/ 4315002 h 6925856"/>
              <a:gd name="connsiteX12-2489" fmla="*/ 4805164 w 9397013"/>
              <a:gd name="connsiteY12-2490" fmla="*/ 4602 h 6925856"/>
              <a:gd name="connsiteX13-2491" fmla="*/ 5260238 w 9397013"/>
              <a:gd name="connsiteY13-2492" fmla="*/ 25779 h 6925856"/>
              <a:gd name="connsiteX14-2493" fmla="*/ 1573749 w 9397013"/>
              <a:gd name="connsiteY14-2494" fmla="*/ 4882781 h 6925856"/>
              <a:gd name="connsiteX15-2495" fmla="*/ 1580200 w 9397013"/>
              <a:gd name="connsiteY15-2496" fmla="*/ 5985735 h 6925856"/>
              <a:gd name="connsiteX16-2497" fmla="*/ 1566201 w 9397013"/>
              <a:gd name="connsiteY16-2498" fmla="*/ 5394811 h 6925856"/>
              <a:gd name="connsiteX17-2499" fmla="*/ 5641256 w 9397013"/>
              <a:gd name="connsiteY17-2500" fmla="*/ 4084 h 6925856"/>
              <a:gd name="connsiteX18-2501" fmla="*/ 6077099 w 9397013"/>
              <a:gd name="connsiteY18-2502" fmla="*/ 17286 h 6925856"/>
              <a:gd name="connsiteX19-2503" fmla="*/ 1580200 w 9397013"/>
              <a:gd name="connsiteY19-2504" fmla="*/ 5985735 h 6925856"/>
              <a:gd name="connsiteX20-2505" fmla="*/ 6958778 w 9397013"/>
              <a:gd name="connsiteY20-2506" fmla="*/ 6916619 h 6925856"/>
              <a:gd name="connsiteX21-2507" fmla="*/ 6560038 w 9397013"/>
              <a:gd name="connsiteY21-2508" fmla="*/ 6925855 h 6925856"/>
              <a:gd name="connsiteX22-2509" fmla="*/ 3849932 w 9397013"/>
              <a:gd name="connsiteY22-2510" fmla="*/ 3388318 h 6925856"/>
              <a:gd name="connsiteX23-2511" fmla="*/ 4086202 w 9397013"/>
              <a:gd name="connsiteY23-2512" fmla="*/ 3078877 h 6925856"/>
              <a:gd name="connsiteX24-2513" fmla="*/ 6958778 w 9397013"/>
              <a:gd name="connsiteY24-2514" fmla="*/ 6916619 h 6925856"/>
              <a:gd name="connsiteX25-2515" fmla="*/ 7777211 w 9397013"/>
              <a:gd name="connsiteY25-2516" fmla="*/ 6916620 h 6925856"/>
              <a:gd name="connsiteX26-2517" fmla="*/ 7324729 w 9397013"/>
              <a:gd name="connsiteY26-2518" fmla="*/ 6916620 h 6925856"/>
              <a:gd name="connsiteX27-2519" fmla="*/ 4245793 w 9397013"/>
              <a:gd name="connsiteY27-2520" fmla="*/ 2869862 h 6925856"/>
              <a:gd name="connsiteX28-2521" fmla="*/ 4490696 w 9397013"/>
              <a:gd name="connsiteY28-2522" fmla="*/ 2549117 h 6925856"/>
              <a:gd name="connsiteX29-2523" fmla="*/ 7777211 w 9397013"/>
              <a:gd name="connsiteY29-2524" fmla="*/ 6916620 h 6925856"/>
              <a:gd name="connsiteX30-2525" fmla="*/ 8567691 w 9397013"/>
              <a:gd name="connsiteY30-2526" fmla="*/ 6916619 h 6925856"/>
              <a:gd name="connsiteX31-2527" fmla="*/ 8159389 w 9397013"/>
              <a:gd name="connsiteY31-2528" fmla="*/ 6925856 h 6925856"/>
              <a:gd name="connsiteX32-2529" fmla="*/ 4650570 w 9397013"/>
              <a:gd name="connsiteY32-2530" fmla="*/ 2339732 h 6925856"/>
              <a:gd name="connsiteX33-2531" fmla="*/ 4869244 w 9397013"/>
              <a:gd name="connsiteY33-2532" fmla="*/ 2053337 h 6925856"/>
              <a:gd name="connsiteX34-2533" fmla="*/ 8567691 w 9397013"/>
              <a:gd name="connsiteY34-2534" fmla="*/ 6916619 h 6925856"/>
              <a:gd name="connsiteX35-2535" fmla="*/ 9397013 w 9397013"/>
              <a:gd name="connsiteY35-2536" fmla="*/ 6925855 h 6925856"/>
              <a:gd name="connsiteX36-2537" fmla="*/ 8921338 w 9397013"/>
              <a:gd name="connsiteY36-2538" fmla="*/ 6907383 h 6925856"/>
              <a:gd name="connsiteX37-2539" fmla="*/ 5045299 w 9397013"/>
              <a:gd name="connsiteY37-2540" fmla="*/ 1822761 h 6925856"/>
              <a:gd name="connsiteX38-2541" fmla="*/ 5273037 w 9397013"/>
              <a:gd name="connsiteY38-2542" fmla="*/ 1524494 h 6925856"/>
              <a:gd name="connsiteX39-2543" fmla="*/ 9397013 w 9397013"/>
              <a:gd name="connsiteY39-2544" fmla="*/ 6925855 h 6925856"/>
              <a:gd name="connsiteX0-2545" fmla="*/ 21359 w 7846076"/>
              <a:gd name="connsiteY0-2546" fmla="*/ 2715072 h 6925856"/>
              <a:gd name="connsiteX1-2547" fmla="*/ 28481 w 7846076"/>
              <a:gd name="connsiteY1-2548" fmla="*/ 2104139 h 6925856"/>
              <a:gd name="connsiteX2-2549" fmla="*/ 1624851 w 7846076"/>
              <a:gd name="connsiteY2-2550" fmla="*/ 4084 h 6925856"/>
              <a:gd name="connsiteX3-2551" fmla="*/ 2077368 w 7846076"/>
              <a:gd name="connsiteY3-2552" fmla="*/ 0 h 6925856"/>
              <a:gd name="connsiteX4-2553" fmla="*/ 21359 w 7846076"/>
              <a:gd name="connsiteY4-2554" fmla="*/ 2715072 h 6925856"/>
              <a:gd name="connsiteX5-2555" fmla="*/ 27174 w 7846076"/>
              <a:gd name="connsiteY5-2556" fmla="*/ 3835090 h 6925856"/>
              <a:gd name="connsiteX6-2557" fmla="*/ 13526 w 7846076"/>
              <a:gd name="connsiteY6-2558" fmla="*/ 3206130 h 6925856"/>
              <a:gd name="connsiteX7-2559" fmla="*/ 2426210 w 7846076"/>
              <a:gd name="connsiteY7-2560" fmla="*/ 3723 h 6925856"/>
              <a:gd name="connsiteX8-2561" fmla="*/ 2914069 w 7846076"/>
              <a:gd name="connsiteY8-2562" fmla="*/ 840 h 6925856"/>
              <a:gd name="connsiteX9-2563" fmla="*/ 27174 w 7846076"/>
              <a:gd name="connsiteY9-2564" fmla="*/ 3835090 h 6925856"/>
              <a:gd name="connsiteX10-2565" fmla="*/ 22812 w 7846076"/>
              <a:gd name="connsiteY10-2566" fmla="*/ 4882781 h 6925856"/>
              <a:gd name="connsiteX11-2567" fmla="*/ 0 w 7846076"/>
              <a:gd name="connsiteY11-2568" fmla="*/ 4315002 h 6925856"/>
              <a:gd name="connsiteX12-2569" fmla="*/ 3254227 w 7846076"/>
              <a:gd name="connsiteY12-2570" fmla="*/ 4602 h 6925856"/>
              <a:gd name="connsiteX13-2571" fmla="*/ 3709301 w 7846076"/>
              <a:gd name="connsiteY13-2572" fmla="*/ 25779 h 6925856"/>
              <a:gd name="connsiteX14-2573" fmla="*/ 22812 w 7846076"/>
              <a:gd name="connsiteY14-2574" fmla="*/ 4882781 h 6925856"/>
              <a:gd name="connsiteX15-2575" fmla="*/ 29263 w 7846076"/>
              <a:gd name="connsiteY15-2576" fmla="*/ 5985735 h 6925856"/>
              <a:gd name="connsiteX16-2577" fmla="*/ 15264 w 7846076"/>
              <a:gd name="connsiteY16-2578" fmla="*/ 5394811 h 6925856"/>
              <a:gd name="connsiteX17-2579" fmla="*/ 4090319 w 7846076"/>
              <a:gd name="connsiteY17-2580" fmla="*/ 4084 h 6925856"/>
              <a:gd name="connsiteX18-2581" fmla="*/ 4526162 w 7846076"/>
              <a:gd name="connsiteY18-2582" fmla="*/ 17286 h 6925856"/>
              <a:gd name="connsiteX19-2583" fmla="*/ 29263 w 7846076"/>
              <a:gd name="connsiteY19-2584" fmla="*/ 5985735 h 6925856"/>
              <a:gd name="connsiteX20-2585" fmla="*/ 5407841 w 7846076"/>
              <a:gd name="connsiteY20-2586" fmla="*/ 6916619 h 6925856"/>
              <a:gd name="connsiteX21-2587" fmla="*/ 5009101 w 7846076"/>
              <a:gd name="connsiteY21-2588" fmla="*/ 6925855 h 6925856"/>
              <a:gd name="connsiteX22-2589" fmla="*/ 2298995 w 7846076"/>
              <a:gd name="connsiteY22-2590" fmla="*/ 3388318 h 6925856"/>
              <a:gd name="connsiteX23-2591" fmla="*/ 2535265 w 7846076"/>
              <a:gd name="connsiteY23-2592" fmla="*/ 3078877 h 6925856"/>
              <a:gd name="connsiteX24-2593" fmla="*/ 5407841 w 7846076"/>
              <a:gd name="connsiteY24-2594" fmla="*/ 6916619 h 6925856"/>
              <a:gd name="connsiteX25-2595" fmla="*/ 6226274 w 7846076"/>
              <a:gd name="connsiteY25-2596" fmla="*/ 6916620 h 6925856"/>
              <a:gd name="connsiteX26-2597" fmla="*/ 5773792 w 7846076"/>
              <a:gd name="connsiteY26-2598" fmla="*/ 6916620 h 6925856"/>
              <a:gd name="connsiteX27-2599" fmla="*/ 2694856 w 7846076"/>
              <a:gd name="connsiteY27-2600" fmla="*/ 2869862 h 6925856"/>
              <a:gd name="connsiteX28-2601" fmla="*/ 2939759 w 7846076"/>
              <a:gd name="connsiteY28-2602" fmla="*/ 2549117 h 6925856"/>
              <a:gd name="connsiteX29-2603" fmla="*/ 6226274 w 7846076"/>
              <a:gd name="connsiteY29-2604" fmla="*/ 6916620 h 6925856"/>
              <a:gd name="connsiteX30-2605" fmla="*/ 7016754 w 7846076"/>
              <a:gd name="connsiteY30-2606" fmla="*/ 6916619 h 6925856"/>
              <a:gd name="connsiteX31-2607" fmla="*/ 6608452 w 7846076"/>
              <a:gd name="connsiteY31-2608" fmla="*/ 6925856 h 6925856"/>
              <a:gd name="connsiteX32-2609" fmla="*/ 3099633 w 7846076"/>
              <a:gd name="connsiteY32-2610" fmla="*/ 2339732 h 6925856"/>
              <a:gd name="connsiteX33-2611" fmla="*/ 3318307 w 7846076"/>
              <a:gd name="connsiteY33-2612" fmla="*/ 2053337 h 6925856"/>
              <a:gd name="connsiteX34-2613" fmla="*/ 7016754 w 7846076"/>
              <a:gd name="connsiteY34-2614" fmla="*/ 6916619 h 6925856"/>
              <a:gd name="connsiteX35-2615" fmla="*/ 7846076 w 7846076"/>
              <a:gd name="connsiteY35-2616" fmla="*/ 6925855 h 6925856"/>
              <a:gd name="connsiteX36-2617" fmla="*/ 7370401 w 7846076"/>
              <a:gd name="connsiteY36-2618" fmla="*/ 6907383 h 6925856"/>
              <a:gd name="connsiteX37-2619" fmla="*/ 3494362 w 7846076"/>
              <a:gd name="connsiteY37-2620" fmla="*/ 1822761 h 6925856"/>
              <a:gd name="connsiteX38-2621" fmla="*/ 3722100 w 7846076"/>
              <a:gd name="connsiteY38-2622" fmla="*/ 1524494 h 6925856"/>
              <a:gd name="connsiteX39-2623" fmla="*/ 7846076 w 7846076"/>
              <a:gd name="connsiteY39-2624" fmla="*/ 6925855 h 692585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129" y="connsiteY32-130"/>
              </a:cxn>
              <a:cxn ang="0">
                <a:pos x="connsiteX33-131" y="connsiteY33-132"/>
              </a:cxn>
              <a:cxn ang="0">
                <a:pos x="connsiteX34-133" y="connsiteY34-134"/>
              </a:cxn>
              <a:cxn ang="0">
                <a:pos x="connsiteX35-135" y="connsiteY35-136"/>
              </a:cxn>
              <a:cxn ang="0">
                <a:pos x="connsiteX36-137" y="connsiteY36-138"/>
              </a:cxn>
              <a:cxn ang="0">
                <a:pos x="connsiteX37-139" y="connsiteY37-140"/>
              </a:cxn>
              <a:cxn ang="0">
                <a:pos x="connsiteX38-141" y="connsiteY38-142"/>
              </a:cxn>
              <a:cxn ang="0">
                <a:pos x="connsiteX39-143" y="connsiteY39-144"/>
              </a:cxn>
            </a:cxnLst>
            <a:rect l="l" t="t" r="r" b="b"/>
            <a:pathLst>
              <a:path w="7846076" h="6925856">
                <a:moveTo>
                  <a:pt x="21359" y="2715072"/>
                </a:moveTo>
                <a:lnTo>
                  <a:pt x="28481" y="2104139"/>
                </a:lnTo>
                <a:lnTo>
                  <a:pt x="1624851" y="4084"/>
                </a:lnTo>
                <a:lnTo>
                  <a:pt x="2077368" y="0"/>
                </a:lnTo>
                <a:lnTo>
                  <a:pt x="21359" y="2715072"/>
                </a:lnTo>
                <a:close/>
                <a:moveTo>
                  <a:pt x="27174" y="3835090"/>
                </a:moveTo>
                <a:lnTo>
                  <a:pt x="13526" y="3206130"/>
                </a:lnTo>
                <a:lnTo>
                  <a:pt x="2426210" y="3723"/>
                </a:lnTo>
                <a:lnTo>
                  <a:pt x="2914069" y="840"/>
                </a:lnTo>
                <a:lnTo>
                  <a:pt x="27174" y="3835090"/>
                </a:lnTo>
                <a:close/>
                <a:moveTo>
                  <a:pt x="22812" y="4882781"/>
                </a:moveTo>
                <a:lnTo>
                  <a:pt x="0" y="4315002"/>
                </a:lnTo>
                <a:lnTo>
                  <a:pt x="3254227" y="4602"/>
                </a:lnTo>
                <a:lnTo>
                  <a:pt x="3709301" y="25779"/>
                </a:lnTo>
                <a:lnTo>
                  <a:pt x="22812" y="4882781"/>
                </a:lnTo>
                <a:close/>
                <a:moveTo>
                  <a:pt x="29263" y="5985735"/>
                </a:moveTo>
                <a:lnTo>
                  <a:pt x="15264" y="5394811"/>
                </a:lnTo>
                <a:lnTo>
                  <a:pt x="4090319" y="4084"/>
                </a:lnTo>
                <a:lnTo>
                  <a:pt x="4526162" y="17286"/>
                </a:lnTo>
                <a:lnTo>
                  <a:pt x="29263" y="5985735"/>
                </a:lnTo>
                <a:close/>
                <a:moveTo>
                  <a:pt x="5407841" y="6916619"/>
                </a:moveTo>
                <a:lnTo>
                  <a:pt x="5009101" y="6925855"/>
                </a:lnTo>
                <a:lnTo>
                  <a:pt x="2298995" y="3388318"/>
                </a:lnTo>
                <a:lnTo>
                  <a:pt x="2535265" y="3078877"/>
                </a:lnTo>
                <a:lnTo>
                  <a:pt x="5407841" y="6916619"/>
                </a:lnTo>
                <a:close/>
                <a:moveTo>
                  <a:pt x="6226274" y="6916620"/>
                </a:moveTo>
                <a:lnTo>
                  <a:pt x="5773792" y="6916620"/>
                </a:lnTo>
                <a:lnTo>
                  <a:pt x="2694856" y="2869862"/>
                </a:lnTo>
                <a:lnTo>
                  <a:pt x="2939759" y="2549117"/>
                </a:lnTo>
                <a:lnTo>
                  <a:pt x="6226274" y="6916620"/>
                </a:lnTo>
                <a:close/>
                <a:moveTo>
                  <a:pt x="7016754" y="6916619"/>
                </a:moveTo>
                <a:lnTo>
                  <a:pt x="6608452" y="6925856"/>
                </a:lnTo>
                <a:lnTo>
                  <a:pt x="3099633" y="2339732"/>
                </a:lnTo>
                <a:lnTo>
                  <a:pt x="3318307" y="2053337"/>
                </a:lnTo>
                <a:lnTo>
                  <a:pt x="7016754" y="6916619"/>
                </a:lnTo>
                <a:close/>
                <a:moveTo>
                  <a:pt x="7846076" y="6925855"/>
                </a:moveTo>
                <a:lnTo>
                  <a:pt x="7370401" y="6907383"/>
                </a:lnTo>
                <a:lnTo>
                  <a:pt x="3494362" y="1822761"/>
                </a:lnTo>
                <a:lnTo>
                  <a:pt x="3722100" y="1524494"/>
                </a:lnTo>
                <a:lnTo>
                  <a:pt x="7846076" y="6925855"/>
                </a:lnTo>
                <a:close/>
              </a:path>
            </a:pathLst>
          </a:custGeom>
          <a:solidFill>
            <a:schemeClr val="bg1">
              <a:lumMod val="9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5" name="文本框 4"/>
          <p:cNvSpPr txBox="1"/>
          <p:nvPr/>
        </p:nvSpPr>
        <p:spPr>
          <a:xfrm>
            <a:off x="337690" y="1330990"/>
            <a:ext cx="10907826" cy="785343"/>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zh-CN" altLang="en-US" sz="1600" dirty="0"/>
              <a:t>论文创新性与影响力（发表后的</a:t>
            </a:r>
            <a:r>
              <a:rPr lang="en-US" altLang="zh-CN" sz="1600" dirty="0"/>
              <a:t>1</a:t>
            </a:r>
            <a:r>
              <a:rPr lang="zh-CN" altLang="en-US" sz="1600" dirty="0"/>
              <a:t>、</a:t>
            </a:r>
            <a:r>
              <a:rPr lang="en-US" altLang="zh-CN" sz="1600" dirty="0"/>
              <a:t>3</a:t>
            </a:r>
            <a:r>
              <a:rPr lang="zh-CN" altLang="en-US" sz="1600" dirty="0"/>
              <a:t>、</a:t>
            </a:r>
            <a:r>
              <a:rPr lang="en-US" altLang="zh-CN" sz="1600" dirty="0"/>
              <a:t>5</a:t>
            </a:r>
            <a:r>
              <a:rPr lang="zh-CN" altLang="en-US" sz="1600" dirty="0"/>
              <a:t>年内所获得的引用数量）呈现</a:t>
            </a:r>
            <a:r>
              <a:rPr lang="en-US" altLang="zh-CN" sz="1600" dirty="0"/>
              <a:t>U</a:t>
            </a:r>
            <a:r>
              <a:rPr lang="zh-CN" altLang="en-US" sz="1600" dirty="0"/>
              <a:t>型关系，且在</a:t>
            </a:r>
            <a:r>
              <a:rPr lang="en-US" altLang="zh-CN" sz="1600" dirty="0"/>
              <a:t>5</a:t>
            </a:r>
            <a:r>
              <a:rPr lang="zh-CN" altLang="en-US" sz="1600" dirty="0"/>
              <a:t>年被引量中最明显</a:t>
            </a:r>
            <a:endParaRPr lang="en-US" altLang="zh-CN" sz="1600" dirty="0"/>
          </a:p>
          <a:p>
            <a:pPr marL="285750" indent="-285750">
              <a:lnSpc>
                <a:spcPct val="150000"/>
              </a:lnSpc>
              <a:buFont typeface="Arial" panose="020B0604020202020204" pitchFamily="34" charset="0"/>
              <a:buChar char="•"/>
            </a:pPr>
            <a:r>
              <a:rPr lang="zh-CN" altLang="en-US" sz="1600" dirty="0"/>
              <a:t>论文的投录时间与影响力存在负相关关系，且投录时间负向调节论文创新性与影响力的关系</a:t>
            </a:r>
            <a:endParaRPr lang="en-US" altLang="zh-CN" sz="1600" dirty="0"/>
          </a:p>
        </p:txBody>
      </p:sp>
      <p:sp>
        <p:nvSpPr>
          <p:cNvPr id="2" name="íšľîḓê"/>
          <p:cNvSpPr>
            <a:spLocks noGrp="1"/>
          </p:cNvSpPr>
          <p:nvPr>
            <p:ph type="title"/>
          </p:nvPr>
        </p:nvSpPr>
        <p:spPr/>
        <p:txBody>
          <a:bodyPr/>
          <a:lstStyle/>
          <a:p>
            <a:r>
              <a:rPr lang="en-US" altLang="zh-CN" dirty="0"/>
              <a:t>3. </a:t>
            </a:r>
            <a:r>
              <a:rPr lang="zh-CN" altLang="en-US" dirty="0"/>
              <a:t>研究结果 </a:t>
            </a:r>
            <a:r>
              <a:rPr lang="en-US" altLang="zh-CN" dirty="0"/>
              <a:t>– </a:t>
            </a:r>
            <a:r>
              <a:rPr lang="zh-CN" altLang="en-US" dirty="0"/>
              <a:t>回归分析</a:t>
            </a:r>
            <a:endParaRPr lang="zh-CN" altLang="en-US" dirty="0"/>
          </a:p>
        </p:txBody>
      </p:sp>
      <p:pic>
        <p:nvPicPr>
          <p:cNvPr id="3" name="图片 2"/>
          <p:cNvPicPr>
            <a:picLocks noChangeAspect="1"/>
          </p:cNvPicPr>
          <p:nvPr/>
        </p:nvPicPr>
        <p:blipFill>
          <a:blip r:embed="rId1"/>
          <a:stretch>
            <a:fillRect/>
          </a:stretch>
        </p:blipFill>
        <p:spPr>
          <a:xfrm>
            <a:off x="276977" y="2809659"/>
            <a:ext cx="7528847" cy="3054517"/>
          </a:xfrm>
          <a:prstGeom prst="rect">
            <a:avLst/>
          </a:prstGeom>
        </p:spPr>
      </p:pic>
      <p:pic>
        <p:nvPicPr>
          <p:cNvPr id="7" name="图片 6"/>
          <p:cNvPicPr>
            <a:picLocks noChangeAspect="1"/>
          </p:cNvPicPr>
          <p:nvPr/>
        </p:nvPicPr>
        <p:blipFill>
          <a:blip r:embed="rId2"/>
          <a:stretch>
            <a:fillRect/>
          </a:stretch>
        </p:blipFill>
        <p:spPr>
          <a:xfrm>
            <a:off x="7805824" y="2856318"/>
            <a:ext cx="4347410" cy="3128136"/>
          </a:xfrm>
          <a:prstGeom prst="rect">
            <a:avLst/>
          </a:prstGeom>
        </p:spPr>
      </p:pic>
    </p:spTree>
    <p:custDataLst>
      <p:tags r:id="rId3"/>
    </p:custData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iṣlide"/>
        <p:cNvGrpSpPr/>
        <p:nvPr/>
      </p:nvGrpSpPr>
      <p:grpSpPr>
        <a:xfrm>
          <a:off x="0" y="0"/>
          <a:ext cx="0" cy="0"/>
          <a:chOff x="0" y="0"/>
          <a:chExt cx="0" cy="0"/>
        </a:xfrm>
      </p:grpSpPr>
      <p:sp>
        <p:nvSpPr>
          <p:cNvPr id="4" name="ïṣḷide"/>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110" name="íṥļîďè"/>
          <p:cNvSpPr/>
          <p:nvPr/>
        </p:nvSpPr>
        <p:spPr>
          <a:xfrm rot="10800000">
            <a:off x="4396104" y="0"/>
            <a:ext cx="7846076" cy="6857999"/>
          </a:xfrm>
          <a:custGeom>
            <a:avLst/>
            <a:gdLst>
              <a:gd name="connsiteX0" fmla="*/ 168369 w 9517086"/>
              <a:gd name="connsiteY0" fmla="*/ 4779933 h 7291226"/>
              <a:gd name="connsiteX1" fmla="*/ 0 w 9517086"/>
              <a:gd name="connsiteY1" fmla="*/ 4409146 h 7291226"/>
              <a:gd name="connsiteX2" fmla="*/ 3332806 w 9517086"/>
              <a:gd name="connsiteY2" fmla="*/ 0 h 7291226"/>
              <a:gd name="connsiteX3" fmla="*/ 3794560 w 9517086"/>
              <a:gd name="connsiteY3" fmla="*/ 32861 h 7291226"/>
              <a:gd name="connsiteX4" fmla="*/ 488220 w 9517086"/>
              <a:gd name="connsiteY4" fmla="*/ 5484315 h 7291226"/>
              <a:gd name="connsiteX5" fmla="*/ 299082 w 9517086"/>
              <a:gd name="connsiteY5" fmla="*/ 5067791 h 7291226"/>
              <a:gd name="connsiteX6" fmla="*/ 4106456 w 9517086"/>
              <a:gd name="connsiteY6" fmla="*/ 55057 h 7291226"/>
              <a:gd name="connsiteX7" fmla="*/ 4585079 w 9517086"/>
              <a:gd name="connsiteY7" fmla="*/ 89119 h 7291226"/>
              <a:gd name="connsiteX8" fmla="*/ 779421 w 9517086"/>
              <a:gd name="connsiteY8" fmla="*/ 6125606 h 7291226"/>
              <a:gd name="connsiteX9" fmla="*/ 618065 w 9517086"/>
              <a:gd name="connsiteY9" fmla="*/ 5770263 h 7291226"/>
              <a:gd name="connsiteX10" fmla="*/ 4897528 w 9517086"/>
              <a:gd name="connsiteY10" fmla="*/ 111354 h 7291226"/>
              <a:gd name="connsiteX11" fmla="*/ 5324893 w 9517086"/>
              <a:gd name="connsiteY11" fmla="*/ 141768 h 7291226"/>
              <a:gd name="connsiteX12" fmla="*/ 1099910 w 9517086"/>
              <a:gd name="connsiteY12" fmla="*/ 6831395 h 7291226"/>
              <a:gd name="connsiteX13" fmla="*/ 919656 w 9517086"/>
              <a:gd name="connsiteY13" fmla="*/ 6434435 h 7291226"/>
              <a:gd name="connsiteX14" fmla="*/ 5668965 w 9517086"/>
              <a:gd name="connsiteY14" fmla="*/ 166254 h 7291226"/>
              <a:gd name="connsiteX15" fmla="*/ 6114044 w 9517086"/>
              <a:gd name="connsiteY15" fmla="*/ 197929 h 7291226"/>
              <a:gd name="connsiteX16" fmla="*/ 7106560 w 9517086"/>
              <a:gd name="connsiteY16" fmla="*/ 7291226 h 7291226"/>
              <a:gd name="connsiteX17" fmla="*/ 6670875 w 9517086"/>
              <a:gd name="connsiteY17" fmla="*/ 7291226 h 7291226"/>
              <a:gd name="connsiteX18" fmla="*/ 3849932 w 9517086"/>
              <a:gd name="connsiteY18" fmla="*/ 3596670 h 7291226"/>
              <a:gd name="connsiteX19" fmla="*/ 4086202 w 9517086"/>
              <a:gd name="connsiteY19" fmla="*/ 3287229 h 7291226"/>
              <a:gd name="connsiteX20" fmla="*/ 7934229 w 9517086"/>
              <a:gd name="connsiteY20" fmla="*/ 7291226 h 7291226"/>
              <a:gd name="connsiteX21" fmla="*/ 7444802 w 9517086"/>
              <a:gd name="connsiteY21" fmla="*/ 7291226 h 7291226"/>
              <a:gd name="connsiteX22" fmla="*/ 4245793 w 9517086"/>
              <a:gd name="connsiteY22" fmla="*/ 3078214 h 7291226"/>
              <a:gd name="connsiteX23" fmla="*/ 4490696 w 9517086"/>
              <a:gd name="connsiteY23" fmla="*/ 2757469 h 7291226"/>
              <a:gd name="connsiteX24" fmla="*/ 8687764 w 9517086"/>
              <a:gd name="connsiteY24" fmla="*/ 7291226 h 7291226"/>
              <a:gd name="connsiteX25" fmla="*/ 8270226 w 9517086"/>
              <a:gd name="connsiteY25" fmla="*/ 7291226 h 7291226"/>
              <a:gd name="connsiteX26" fmla="*/ 4650570 w 9517086"/>
              <a:gd name="connsiteY26" fmla="*/ 2548084 h 7291226"/>
              <a:gd name="connsiteX27" fmla="*/ 4869244 w 9517086"/>
              <a:gd name="connsiteY27" fmla="*/ 2261689 h 7291226"/>
              <a:gd name="connsiteX28" fmla="*/ 9517086 w 9517086"/>
              <a:gd name="connsiteY28" fmla="*/ 7291226 h 7291226"/>
              <a:gd name="connsiteX29" fmla="*/ 9050647 w 9517086"/>
              <a:gd name="connsiteY29" fmla="*/ 7291226 h 7291226"/>
              <a:gd name="connsiteX30" fmla="*/ 5045299 w 9517086"/>
              <a:gd name="connsiteY30" fmla="*/ 2031113 h 7291226"/>
              <a:gd name="connsiteX31" fmla="*/ 5273037 w 9517086"/>
              <a:gd name="connsiteY31" fmla="*/ 1732846 h 7291226"/>
              <a:gd name="connsiteX0-1" fmla="*/ 168369 w 9378540"/>
              <a:gd name="connsiteY0-2" fmla="*/ 4779933 h 7291226"/>
              <a:gd name="connsiteX1-3" fmla="*/ 0 w 9378540"/>
              <a:gd name="connsiteY1-4" fmla="*/ 4409146 h 7291226"/>
              <a:gd name="connsiteX2-5" fmla="*/ 3332806 w 9378540"/>
              <a:gd name="connsiteY2-6" fmla="*/ 0 h 7291226"/>
              <a:gd name="connsiteX3-7" fmla="*/ 3794560 w 9378540"/>
              <a:gd name="connsiteY3-8" fmla="*/ 32861 h 7291226"/>
              <a:gd name="connsiteX4-9" fmla="*/ 168369 w 9378540"/>
              <a:gd name="connsiteY4-10" fmla="*/ 4779933 h 7291226"/>
              <a:gd name="connsiteX5-11" fmla="*/ 488220 w 9378540"/>
              <a:gd name="connsiteY5-12" fmla="*/ 5484315 h 7291226"/>
              <a:gd name="connsiteX6-13" fmla="*/ 299082 w 9378540"/>
              <a:gd name="connsiteY6-14" fmla="*/ 5067791 h 7291226"/>
              <a:gd name="connsiteX7-15" fmla="*/ 4106456 w 9378540"/>
              <a:gd name="connsiteY7-16" fmla="*/ 55057 h 7291226"/>
              <a:gd name="connsiteX8-17" fmla="*/ 4585079 w 9378540"/>
              <a:gd name="connsiteY8-18" fmla="*/ 89119 h 7291226"/>
              <a:gd name="connsiteX9-19" fmla="*/ 488220 w 9378540"/>
              <a:gd name="connsiteY9-20" fmla="*/ 5484315 h 7291226"/>
              <a:gd name="connsiteX10-21" fmla="*/ 779421 w 9378540"/>
              <a:gd name="connsiteY10-22" fmla="*/ 6125606 h 7291226"/>
              <a:gd name="connsiteX11-23" fmla="*/ 618065 w 9378540"/>
              <a:gd name="connsiteY11-24" fmla="*/ 5770263 h 7291226"/>
              <a:gd name="connsiteX12-25" fmla="*/ 4897528 w 9378540"/>
              <a:gd name="connsiteY12-26" fmla="*/ 111354 h 7291226"/>
              <a:gd name="connsiteX13-27" fmla="*/ 5324893 w 9378540"/>
              <a:gd name="connsiteY13-28" fmla="*/ 141768 h 7291226"/>
              <a:gd name="connsiteX14-29" fmla="*/ 779421 w 9378540"/>
              <a:gd name="connsiteY14-30" fmla="*/ 6125606 h 7291226"/>
              <a:gd name="connsiteX15-31" fmla="*/ 1099910 w 9378540"/>
              <a:gd name="connsiteY15-32" fmla="*/ 6831395 h 7291226"/>
              <a:gd name="connsiteX16-33" fmla="*/ 919656 w 9378540"/>
              <a:gd name="connsiteY16-34" fmla="*/ 6434435 h 7291226"/>
              <a:gd name="connsiteX17-35" fmla="*/ 5668965 w 9378540"/>
              <a:gd name="connsiteY17-36" fmla="*/ 166254 h 7291226"/>
              <a:gd name="connsiteX18-37" fmla="*/ 6114044 w 9378540"/>
              <a:gd name="connsiteY18-38" fmla="*/ 197929 h 7291226"/>
              <a:gd name="connsiteX19-39" fmla="*/ 1099910 w 9378540"/>
              <a:gd name="connsiteY19-40" fmla="*/ 6831395 h 7291226"/>
              <a:gd name="connsiteX20-41" fmla="*/ 7106560 w 9378540"/>
              <a:gd name="connsiteY20-42" fmla="*/ 7291226 h 7291226"/>
              <a:gd name="connsiteX21-43" fmla="*/ 6670875 w 9378540"/>
              <a:gd name="connsiteY21-44" fmla="*/ 7291226 h 7291226"/>
              <a:gd name="connsiteX22-45" fmla="*/ 3849932 w 9378540"/>
              <a:gd name="connsiteY22-46" fmla="*/ 3596670 h 7291226"/>
              <a:gd name="connsiteX23-47" fmla="*/ 4086202 w 9378540"/>
              <a:gd name="connsiteY23-48" fmla="*/ 3287229 h 7291226"/>
              <a:gd name="connsiteX24-49" fmla="*/ 7106560 w 9378540"/>
              <a:gd name="connsiteY24-50" fmla="*/ 7291226 h 7291226"/>
              <a:gd name="connsiteX25-51" fmla="*/ 7934229 w 9378540"/>
              <a:gd name="connsiteY25-52" fmla="*/ 7291226 h 7291226"/>
              <a:gd name="connsiteX26-53" fmla="*/ 7444802 w 9378540"/>
              <a:gd name="connsiteY26-54" fmla="*/ 7291226 h 7291226"/>
              <a:gd name="connsiteX27-55" fmla="*/ 4245793 w 9378540"/>
              <a:gd name="connsiteY27-56" fmla="*/ 3078214 h 7291226"/>
              <a:gd name="connsiteX28-57" fmla="*/ 4490696 w 9378540"/>
              <a:gd name="connsiteY28-58" fmla="*/ 2757469 h 7291226"/>
              <a:gd name="connsiteX29-59" fmla="*/ 7934229 w 9378540"/>
              <a:gd name="connsiteY29-60" fmla="*/ 7291226 h 7291226"/>
              <a:gd name="connsiteX30-61" fmla="*/ 8687764 w 9378540"/>
              <a:gd name="connsiteY30-62" fmla="*/ 7291226 h 7291226"/>
              <a:gd name="connsiteX31-63" fmla="*/ 8270226 w 9378540"/>
              <a:gd name="connsiteY31-64" fmla="*/ 7291226 h 7291226"/>
              <a:gd name="connsiteX32" fmla="*/ 4650570 w 9378540"/>
              <a:gd name="connsiteY32" fmla="*/ 2548084 h 7291226"/>
              <a:gd name="connsiteX33" fmla="*/ 4869244 w 9378540"/>
              <a:gd name="connsiteY33" fmla="*/ 2261689 h 7291226"/>
              <a:gd name="connsiteX34" fmla="*/ 8687764 w 9378540"/>
              <a:gd name="connsiteY34" fmla="*/ 7291226 h 7291226"/>
              <a:gd name="connsiteX35" fmla="*/ 9378540 w 9378540"/>
              <a:gd name="connsiteY35" fmla="*/ 7097262 h 7291226"/>
              <a:gd name="connsiteX36" fmla="*/ 9050647 w 9378540"/>
              <a:gd name="connsiteY36" fmla="*/ 7291226 h 7291226"/>
              <a:gd name="connsiteX37" fmla="*/ 5045299 w 9378540"/>
              <a:gd name="connsiteY37" fmla="*/ 2031113 h 7291226"/>
              <a:gd name="connsiteX38" fmla="*/ 5273037 w 9378540"/>
              <a:gd name="connsiteY38" fmla="*/ 1732846 h 7291226"/>
              <a:gd name="connsiteX39" fmla="*/ 9378540 w 9378540"/>
              <a:gd name="connsiteY39" fmla="*/ 7097262 h 7291226"/>
              <a:gd name="connsiteX0-65" fmla="*/ 168369 w 9378540"/>
              <a:gd name="connsiteY0-66" fmla="*/ 4779933 h 7291226"/>
              <a:gd name="connsiteX1-67" fmla="*/ 0 w 9378540"/>
              <a:gd name="connsiteY1-68" fmla="*/ 4409146 h 7291226"/>
              <a:gd name="connsiteX2-69" fmla="*/ 3332806 w 9378540"/>
              <a:gd name="connsiteY2-70" fmla="*/ 0 h 7291226"/>
              <a:gd name="connsiteX3-71" fmla="*/ 3794560 w 9378540"/>
              <a:gd name="connsiteY3-72" fmla="*/ 32861 h 7291226"/>
              <a:gd name="connsiteX4-73" fmla="*/ 168369 w 9378540"/>
              <a:gd name="connsiteY4-74" fmla="*/ 4779933 h 7291226"/>
              <a:gd name="connsiteX5-75" fmla="*/ 488220 w 9378540"/>
              <a:gd name="connsiteY5-76" fmla="*/ 5484315 h 7291226"/>
              <a:gd name="connsiteX6-77" fmla="*/ 299082 w 9378540"/>
              <a:gd name="connsiteY6-78" fmla="*/ 5067791 h 7291226"/>
              <a:gd name="connsiteX7-79" fmla="*/ 4106456 w 9378540"/>
              <a:gd name="connsiteY7-80" fmla="*/ 55057 h 7291226"/>
              <a:gd name="connsiteX8-81" fmla="*/ 4585079 w 9378540"/>
              <a:gd name="connsiteY8-82" fmla="*/ 89119 h 7291226"/>
              <a:gd name="connsiteX9-83" fmla="*/ 488220 w 9378540"/>
              <a:gd name="connsiteY9-84" fmla="*/ 5484315 h 7291226"/>
              <a:gd name="connsiteX10-85" fmla="*/ 779421 w 9378540"/>
              <a:gd name="connsiteY10-86" fmla="*/ 6125606 h 7291226"/>
              <a:gd name="connsiteX11-87" fmla="*/ 618065 w 9378540"/>
              <a:gd name="connsiteY11-88" fmla="*/ 5770263 h 7291226"/>
              <a:gd name="connsiteX12-89" fmla="*/ 4897528 w 9378540"/>
              <a:gd name="connsiteY12-90" fmla="*/ 111354 h 7291226"/>
              <a:gd name="connsiteX13-91" fmla="*/ 5324893 w 9378540"/>
              <a:gd name="connsiteY13-92" fmla="*/ 141768 h 7291226"/>
              <a:gd name="connsiteX14-93" fmla="*/ 779421 w 9378540"/>
              <a:gd name="connsiteY14-94" fmla="*/ 6125606 h 7291226"/>
              <a:gd name="connsiteX15-95" fmla="*/ 1099910 w 9378540"/>
              <a:gd name="connsiteY15-96" fmla="*/ 6831395 h 7291226"/>
              <a:gd name="connsiteX16-97" fmla="*/ 919656 w 9378540"/>
              <a:gd name="connsiteY16-98" fmla="*/ 6434435 h 7291226"/>
              <a:gd name="connsiteX17-99" fmla="*/ 5668965 w 9378540"/>
              <a:gd name="connsiteY17-100" fmla="*/ 166254 h 7291226"/>
              <a:gd name="connsiteX18-101" fmla="*/ 6114044 w 9378540"/>
              <a:gd name="connsiteY18-102" fmla="*/ 197929 h 7291226"/>
              <a:gd name="connsiteX19-103" fmla="*/ 1099910 w 9378540"/>
              <a:gd name="connsiteY19-104" fmla="*/ 6831395 h 7291226"/>
              <a:gd name="connsiteX20-105" fmla="*/ 7106560 w 9378540"/>
              <a:gd name="connsiteY20-106" fmla="*/ 7291226 h 7291226"/>
              <a:gd name="connsiteX21-107" fmla="*/ 6670875 w 9378540"/>
              <a:gd name="connsiteY21-108" fmla="*/ 7291226 h 7291226"/>
              <a:gd name="connsiteX22-109" fmla="*/ 3849932 w 9378540"/>
              <a:gd name="connsiteY22-110" fmla="*/ 3596670 h 7291226"/>
              <a:gd name="connsiteX23-111" fmla="*/ 4086202 w 9378540"/>
              <a:gd name="connsiteY23-112" fmla="*/ 3287229 h 7291226"/>
              <a:gd name="connsiteX24-113" fmla="*/ 7106560 w 9378540"/>
              <a:gd name="connsiteY24-114" fmla="*/ 7291226 h 7291226"/>
              <a:gd name="connsiteX25-115" fmla="*/ 7934229 w 9378540"/>
              <a:gd name="connsiteY25-116" fmla="*/ 7291226 h 7291226"/>
              <a:gd name="connsiteX26-117" fmla="*/ 7444802 w 9378540"/>
              <a:gd name="connsiteY26-118" fmla="*/ 7291226 h 7291226"/>
              <a:gd name="connsiteX27-119" fmla="*/ 4245793 w 9378540"/>
              <a:gd name="connsiteY27-120" fmla="*/ 3078214 h 7291226"/>
              <a:gd name="connsiteX28-121" fmla="*/ 4490696 w 9378540"/>
              <a:gd name="connsiteY28-122" fmla="*/ 2757469 h 7291226"/>
              <a:gd name="connsiteX29-123" fmla="*/ 7934229 w 9378540"/>
              <a:gd name="connsiteY29-124" fmla="*/ 7291226 h 7291226"/>
              <a:gd name="connsiteX30-125" fmla="*/ 8687764 w 9378540"/>
              <a:gd name="connsiteY30-126" fmla="*/ 7291226 h 7291226"/>
              <a:gd name="connsiteX31-127" fmla="*/ 8270226 w 9378540"/>
              <a:gd name="connsiteY31-128" fmla="*/ 7291226 h 7291226"/>
              <a:gd name="connsiteX32-129" fmla="*/ 4650570 w 9378540"/>
              <a:gd name="connsiteY32-130" fmla="*/ 2548084 h 7291226"/>
              <a:gd name="connsiteX33-131" fmla="*/ 4869244 w 9378540"/>
              <a:gd name="connsiteY33-132" fmla="*/ 2261689 h 7291226"/>
              <a:gd name="connsiteX34-133" fmla="*/ 8687764 w 9378540"/>
              <a:gd name="connsiteY34-134" fmla="*/ 7291226 h 7291226"/>
              <a:gd name="connsiteX35-135" fmla="*/ 9378540 w 9378540"/>
              <a:gd name="connsiteY35-136" fmla="*/ 7097262 h 7291226"/>
              <a:gd name="connsiteX36-137" fmla="*/ 8921338 w 9378540"/>
              <a:gd name="connsiteY36-138" fmla="*/ 7115735 h 7291226"/>
              <a:gd name="connsiteX37-139" fmla="*/ 5045299 w 9378540"/>
              <a:gd name="connsiteY37-140" fmla="*/ 2031113 h 7291226"/>
              <a:gd name="connsiteX38-141" fmla="*/ 5273037 w 9378540"/>
              <a:gd name="connsiteY38-142" fmla="*/ 1732846 h 7291226"/>
              <a:gd name="connsiteX39-143" fmla="*/ 9378540 w 9378540"/>
              <a:gd name="connsiteY39-144" fmla="*/ 7097262 h 7291226"/>
              <a:gd name="connsiteX0-145" fmla="*/ 168369 w 9397013"/>
              <a:gd name="connsiteY0-146" fmla="*/ 4779933 h 7291226"/>
              <a:gd name="connsiteX1-147" fmla="*/ 0 w 9397013"/>
              <a:gd name="connsiteY1-148" fmla="*/ 4409146 h 7291226"/>
              <a:gd name="connsiteX2-149" fmla="*/ 3332806 w 9397013"/>
              <a:gd name="connsiteY2-150" fmla="*/ 0 h 7291226"/>
              <a:gd name="connsiteX3-151" fmla="*/ 3794560 w 9397013"/>
              <a:gd name="connsiteY3-152" fmla="*/ 32861 h 7291226"/>
              <a:gd name="connsiteX4-153" fmla="*/ 168369 w 9397013"/>
              <a:gd name="connsiteY4-154" fmla="*/ 4779933 h 7291226"/>
              <a:gd name="connsiteX5-155" fmla="*/ 488220 w 9397013"/>
              <a:gd name="connsiteY5-156" fmla="*/ 5484315 h 7291226"/>
              <a:gd name="connsiteX6-157" fmla="*/ 299082 w 9397013"/>
              <a:gd name="connsiteY6-158" fmla="*/ 5067791 h 7291226"/>
              <a:gd name="connsiteX7-159" fmla="*/ 4106456 w 9397013"/>
              <a:gd name="connsiteY7-160" fmla="*/ 55057 h 7291226"/>
              <a:gd name="connsiteX8-161" fmla="*/ 4585079 w 9397013"/>
              <a:gd name="connsiteY8-162" fmla="*/ 89119 h 7291226"/>
              <a:gd name="connsiteX9-163" fmla="*/ 488220 w 9397013"/>
              <a:gd name="connsiteY9-164" fmla="*/ 5484315 h 7291226"/>
              <a:gd name="connsiteX10-165" fmla="*/ 779421 w 9397013"/>
              <a:gd name="connsiteY10-166" fmla="*/ 6125606 h 7291226"/>
              <a:gd name="connsiteX11-167" fmla="*/ 618065 w 9397013"/>
              <a:gd name="connsiteY11-168" fmla="*/ 5770263 h 7291226"/>
              <a:gd name="connsiteX12-169" fmla="*/ 4897528 w 9397013"/>
              <a:gd name="connsiteY12-170" fmla="*/ 111354 h 7291226"/>
              <a:gd name="connsiteX13-171" fmla="*/ 5324893 w 9397013"/>
              <a:gd name="connsiteY13-172" fmla="*/ 141768 h 7291226"/>
              <a:gd name="connsiteX14-173" fmla="*/ 779421 w 9397013"/>
              <a:gd name="connsiteY14-174" fmla="*/ 6125606 h 7291226"/>
              <a:gd name="connsiteX15-175" fmla="*/ 1099910 w 9397013"/>
              <a:gd name="connsiteY15-176" fmla="*/ 6831395 h 7291226"/>
              <a:gd name="connsiteX16-177" fmla="*/ 919656 w 9397013"/>
              <a:gd name="connsiteY16-178" fmla="*/ 6434435 h 7291226"/>
              <a:gd name="connsiteX17-179" fmla="*/ 5668965 w 9397013"/>
              <a:gd name="connsiteY17-180" fmla="*/ 166254 h 7291226"/>
              <a:gd name="connsiteX18-181" fmla="*/ 6114044 w 9397013"/>
              <a:gd name="connsiteY18-182" fmla="*/ 197929 h 7291226"/>
              <a:gd name="connsiteX19-183" fmla="*/ 1099910 w 9397013"/>
              <a:gd name="connsiteY19-184" fmla="*/ 6831395 h 7291226"/>
              <a:gd name="connsiteX20-185" fmla="*/ 7106560 w 9397013"/>
              <a:gd name="connsiteY20-186" fmla="*/ 7291226 h 7291226"/>
              <a:gd name="connsiteX21-187" fmla="*/ 6670875 w 9397013"/>
              <a:gd name="connsiteY21-188" fmla="*/ 7291226 h 7291226"/>
              <a:gd name="connsiteX22-189" fmla="*/ 3849932 w 9397013"/>
              <a:gd name="connsiteY22-190" fmla="*/ 3596670 h 7291226"/>
              <a:gd name="connsiteX23-191" fmla="*/ 4086202 w 9397013"/>
              <a:gd name="connsiteY23-192" fmla="*/ 3287229 h 7291226"/>
              <a:gd name="connsiteX24-193" fmla="*/ 7106560 w 9397013"/>
              <a:gd name="connsiteY24-194" fmla="*/ 7291226 h 7291226"/>
              <a:gd name="connsiteX25-195" fmla="*/ 7934229 w 9397013"/>
              <a:gd name="connsiteY25-196" fmla="*/ 7291226 h 7291226"/>
              <a:gd name="connsiteX26-197" fmla="*/ 7444802 w 9397013"/>
              <a:gd name="connsiteY26-198" fmla="*/ 7291226 h 7291226"/>
              <a:gd name="connsiteX27-199" fmla="*/ 4245793 w 9397013"/>
              <a:gd name="connsiteY27-200" fmla="*/ 3078214 h 7291226"/>
              <a:gd name="connsiteX28-201" fmla="*/ 4490696 w 9397013"/>
              <a:gd name="connsiteY28-202" fmla="*/ 2757469 h 7291226"/>
              <a:gd name="connsiteX29-203" fmla="*/ 7934229 w 9397013"/>
              <a:gd name="connsiteY29-204" fmla="*/ 7291226 h 7291226"/>
              <a:gd name="connsiteX30-205" fmla="*/ 8687764 w 9397013"/>
              <a:gd name="connsiteY30-206" fmla="*/ 7291226 h 7291226"/>
              <a:gd name="connsiteX31-207" fmla="*/ 8270226 w 9397013"/>
              <a:gd name="connsiteY31-208" fmla="*/ 7291226 h 7291226"/>
              <a:gd name="connsiteX32-209" fmla="*/ 4650570 w 9397013"/>
              <a:gd name="connsiteY32-210" fmla="*/ 2548084 h 7291226"/>
              <a:gd name="connsiteX33-211" fmla="*/ 4869244 w 9397013"/>
              <a:gd name="connsiteY33-212" fmla="*/ 2261689 h 7291226"/>
              <a:gd name="connsiteX34-213" fmla="*/ 8687764 w 9397013"/>
              <a:gd name="connsiteY34-214" fmla="*/ 7291226 h 7291226"/>
              <a:gd name="connsiteX35-215" fmla="*/ 9397013 w 9397013"/>
              <a:gd name="connsiteY35-216" fmla="*/ 7134207 h 7291226"/>
              <a:gd name="connsiteX36-217" fmla="*/ 8921338 w 9397013"/>
              <a:gd name="connsiteY36-218" fmla="*/ 7115735 h 7291226"/>
              <a:gd name="connsiteX37-219" fmla="*/ 5045299 w 9397013"/>
              <a:gd name="connsiteY37-220" fmla="*/ 2031113 h 7291226"/>
              <a:gd name="connsiteX38-221" fmla="*/ 5273037 w 9397013"/>
              <a:gd name="connsiteY38-222" fmla="*/ 1732846 h 7291226"/>
              <a:gd name="connsiteX39-223" fmla="*/ 9397013 w 9397013"/>
              <a:gd name="connsiteY39-224" fmla="*/ 7134207 h 7291226"/>
              <a:gd name="connsiteX0-225" fmla="*/ 168369 w 9397013"/>
              <a:gd name="connsiteY0-226" fmla="*/ 4779933 h 7291226"/>
              <a:gd name="connsiteX1-227" fmla="*/ 0 w 9397013"/>
              <a:gd name="connsiteY1-228" fmla="*/ 4409146 h 7291226"/>
              <a:gd name="connsiteX2-229" fmla="*/ 3332806 w 9397013"/>
              <a:gd name="connsiteY2-230" fmla="*/ 0 h 7291226"/>
              <a:gd name="connsiteX3-231" fmla="*/ 3794560 w 9397013"/>
              <a:gd name="connsiteY3-232" fmla="*/ 32861 h 7291226"/>
              <a:gd name="connsiteX4-233" fmla="*/ 168369 w 9397013"/>
              <a:gd name="connsiteY4-234" fmla="*/ 4779933 h 7291226"/>
              <a:gd name="connsiteX5-235" fmla="*/ 488220 w 9397013"/>
              <a:gd name="connsiteY5-236" fmla="*/ 5484315 h 7291226"/>
              <a:gd name="connsiteX6-237" fmla="*/ 299082 w 9397013"/>
              <a:gd name="connsiteY6-238" fmla="*/ 5067791 h 7291226"/>
              <a:gd name="connsiteX7-239" fmla="*/ 4106456 w 9397013"/>
              <a:gd name="connsiteY7-240" fmla="*/ 55057 h 7291226"/>
              <a:gd name="connsiteX8-241" fmla="*/ 4585079 w 9397013"/>
              <a:gd name="connsiteY8-242" fmla="*/ 89119 h 7291226"/>
              <a:gd name="connsiteX9-243" fmla="*/ 488220 w 9397013"/>
              <a:gd name="connsiteY9-244" fmla="*/ 5484315 h 7291226"/>
              <a:gd name="connsiteX10-245" fmla="*/ 779421 w 9397013"/>
              <a:gd name="connsiteY10-246" fmla="*/ 6125606 h 7291226"/>
              <a:gd name="connsiteX11-247" fmla="*/ 618065 w 9397013"/>
              <a:gd name="connsiteY11-248" fmla="*/ 5770263 h 7291226"/>
              <a:gd name="connsiteX12-249" fmla="*/ 4897528 w 9397013"/>
              <a:gd name="connsiteY12-250" fmla="*/ 111354 h 7291226"/>
              <a:gd name="connsiteX13-251" fmla="*/ 5324893 w 9397013"/>
              <a:gd name="connsiteY13-252" fmla="*/ 141768 h 7291226"/>
              <a:gd name="connsiteX14-253" fmla="*/ 779421 w 9397013"/>
              <a:gd name="connsiteY14-254" fmla="*/ 6125606 h 7291226"/>
              <a:gd name="connsiteX15-255" fmla="*/ 1099910 w 9397013"/>
              <a:gd name="connsiteY15-256" fmla="*/ 6831395 h 7291226"/>
              <a:gd name="connsiteX16-257" fmla="*/ 919656 w 9397013"/>
              <a:gd name="connsiteY16-258" fmla="*/ 6434435 h 7291226"/>
              <a:gd name="connsiteX17-259" fmla="*/ 5668965 w 9397013"/>
              <a:gd name="connsiteY17-260" fmla="*/ 166254 h 7291226"/>
              <a:gd name="connsiteX18-261" fmla="*/ 6114044 w 9397013"/>
              <a:gd name="connsiteY18-262" fmla="*/ 197929 h 7291226"/>
              <a:gd name="connsiteX19-263" fmla="*/ 1099910 w 9397013"/>
              <a:gd name="connsiteY19-264" fmla="*/ 6831395 h 7291226"/>
              <a:gd name="connsiteX20-265" fmla="*/ 7106560 w 9397013"/>
              <a:gd name="connsiteY20-266" fmla="*/ 7291226 h 7291226"/>
              <a:gd name="connsiteX21-267" fmla="*/ 6670875 w 9397013"/>
              <a:gd name="connsiteY21-268" fmla="*/ 7291226 h 7291226"/>
              <a:gd name="connsiteX22-269" fmla="*/ 3849932 w 9397013"/>
              <a:gd name="connsiteY22-270" fmla="*/ 3596670 h 7291226"/>
              <a:gd name="connsiteX23-271" fmla="*/ 4086202 w 9397013"/>
              <a:gd name="connsiteY23-272" fmla="*/ 3287229 h 7291226"/>
              <a:gd name="connsiteX24-273" fmla="*/ 7106560 w 9397013"/>
              <a:gd name="connsiteY24-274" fmla="*/ 7291226 h 7291226"/>
              <a:gd name="connsiteX25-275" fmla="*/ 7934229 w 9397013"/>
              <a:gd name="connsiteY25-276" fmla="*/ 7291226 h 7291226"/>
              <a:gd name="connsiteX26-277" fmla="*/ 7444802 w 9397013"/>
              <a:gd name="connsiteY26-278" fmla="*/ 7291226 h 7291226"/>
              <a:gd name="connsiteX27-279" fmla="*/ 4245793 w 9397013"/>
              <a:gd name="connsiteY27-280" fmla="*/ 3078214 h 7291226"/>
              <a:gd name="connsiteX28-281" fmla="*/ 4490696 w 9397013"/>
              <a:gd name="connsiteY28-282" fmla="*/ 2757469 h 7291226"/>
              <a:gd name="connsiteX29-283" fmla="*/ 7934229 w 9397013"/>
              <a:gd name="connsiteY29-284" fmla="*/ 7291226 h 7291226"/>
              <a:gd name="connsiteX30-285" fmla="*/ 8530746 w 9397013"/>
              <a:gd name="connsiteY30-286" fmla="*/ 7088026 h 7291226"/>
              <a:gd name="connsiteX31-287" fmla="*/ 8270226 w 9397013"/>
              <a:gd name="connsiteY31-288" fmla="*/ 7291226 h 7291226"/>
              <a:gd name="connsiteX32-289" fmla="*/ 4650570 w 9397013"/>
              <a:gd name="connsiteY32-290" fmla="*/ 2548084 h 7291226"/>
              <a:gd name="connsiteX33-291" fmla="*/ 4869244 w 9397013"/>
              <a:gd name="connsiteY33-292" fmla="*/ 2261689 h 7291226"/>
              <a:gd name="connsiteX34-293" fmla="*/ 8530746 w 9397013"/>
              <a:gd name="connsiteY34-294" fmla="*/ 7088026 h 7291226"/>
              <a:gd name="connsiteX35-295" fmla="*/ 9397013 w 9397013"/>
              <a:gd name="connsiteY35-296" fmla="*/ 7134207 h 7291226"/>
              <a:gd name="connsiteX36-297" fmla="*/ 8921338 w 9397013"/>
              <a:gd name="connsiteY36-298" fmla="*/ 7115735 h 7291226"/>
              <a:gd name="connsiteX37-299" fmla="*/ 5045299 w 9397013"/>
              <a:gd name="connsiteY37-300" fmla="*/ 2031113 h 7291226"/>
              <a:gd name="connsiteX38-301" fmla="*/ 5273037 w 9397013"/>
              <a:gd name="connsiteY38-302" fmla="*/ 1732846 h 7291226"/>
              <a:gd name="connsiteX39-303" fmla="*/ 9397013 w 9397013"/>
              <a:gd name="connsiteY39-304" fmla="*/ 7134207 h 7291226"/>
              <a:gd name="connsiteX0-305" fmla="*/ 168369 w 9397013"/>
              <a:gd name="connsiteY0-306" fmla="*/ 4779933 h 7291226"/>
              <a:gd name="connsiteX1-307" fmla="*/ 0 w 9397013"/>
              <a:gd name="connsiteY1-308" fmla="*/ 4409146 h 7291226"/>
              <a:gd name="connsiteX2-309" fmla="*/ 3332806 w 9397013"/>
              <a:gd name="connsiteY2-310" fmla="*/ 0 h 7291226"/>
              <a:gd name="connsiteX3-311" fmla="*/ 3794560 w 9397013"/>
              <a:gd name="connsiteY3-312" fmla="*/ 32861 h 7291226"/>
              <a:gd name="connsiteX4-313" fmla="*/ 168369 w 9397013"/>
              <a:gd name="connsiteY4-314" fmla="*/ 4779933 h 7291226"/>
              <a:gd name="connsiteX5-315" fmla="*/ 488220 w 9397013"/>
              <a:gd name="connsiteY5-316" fmla="*/ 5484315 h 7291226"/>
              <a:gd name="connsiteX6-317" fmla="*/ 299082 w 9397013"/>
              <a:gd name="connsiteY6-318" fmla="*/ 5067791 h 7291226"/>
              <a:gd name="connsiteX7-319" fmla="*/ 4106456 w 9397013"/>
              <a:gd name="connsiteY7-320" fmla="*/ 55057 h 7291226"/>
              <a:gd name="connsiteX8-321" fmla="*/ 4585079 w 9397013"/>
              <a:gd name="connsiteY8-322" fmla="*/ 89119 h 7291226"/>
              <a:gd name="connsiteX9-323" fmla="*/ 488220 w 9397013"/>
              <a:gd name="connsiteY9-324" fmla="*/ 5484315 h 7291226"/>
              <a:gd name="connsiteX10-325" fmla="*/ 779421 w 9397013"/>
              <a:gd name="connsiteY10-326" fmla="*/ 6125606 h 7291226"/>
              <a:gd name="connsiteX11-327" fmla="*/ 618065 w 9397013"/>
              <a:gd name="connsiteY11-328" fmla="*/ 5770263 h 7291226"/>
              <a:gd name="connsiteX12-329" fmla="*/ 4897528 w 9397013"/>
              <a:gd name="connsiteY12-330" fmla="*/ 111354 h 7291226"/>
              <a:gd name="connsiteX13-331" fmla="*/ 5324893 w 9397013"/>
              <a:gd name="connsiteY13-332" fmla="*/ 141768 h 7291226"/>
              <a:gd name="connsiteX14-333" fmla="*/ 779421 w 9397013"/>
              <a:gd name="connsiteY14-334" fmla="*/ 6125606 h 7291226"/>
              <a:gd name="connsiteX15-335" fmla="*/ 1099910 w 9397013"/>
              <a:gd name="connsiteY15-336" fmla="*/ 6831395 h 7291226"/>
              <a:gd name="connsiteX16-337" fmla="*/ 919656 w 9397013"/>
              <a:gd name="connsiteY16-338" fmla="*/ 6434435 h 7291226"/>
              <a:gd name="connsiteX17-339" fmla="*/ 5668965 w 9397013"/>
              <a:gd name="connsiteY17-340" fmla="*/ 166254 h 7291226"/>
              <a:gd name="connsiteX18-341" fmla="*/ 6114044 w 9397013"/>
              <a:gd name="connsiteY18-342" fmla="*/ 197929 h 7291226"/>
              <a:gd name="connsiteX19-343" fmla="*/ 1099910 w 9397013"/>
              <a:gd name="connsiteY19-344" fmla="*/ 6831395 h 7291226"/>
              <a:gd name="connsiteX20-345" fmla="*/ 7106560 w 9397013"/>
              <a:gd name="connsiteY20-346" fmla="*/ 7291226 h 7291226"/>
              <a:gd name="connsiteX21-347" fmla="*/ 6670875 w 9397013"/>
              <a:gd name="connsiteY21-348" fmla="*/ 7291226 h 7291226"/>
              <a:gd name="connsiteX22-349" fmla="*/ 3849932 w 9397013"/>
              <a:gd name="connsiteY22-350" fmla="*/ 3596670 h 7291226"/>
              <a:gd name="connsiteX23-351" fmla="*/ 4086202 w 9397013"/>
              <a:gd name="connsiteY23-352" fmla="*/ 3287229 h 7291226"/>
              <a:gd name="connsiteX24-353" fmla="*/ 7106560 w 9397013"/>
              <a:gd name="connsiteY24-354" fmla="*/ 7291226 h 7291226"/>
              <a:gd name="connsiteX25-355" fmla="*/ 7934229 w 9397013"/>
              <a:gd name="connsiteY25-356" fmla="*/ 7291226 h 7291226"/>
              <a:gd name="connsiteX26-357" fmla="*/ 7444802 w 9397013"/>
              <a:gd name="connsiteY26-358" fmla="*/ 7291226 h 7291226"/>
              <a:gd name="connsiteX27-359" fmla="*/ 4245793 w 9397013"/>
              <a:gd name="connsiteY27-360" fmla="*/ 3078214 h 7291226"/>
              <a:gd name="connsiteX28-361" fmla="*/ 4490696 w 9397013"/>
              <a:gd name="connsiteY28-362" fmla="*/ 2757469 h 7291226"/>
              <a:gd name="connsiteX29-363" fmla="*/ 7934229 w 9397013"/>
              <a:gd name="connsiteY29-364" fmla="*/ 7291226 h 7291226"/>
              <a:gd name="connsiteX30-365" fmla="*/ 8530746 w 9397013"/>
              <a:gd name="connsiteY30-366" fmla="*/ 7088026 h 7291226"/>
              <a:gd name="connsiteX31-367" fmla="*/ 8150153 w 9397013"/>
              <a:gd name="connsiteY31-368" fmla="*/ 7097262 h 7291226"/>
              <a:gd name="connsiteX32-369" fmla="*/ 4650570 w 9397013"/>
              <a:gd name="connsiteY32-370" fmla="*/ 2548084 h 7291226"/>
              <a:gd name="connsiteX33-371" fmla="*/ 4869244 w 9397013"/>
              <a:gd name="connsiteY33-372" fmla="*/ 2261689 h 7291226"/>
              <a:gd name="connsiteX34-373" fmla="*/ 8530746 w 9397013"/>
              <a:gd name="connsiteY34-374" fmla="*/ 7088026 h 7291226"/>
              <a:gd name="connsiteX35-375" fmla="*/ 9397013 w 9397013"/>
              <a:gd name="connsiteY35-376" fmla="*/ 7134207 h 7291226"/>
              <a:gd name="connsiteX36-377" fmla="*/ 8921338 w 9397013"/>
              <a:gd name="connsiteY36-378" fmla="*/ 7115735 h 7291226"/>
              <a:gd name="connsiteX37-379" fmla="*/ 5045299 w 9397013"/>
              <a:gd name="connsiteY37-380" fmla="*/ 2031113 h 7291226"/>
              <a:gd name="connsiteX38-381" fmla="*/ 5273037 w 9397013"/>
              <a:gd name="connsiteY38-382" fmla="*/ 1732846 h 7291226"/>
              <a:gd name="connsiteX39-383" fmla="*/ 9397013 w 9397013"/>
              <a:gd name="connsiteY39-384" fmla="*/ 7134207 h 7291226"/>
              <a:gd name="connsiteX0-385" fmla="*/ 168369 w 9397013"/>
              <a:gd name="connsiteY0-386" fmla="*/ 4779933 h 7291226"/>
              <a:gd name="connsiteX1-387" fmla="*/ 0 w 9397013"/>
              <a:gd name="connsiteY1-388" fmla="*/ 4409146 h 7291226"/>
              <a:gd name="connsiteX2-389" fmla="*/ 3332806 w 9397013"/>
              <a:gd name="connsiteY2-390" fmla="*/ 0 h 7291226"/>
              <a:gd name="connsiteX3-391" fmla="*/ 3794560 w 9397013"/>
              <a:gd name="connsiteY3-392" fmla="*/ 32861 h 7291226"/>
              <a:gd name="connsiteX4-393" fmla="*/ 168369 w 9397013"/>
              <a:gd name="connsiteY4-394" fmla="*/ 4779933 h 7291226"/>
              <a:gd name="connsiteX5-395" fmla="*/ 488220 w 9397013"/>
              <a:gd name="connsiteY5-396" fmla="*/ 5484315 h 7291226"/>
              <a:gd name="connsiteX6-397" fmla="*/ 299082 w 9397013"/>
              <a:gd name="connsiteY6-398" fmla="*/ 5067791 h 7291226"/>
              <a:gd name="connsiteX7-399" fmla="*/ 4106456 w 9397013"/>
              <a:gd name="connsiteY7-400" fmla="*/ 55057 h 7291226"/>
              <a:gd name="connsiteX8-401" fmla="*/ 4585079 w 9397013"/>
              <a:gd name="connsiteY8-402" fmla="*/ 89119 h 7291226"/>
              <a:gd name="connsiteX9-403" fmla="*/ 488220 w 9397013"/>
              <a:gd name="connsiteY9-404" fmla="*/ 5484315 h 7291226"/>
              <a:gd name="connsiteX10-405" fmla="*/ 779421 w 9397013"/>
              <a:gd name="connsiteY10-406" fmla="*/ 6125606 h 7291226"/>
              <a:gd name="connsiteX11-407" fmla="*/ 618065 w 9397013"/>
              <a:gd name="connsiteY11-408" fmla="*/ 5770263 h 7291226"/>
              <a:gd name="connsiteX12-409" fmla="*/ 4897528 w 9397013"/>
              <a:gd name="connsiteY12-410" fmla="*/ 111354 h 7291226"/>
              <a:gd name="connsiteX13-411" fmla="*/ 5324893 w 9397013"/>
              <a:gd name="connsiteY13-412" fmla="*/ 141768 h 7291226"/>
              <a:gd name="connsiteX14-413" fmla="*/ 779421 w 9397013"/>
              <a:gd name="connsiteY14-414" fmla="*/ 6125606 h 7291226"/>
              <a:gd name="connsiteX15-415" fmla="*/ 1099910 w 9397013"/>
              <a:gd name="connsiteY15-416" fmla="*/ 6831395 h 7291226"/>
              <a:gd name="connsiteX16-417" fmla="*/ 919656 w 9397013"/>
              <a:gd name="connsiteY16-418" fmla="*/ 6434435 h 7291226"/>
              <a:gd name="connsiteX17-419" fmla="*/ 5668965 w 9397013"/>
              <a:gd name="connsiteY17-420" fmla="*/ 166254 h 7291226"/>
              <a:gd name="connsiteX18-421" fmla="*/ 6114044 w 9397013"/>
              <a:gd name="connsiteY18-422" fmla="*/ 197929 h 7291226"/>
              <a:gd name="connsiteX19-423" fmla="*/ 1099910 w 9397013"/>
              <a:gd name="connsiteY19-424" fmla="*/ 6831395 h 7291226"/>
              <a:gd name="connsiteX20-425" fmla="*/ 7106560 w 9397013"/>
              <a:gd name="connsiteY20-426" fmla="*/ 7291226 h 7291226"/>
              <a:gd name="connsiteX21-427" fmla="*/ 6670875 w 9397013"/>
              <a:gd name="connsiteY21-428" fmla="*/ 7291226 h 7291226"/>
              <a:gd name="connsiteX22-429" fmla="*/ 3849932 w 9397013"/>
              <a:gd name="connsiteY22-430" fmla="*/ 3596670 h 7291226"/>
              <a:gd name="connsiteX23-431" fmla="*/ 4086202 w 9397013"/>
              <a:gd name="connsiteY23-432" fmla="*/ 3287229 h 7291226"/>
              <a:gd name="connsiteX24-433" fmla="*/ 7106560 w 9397013"/>
              <a:gd name="connsiteY24-434" fmla="*/ 7291226 h 7291226"/>
              <a:gd name="connsiteX25-435" fmla="*/ 7934229 w 9397013"/>
              <a:gd name="connsiteY25-436" fmla="*/ 7291226 h 7291226"/>
              <a:gd name="connsiteX26-437" fmla="*/ 7444802 w 9397013"/>
              <a:gd name="connsiteY26-438" fmla="*/ 7291226 h 7291226"/>
              <a:gd name="connsiteX27-439" fmla="*/ 4245793 w 9397013"/>
              <a:gd name="connsiteY27-440" fmla="*/ 3078214 h 7291226"/>
              <a:gd name="connsiteX28-441" fmla="*/ 4490696 w 9397013"/>
              <a:gd name="connsiteY28-442" fmla="*/ 2757469 h 7291226"/>
              <a:gd name="connsiteX29-443" fmla="*/ 7934229 w 9397013"/>
              <a:gd name="connsiteY29-444" fmla="*/ 7291226 h 7291226"/>
              <a:gd name="connsiteX30-445" fmla="*/ 8567691 w 9397013"/>
              <a:gd name="connsiteY30-446" fmla="*/ 7124971 h 7291226"/>
              <a:gd name="connsiteX31-447" fmla="*/ 8150153 w 9397013"/>
              <a:gd name="connsiteY31-448" fmla="*/ 7097262 h 7291226"/>
              <a:gd name="connsiteX32-449" fmla="*/ 4650570 w 9397013"/>
              <a:gd name="connsiteY32-450" fmla="*/ 2548084 h 7291226"/>
              <a:gd name="connsiteX33-451" fmla="*/ 4869244 w 9397013"/>
              <a:gd name="connsiteY33-452" fmla="*/ 2261689 h 7291226"/>
              <a:gd name="connsiteX34-453" fmla="*/ 8567691 w 9397013"/>
              <a:gd name="connsiteY34-454" fmla="*/ 7124971 h 7291226"/>
              <a:gd name="connsiteX35-455" fmla="*/ 9397013 w 9397013"/>
              <a:gd name="connsiteY35-456" fmla="*/ 7134207 h 7291226"/>
              <a:gd name="connsiteX36-457" fmla="*/ 8921338 w 9397013"/>
              <a:gd name="connsiteY36-458" fmla="*/ 7115735 h 7291226"/>
              <a:gd name="connsiteX37-459" fmla="*/ 5045299 w 9397013"/>
              <a:gd name="connsiteY37-460" fmla="*/ 2031113 h 7291226"/>
              <a:gd name="connsiteX38-461" fmla="*/ 5273037 w 9397013"/>
              <a:gd name="connsiteY38-462" fmla="*/ 1732846 h 7291226"/>
              <a:gd name="connsiteX39-463" fmla="*/ 9397013 w 9397013"/>
              <a:gd name="connsiteY39-464" fmla="*/ 7134207 h 7291226"/>
              <a:gd name="connsiteX0-465" fmla="*/ 168369 w 9397013"/>
              <a:gd name="connsiteY0-466" fmla="*/ 4779933 h 7291226"/>
              <a:gd name="connsiteX1-467" fmla="*/ 0 w 9397013"/>
              <a:gd name="connsiteY1-468" fmla="*/ 4409146 h 7291226"/>
              <a:gd name="connsiteX2-469" fmla="*/ 3332806 w 9397013"/>
              <a:gd name="connsiteY2-470" fmla="*/ 0 h 7291226"/>
              <a:gd name="connsiteX3-471" fmla="*/ 3794560 w 9397013"/>
              <a:gd name="connsiteY3-472" fmla="*/ 32861 h 7291226"/>
              <a:gd name="connsiteX4-473" fmla="*/ 168369 w 9397013"/>
              <a:gd name="connsiteY4-474" fmla="*/ 4779933 h 7291226"/>
              <a:gd name="connsiteX5-475" fmla="*/ 488220 w 9397013"/>
              <a:gd name="connsiteY5-476" fmla="*/ 5484315 h 7291226"/>
              <a:gd name="connsiteX6-477" fmla="*/ 299082 w 9397013"/>
              <a:gd name="connsiteY6-478" fmla="*/ 5067791 h 7291226"/>
              <a:gd name="connsiteX7-479" fmla="*/ 4106456 w 9397013"/>
              <a:gd name="connsiteY7-480" fmla="*/ 55057 h 7291226"/>
              <a:gd name="connsiteX8-481" fmla="*/ 4585079 w 9397013"/>
              <a:gd name="connsiteY8-482" fmla="*/ 89119 h 7291226"/>
              <a:gd name="connsiteX9-483" fmla="*/ 488220 w 9397013"/>
              <a:gd name="connsiteY9-484" fmla="*/ 5484315 h 7291226"/>
              <a:gd name="connsiteX10-485" fmla="*/ 779421 w 9397013"/>
              <a:gd name="connsiteY10-486" fmla="*/ 6125606 h 7291226"/>
              <a:gd name="connsiteX11-487" fmla="*/ 618065 w 9397013"/>
              <a:gd name="connsiteY11-488" fmla="*/ 5770263 h 7291226"/>
              <a:gd name="connsiteX12-489" fmla="*/ 4897528 w 9397013"/>
              <a:gd name="connsiteY12-490" fmla="*/ 111354 h 7291226"/>
              <a:gd name="connsiteX13-491" fmla="*/ 5324893 w 9397013"/>
              <a:gd name="connsiteY13-492" fmla="*/ 141768 h 7291226"/>
              <a:gd name="connsiteX14-493" fmla="*/ 779421 w 9397013"/>
              <a:gd name="connsiteY14-494" fmla="*/ 6125606 h 7291226"/>
              <a:gd name="connsiteX15-495" fmla="*/ 1099910 w 9397013"/>
              <a:gd name="connsiteY15-496" fmla="*/ 6831395 h 7291226"/>
              <a:gd name="connsiteX16-497" fmla="*/ 919656 w 9397013"/>
              <a:gd name="connsiteY16-498" fmla="*/ 6434435 h 7291226"/>
              <a:gd name="connsiteX17-499" fmla="*/ 5668965 w 9397013"/>
              <a:gd name="connsiteY17-500" fmla="*/ 166254 h 7291226"/>
              <a:gd name="connsiteX18-501" fmla="*/ 6114044 w 9397013"/>
              <a:gd name="connsiteY18-502" fmla="*/ 197929 h 7291226"/>
              <a:gd name="connsiteX19-503" fmla="*/ 1099910 w 9397013"/>
              <a:gd name="connsiteY19-504" fmla="*/ 6831395 h 7291226"/>
              <a:gd name="connsiteX20-505" fmla="*/ 7106560 w 9397013"/>
              <a:gd name="connsiteY20-506" fmla="*/ 7291226 h 7291226"/>
              <a:gd name="connsiteX21-507" fmla="*/ 6670875 w 9397013"/>
              <a:gd name="connsiteY21-508" fmla="*/ 7291226 h 7291226"/>
              <a:gd name="connsiteX22-509" fmla="*/ 3849932 w 9397013"/>
              <a:gd name="connsiteY22-510" fmla="*/ 3596670 h 7291226"/>
              <a:gd name="connsiteX23-511" fmla="*/ 4086202 w 9397013"/>
              <a:gd name="connsiteY23-512" fmla="*/ 3287229 h 7291226"/>
              <a:gd name="connsiteX24-513" fmla="*/ 7106560 w 9397013"/>
              <a:gd name="connsiteY24-514" fmla="*/ 7291226 h 7291226"/>
              <a:gd name="connsiteX25-515" fmla="*/ 7934229 w 9397013"/>
              <a:gd name="connsiteY25-516" fmla="*/ 7291226 h 7291226"/>
              <a:gd name="connsiteX26-517" fmla="*/ 7444802 w 9397013"/>
              <a:gd name="connsiteY26-518" fmla="*/ 7291226 h 7291226"/>
              <a:gd name="connsiteX27-519" fmla="*/ 4245793 w 9397013"/>
              <a:gd name="connsiteY27-520" fmla="*/ 3078214 h 7291226"/>
              <a:gd name="connsiteX28-521" fmla="*/ 4490696 w 9397013"/>
              <a:gd name="connsiteY28-522" fmla="*/ 2757469 h 7291226"/>
              <a:gd name="connsiteX29-523" fmla="*/ 7934229 w 9397013"/>
              <a:gd name="connsiteY29-524" fmla="*/ 7291226 h 7291226"/>
              <a:gd name="connsiteX30-525" fmla="*/ 8567691 w 9397013"/>
              <a:gd name="connsiteY30-526" fmla="*/ 7124971 h 7291226"/>
              <a:gd name="connsiteX31-527" fmla="*/ 8159389 w 9397013"/>
              <a:gd name="connsiteY31-528" fmla="*/ 7134208 h 7291226"/>
              <a:gd name="connsiteX32-529" fmla="*/ 4650570 w 9397013"/>
              <a:gd name="connsiteY32-530" fmla="*/ 2548084 h 7291226"/>
              <a:gd name="connsiteX33-531" fmla="*/ 4869244 w 9397013"/>
              <a:gd name="connsiteY33-532" fmla="*/ 2261689 h 7291226"/>
              <a:gd name="connsiteX34-533" fmla="*/ 8567691 w 9397013"/>
              <a:gd name="connsiteY34-534" fmla="*/ 7124971 h 7291226"/>
              <a:gd name="connsiteX35-535" fmla="*/ 9397013 w 9397013"/>
              <a:gd name="connsiteY35-536" fmla="*/ 7134207 h 7291226"/>
              <a:gd name="connsiteX36-537" fmla="*/ 8921338 w 9397013"/>
              <a:gd name="connsiteY36-538" fmla="*/ 7115735 h 7291226"/>
              <a:gd name="connsiteX37-539" fmla="*/ 5045299 w 9397013"/>
              <a:gd name="connsiteY37-540" fmla="*/ 2031113 h 7291226"/>
              <a:gd name="connsiteX38-541" fmla="*/ 5273037 w 9397013"/>
              <a:gd name="connsiteY38-542" fmla="*/ 1732846 h 7291226"/>
              <a:gd name="connsiteX39-543" fmla="*/ 9397013 w 9397013"/>
              <a:gd name="connsiteY39-544" fmla="*/ 7134207 h 7291226"/>
              <a:gd name="connsiteX0-545" fmla="*/ 168369 w 9397013"/>
              <a:gd name="connsiteY0-546" fmla="*/ 4779933 h 7291226"/>
              <a:gd name="connsiteX1-547" fmla="*/ 0 w 9397013"/>
              <a:gd name="connsiteY1-548" fmla="*/ 4409146 h 7291226"/>
              <a:gd name="connsiteX2-549" fmla="*/ 3332806 w 9397013"/>
              <a:gd name="connsiteY2-550" fmla="*/ 0 h 7291226"/>
              <a:gd name="connsiteX3-551" fmla="*/ 3794560 w 9397013"/>
              <a:gd name="connsiteY3-552" fmla="*/ 32861 h 7291226"/>
              <a:gd name="connsiteX4-553" fmla="*/ 168369 w 9397013"/>
              <a:gd name="connsiteY4-554" fmla="*/ 4779933 h 7291226"/>
              <a:gd name="connsiteX5-555" fmla="*/ 488220 w 9397013"/>
              <a:gd name="connsiteY5-556" fmla="*/ 5484315 h 7291226"/>
              <a:gd name="connsiteX6-557" fmla="*/ 299082 w 9397013"/>
              <a:gd name="connsiteY6-558" fmla="*/ 5067791 h 7291226"/>
              <a:gd name="connsiteX7-559" fmla="*/ 4106456 w 9397013"/>
              <a:gd name="connsiteY7-560" fmla="*/ 55057 h 7291226"/>
              <a:gd name="connsiteX8-561" fmla="*/ 4585079 w 9397013"/>
              <a:gd name="connsiteY8-562" fmla="*/ 89119 h 7291226"/>
              <a:gd name="connsiteX9-563" fmla="*/ 488220 w 9397013"/>
              <a:gd name="connsiteY9-564" fmla="*/ 5484315 h 7291226"/>
              <a:gd name="connsiteX10-565" fmla="*/ 779421 w 9397013"/>
              <a:gd name="connsiteY10-566" fmla="*/ 6125606 h 7291226"/>
              <a:gd name="connsiteX11-567" fmla="*/ 618065 w 9397013"/>
              <a:gd name="connsiteY11-568" fmla="*/ 5770263 h 7291226"/>
              <a:gd name="connsiteX12-569" fmla="*/ 4897528 w 9397013"/>
              <a:gd name="connsiteY12-570" fmla="*/ 111354 h 7291226"/>
              <a:gd name="connsiteX13-571" fmla="*/ 5324893 w 9397013"/>
              <a:gd name="connsiteY13-572" fmla="*/ 141768 h 7291226"/>
              <a:gd name="connsiteX14-573" fmla="*/ 779421 w 9397013"/>
              <a:gd name="connsiteY14-574" fmla="*/ 6125606 h 7291226"/>
              <a:gd name="connsiteX15-575" fmla="*/ 1099910 w 9397013"/>
              <a:gd name="connsiteY15-576" fmla="*/ 6831395 h 7291226"/>
              <a:gd name="connsiteX16-577" fmla="*/ 919656 w 9397013"/>
              <a:gd name="connsiteY16-578" fmla="*/ 6434435 h 7291226"/>
              <a:gd name="connsiteX17-579" fmla="*/ 5668965 w 9397013"/>
              <a:gd name="connsiteY17-580" fmla="*/ 166254 h 7291226"/>
              <a:gd name="connsiteX18-581" fmla="*/ 6114044 w 9397013"/>
              <a:gd name="connsiteY18-582" fmla="*/ 197929 h 7291226"/>
              <a:gd name="connsiteX19-583" fmla="*/ 1099910 w 9397013"/>
              <a:gd name="connsiteY19-584" fmla="*/ 6831395 h 7291226"/>
              <a:gd name="connsiteX20-585" fmla="*/ 7106560 w 9397013"/>
              <a:gd name="connsiteY20-586" fmla="*/ 7291226 h 7291226"/>
              <a:gd name="connsiteX21-587" fmla="*/ 6670875 w 9397013"/>
              <a:gd name="connsiteY21-588" fmla="*/ 7291226 h 7291226"/>
              <a:gd name="connsiteX22-589" fmla="*/ 3849932 w 9397013"/>
              <a:gd name="connsiteY22-590" fmla="*/ 3596670 h 7291226"/>
              <a:gd name="connsiteX23-591" fmla="*/ 4086202 w 9397013"/>
              <a:gd name="connsiteY23-592" fmla="*/ 3287229 h 7291226"/>
              <a:gd name="connsiteX24-593" fmla="*/ 7106560 w 9397013"/>
              <a:gd name="connsiteY24-594" fmla="*/ 7291226 h 7291226"/>
              <a:gd name="connsiteX25-595" fmla="*/ 7777211 w 9397013"/>
              <a:gd name="connsiteY25-596" fmla="*/ 7124972 h 7291226"/>
              <a:gd name="connsiteX26-597" fmla="*/ 7444802 w 9397013"/>
              <a:gd name="connsiteY26-598" fmla="*/ 7291226 h 7291226"/>
              <a:gd name="connsiteX27-599" fmla="*/ 4245793 w 9397013"/>
              <a:gd name="connsiteY27-600" fmla="*/ 3078214 h 7291226"/>
              <a:gd name="connsiteX28-601" fmla="*/ 4490696 w 9397013"/>
              <a:gd name="connsiteY28-602" fmla="*/ 2757469 h 7291226"/>
              <a:gd name="connsiteX29-603" fmla="*/ 7777211 w 9397013"/>
              <a:gd name="connsiteY29-604" fmla="*/ 7124972 h 7291226"/>
              <a:gd name="connsiteX30-605" fmla="*/ 8567691 w 9397013"/>
              <a:gd name="connsiteY30-606" fmla="*/ 7124971 h 7291226"/>
              <a:gd name="connsiteX31-607" fmla="*/ 8159389 w 9397013"/>
              <a:gd name="connsiteY31-608" fmla="*/ 7134208 h 7291226"/>
              <a:gd name="connsiteX32-609" fmla="*/ 4650570 w 9397013"/>
              <a:gd name="connsiteY32-610" fmla="*/ 2548084 h 7291226"/>
              <a:gd name="connsiteX33-611" fmla="*/ 4869244 w 9397013"/>
              <a:gd name="connsiteY33-612" fmla="*/ 2261689 h 7291226"/>
              <a:gd name="connsiteX34-613" fmla="*/ 8567691 w 9397013"/>
              <a:gd name="connsiteY34-614" fmla="*/ 7124971 h 7291226"/>
              <a:gd name="connsiteX35-615" fmla="*/ 9397013 w 9397013"/>
              <a:gd name="connsiteY35-616" fmla="*/ 7134207 h 7291226"/>
              <a:gd name="connsiteX36-617" fmla="*/ 8921338 w 9397013"/>
              <a:gd name="connsiteY36-618" fmla="*/ 7115735 h 7291226"/>
              <a:gd name="connsiteX37-619" fmla="*/ 5045299 w 9397013"/>
              <a:gd name="connsiteY37-620" fmla="*/ 2031113 h 7291226"/>
              <a:gd name="connsiteX38-621" fmla="*/ 5273037 w 9397013"/>
              <a:gd name="connsiteY38-622" fmla="*/ 1732846 h 7291226"/>
              <a:gd name="connsiteX39-623" fmla="*/ 9397013 w 9397013"/>
              <a:gd name="connsiteY39-624" fmla="*/ 7134207 h 7291226"/>
              <a:gd name="connsiteX0-625" fmla="*/ 168369 w 9397013"/>
              <a:gd name="connsiteY0-626" fmla="*/ 4779933 h 7291226"/>
              <a:gd name="connsiteX1-627" fmla="*/ 0 w 9397013"/>
              <a:gd name="connsiteY1-628" fmla="*/ 4409146 h 7291226"/>
              <a:gd name="connsiteX2-629" fmla="*/ 3332806 w 9397013"/>
              <a:gd name="connsiteY2-630" fmla="*/ 0 h 7291226"/>
              <a:gd name="connsiteX3-631" fmla="*/ 3794560 w 9397013"/>
              <a:gd name="connsiteY3-632" fmla="*/ 32861 h 7291226"/>
              <a:gd name="connsiteX4-633" fmla="*/ 168369 w 9397013"/>
              <a:gd name="connsiteY4-634" fmla="*/ 4779933 h 7291226"/>
              <a:gd name="connsiteX5-635" fmla="*/ 488220 w 9397013"/>
              <a:gd name="connsiteY5-636" fmla="*/ 5484315 h 7291226"/>
              <a:gd name="connsiteX6-637" fmla="*/ 299082 w 9397013"/>
              <a:gd name="connsiteY6-638" fmla="*/ 5067791 h 7291226"/>
              <a:gd name="connsiteX7-639" fmla="*/ 4106456 w 9397013"/>
              <a:gd name="connsiteY7-640" fmla="*/ 55057 h 7291226"/>
              <a:gd name="connsiteX8-641" fmla="*/ 4585079 w 9397013"/>
              <a:gd name="connsiteY8-642" fmla="*/ 89119 h 7291226"/>
              <a:gd name="connsiteX9-643" fmla="*/ 488220 w 9397013"/>
              <a:gd name="connsiteY9-644" fmla="*/ 5484315 h 7291226"/>
              <a:gd name="connsiteX10-645" fmla="*/ 779421 w 9397013"/>
              <a:gd name="connsiteY10-646" fmla="*/ 6125606 h 7291226"/>
              <a:gd name="connsiteX11-647" fmla="*/ 618065 w 9397013"/>
              <a:gd name="connsiteY11-648" fmla="*/ 5770263 h 7291226"/>
              <a:gd name="connsiteX12-649" fmla="*/ 4897528 w 9397013"/>
              <a:gd name="connsiteY12-650" fmla="*/ 111354 h 7291226"/>
              <a:gd name="connsiteX13-651" fmla="*/ 5324893 w 9397013"/>
              <a:gd name="connsiteY13-652" fmla="*/ 141768 h 7291226"/>
              <a:gd name="connsiteX14-653" fmla="*/ 779421 w 9397013"/>
              <a:gd name="connsiteY14-654" fmla="*/ 6125606 h 7291226"/>
              <a:gd name="connsiteX15-655" fmla="*/ 1099910 w 9397013"/>
              <a:gd name="connsiteY15-656" fmla="*/ 6831395 h 7291226"/>
              <a:gd name="connsiteX16-657" fmla="*/ 919656 w 9397013"/>
              <a:gd name="connsiteY16-658" fmla="*/ 6434435 h 7291226"/>
              <a:gd name="connsiteX17-659" fmla="*/ 5668965 w 9397013"/>
              <a:gd name="connsiteY17-660" fmla="*/ 166254 h 7291226"/>
              <a:gd name="connsiteX18-661" fmla="*/ 6114044 w 9397013"/>
              <a:gd name="connsiteY18-662" fmla="*/ 197929 h 7291226"/>
              <a:gd name="connsiteX19-663" fmla="*/ 1099910 w 9397013"/>
              <a:gd name="connsiteY19-664" fmla="*/ 6831395 h 7291226"/>
              <a:gd name="connsiteX20-665" fmla="*/ 7106560 w 9397013"/>
              <a:gd name="connsiteY20-666" fmla="*/ 7291226 h 7291226"/>
              <a:gd name="connsiteX21-667" fmla="*/ 6670875 w 9397013"/>
              <a:gd name="connsiteY21-668" fmla="*/ 7291226 h 7291226"/>
              <a:gd name="connsiteX22-669" fmla="*/ 3849932 w 9397013"/>
              <a:gd name="connsiteY22-670" fmla="*/ 3596670 h 7291226"/>
              <a:gd name="connsiteX23-671" fmla="*/ 4086202 w 9397013"/>
              <a:gd name="connsiteY23-672" fmla="*/ 3287229 h 7291226"/>
              <a:gd name="connsiteX24-673" fmla="*/ 7106560 w 9397013"/>
              <a:gd name="connsiteY24-674" fmla="*/ 7291226 h 7291226"/>
              <a:gd name="connsiteX25-675" fmla="*/ 7777211 w 9397013"/>
              <a:gd name="connsiteY25-676" fmla="*/ 7124972 h 7291226"/>
              <a:gd name="connsiteX26-677" fmla="*/ 7324729 w 9397013"/>
              <a:gd name="connsiteY26-678" fmla="*/ 7124972 h 7291226"/>
              <a:gd name="connsiteX27-679" fmla="*/ 4245793 w 9397013"/>
              <a:gd name="connsiteY27-680" fmla="*/ 3078214 h 7291226"/>
              <a:gd name="connsiteX28-681" fmla="*/ 4490696 w 9397013"/>
              <a:gd name="connsiteY28-682" fmla="*/ 2757469 h 7291226"/>
              <a:gd name="connsiteX29-683" fmla="*/ 7777211 w 9397013"/>
              <a:gd name="connsiteY29-684" fmla="*/ 7124972 h 7291226"/>
              <a:gd name="connsiteX30-685" fmla="*/ 8567691 w 9397013"/>
              <a:gd name="connsiteY30-686" fmla="*/ 7124971 h 7291226"/>
              <a:gd name="connsiteX31-687" fmla="*/ 8159389 w 9397013"/>
              <a:gd name="connsiteY31-688" fmla="*/ 7134208 h 7291226"/>
              <a:gd name="connsiteX32-689" fmla="*/ 4650570 w 9397013"/>
              <a:gd name="connsiteY32-690" fmla="*/ 2548084 h 7291226"/>
              <a:gd name="connsiteX33-691" fmla="*/ 4869244 w 9397013"/>
              <a:gd name="connsiteY33-692" fmla="*/ 2261689 h 7291226"/>
              <a:gd name="connsiteX34-693" fmla="*/ 8567691 w 9397013"/>
              <a:gd name="connsiteY34-694" fmla="*/ 7124971 h 7291226"/>
              <a:gd name="connsiteX35-695" fmla="*/ 9397013 w 9397013"/>
              <a:gd name="connsiteY35-696" fmla="*/ 7134207 h 7291226"/>
              <a:gd name="connsiteX36-697" fmla="*/ 8921338 w 9397013"/>
              <a:gd name="connsiteY36-698" fmla="*/ 7115735 h 7291226"/>
              <a:gd name="connsiteX37-699" fmla="*/ 5045299 w 9397013"/>
              <a:gd name="connsiteY37-700" fmla="*/ 2031113 h 7291226"/>
              <a:gd name="connsiteX38-701" fmla="*/ 5273037 w 9397013"/>
              <a:gd name="connsiteY38-702" fmla="*/ 1732846 h 7291226"/>
              <a:gd name="connsiteX39-703" fmla="*/ 9397013 w 9397013"/>
              <a:gd name="connsiteY39-704" fmla="*/ 7134207 h 7291226"/>
              <a:gd name="connsiteX0-705" fmla="*/ 168369 w 9397013"/>
              <a:gd name="connsiteY0-706" fmla="*/ 4779933 h 7291226"/>
              <a:gd name="connsiteX1-707" fmla="*/ 0 w 9397013"/>
              <a:gd name="connsiteY1-708" fmla="*/ 4409146 h 7291226"/>
              <a:gd name="connsiteX2-709" fmla="*/ 3332806 w 9397013"/>
              <a:gd name="connsiteY2-710" fmla="*/ 0 h 7291226"/>
              <a:gd name="connsiteX3-711" fmla="*/ 3794560 w 9397013"/>
              <a:gd name="connsiteY3-712" fmla="*/ 32861 h 7291226"/>
              <a:gd name="connsiteX4-713" fmla="*/ 168369 w 9397013"/>
              <a:gd name="connsiteY4-714" fmla="*/ 4779933 h 7291226"/>
              <a:gd name="connsiteX5-715" fmla="*/ 488220 w 9397013"/>
              <a:gd name="connsiteY5-716" fmla="*/ 5484315 h 7291226"/>
              <a:gd name="connsiteX6-717" fmla="*/ 299082 w 9397013"/>
              <a:gd name="connsiteY6-718" fmla="*/ 5067791 h 7291226"/>
              <a:gd name="connsiteX7-719" fmla="*/ 4106456 w 9397013"/>
              <a:gd name="connsiteY7-720" fmla="*/ 55057 h 7291226"/>
              <a:gd name="connsiteX8-721" fmla="*/ 4585079 w 9397013"/>
              <a:gd name="connsiteY8-722" fmla="*/ 89119 h 7291226"/>
              <a:gd name="connsiteX9-723" fmla="*/ 488220 w 9397013"/>
              <a:gd name="connsiteY9-724" fmla="*/ 5484315 h 7291226"/>
              <a:gd name="connsiteX10-725" fmla="*/ 779421 w 9397013"/>
              <a:gd name="connsiteY10-726" fmla="*/ 6125606 h 7291226"/>
              <a:gd name="connsiteX11-727" fmla="*/ 618065 w 9397013"/>
              <a:gd name="connsiteY11-728" fmla="*/ 5770263 h 7291226"/>
              <a:gd name="connsiteX12-729" fmla="*/ 4897528 w 9397013"/>
              <a:gd name="connsiteY12-730" fmla="*/ 111354 h 7291226"/>
              <a:gd name="connsiteX13-731" fmla="*/ 5324893 w 9397013"/>
              <a:gd name="connsiteY13-732" fmla="*/ 141768 h 7291226"/>
              <a:gd name="connsiteX14-733" fmla="*/ 779421 w 9397013"/>
              <a:gd name="connsiteY14-734" fmla="*/ 6125606 h 7291226"/>
              <a:gd name="connsiteX15-735" fmla="*/ 1099910 w 9397013"/>
              <a:gd name="connsiteY15-736" fmla="*/ 6831395 h 7291226"/>
              <a:gd name="connsiteX16-737" fmla="*/ 919656 w 9397013"/>
              <a:gd name="connsiteY16-738" fmla="*/ 6434435 h 7291226"/>
              <a:gd name="connsiteX17-739" fmla="*/ 5668965 w 9397013"/>
              <a:gd name="connsiteY17-740" fmla="*/ 166254 h 7291226"/>
              <a:gd name="connsiteX18-741" fmla="*/ 6114044 w 9397013"/>
              <a:gd name="connsiteY18-742" fmla="*/ 197929 h 7291226"/>
              <a:gd name="connsiteX19-743" fmla="*/ 1099910 w 9397013"/>
              <a:gd name="connsiteY19-744" fmla="*/ 6831395 h 7291226"/>
              <a:gd name="connsiteX20-745" fmla="*/ 6968015 w 9397013"/>
              <a:gd name="connsiteY20-746" fmla="*/ 7143444 h 7291226"/>
              <a:gd name="connsiteX21-747" fmla="*/ 6670875 w 9397013"/>
              <a:gd name="connsiteY21-748" fmla="*/ 7291226 h 7291226"/>
              <a:gd name="connsiteX22-749" fmla="*/ 3849932 w 9397013"/>
              <a:gd name="connsiteY22-750" fmla="*/ 3596670 h 7291226"/>
              <a:gd name="connsiteX23-751" fmla="*/ 4086202 w 9397013"/>
              <a:gd name="connsiteY23-752" fmla="*/ 3287229 h 7291226"/>
              <a:gd name="connsiteX24-753" fmla="*/ 6968015 w 9397013"/>
              <a:gd name="connsiteY24-754" fmla="*/ 7143444 h 7291226"/>
              <a:gd name="connsiteX25-755" fmla="*/ 7777211 w 9397013"/>
              <a:gd name="connsiteY25-756" fmla="*/ 7124972 h 7291226"/>
              <a:gd name="connsiteX26-757" fmla="*/ 7324729 w 9397013"/>
              <a:gd name="connsiteY26-758" fmla="*/ 7124972 h 7291226"/>
              <a:gd name="connsiteX27-759" fmla="*/ 4245793 w 9397013"/>
              <a:gd name="connsiteY27-760" fmla="*/ 3078214 h 7291226"/>
              <a:gd name="connsiteX28-761" fmla="*/ 4490696 w 9397013"/>
              <a:gd name="connsiteY28-762" fmla="*/ 2757469 h 7291226"/>
              <a:gd name="connsiteX29-763" fmla="*/ 7777211 w 9397013"/>
              <a:gd name="connsiteY29-764" fmla="*/ 7124972 h 7291226"/>
              <a:gd name="connsiteX30-765" fmla="*/ 8567691 w 9397013"/>
              <a:gd name="connsiteY30-766" fmla="*/ 7124971 h 7291226"/>
              <a:gd name="connsiteX31-767" fmla="*/ 8159389 w 9397013"/>
              <a:gd name="connsiteY31-768" fmla="*/ 7134208 h 7291226"/>
              <a:gd name="connsiteX32-769" fmla="*/ 4650570 w 9397013"/>
              <a:gd name="connsiteY32-770" fmla="*/ 2548084 h 7291226"/>
              <a:gd name="connsiteX33-771" fmla="*/ 4869244 w 9397013"/>
              <a:gd name="connsiteY33-772" fmla="*/ 2261689 h 7291226"/>
              <a:gd name="connsiteX34-773" fmla="*/ 8567691 w 9397013"/>
              <a:gd name="connsiteY34-774" fmla="*/ 7124971 h 7291226"/>
              <a:gd name="connsiteX35-775" fmla="*/ 9397013 w 9397013"/>
              <a:gd name="connsiteY35-776" fmla="*/ 7134207 h 7291226"/>
              <a:gd name="connsiteX36-777" fmla="*/ 8921338 w 9397013"/>
              <a:gd name="connsiteY36-778" fmla="*/ 7115735 h 7291226"/>
              <a:gd name="connsiteX37-779" fmla="*/ 5045299 w 9397013"/>
              <a:gd name="connsiteY37-780" fmla="*/ 2031113 h 7291226"/>
              <a:gd name="connsiteX38-781" fmla="*/ 5273037 w 9397013"/>
              <a:gd name="connsiteY38-782" fmla="*/ 1732846 h 7291226"/>
              <a:gd name="connsiteX39-783" fmla="*/ 9397013 w 9397013"/>
              <a:gd name="connsiteY39-784" fmla="*/ 7134207 h 7291226"/>
              <a:gd name="connsiteX0-785" fmla="*/ 168369 w 9397013"/>
              <a:gd name="connsiteY0-786" fmla="*/ 4779933 h 7143444"/>
              <a:gd name="connsiteX1-787" fmla="*/ 0 w 9397013"/>
              <a:gd name="connsiteY1-788" fmla="*/ 4409146 h 7143444"/>
              <a:gd name="connsiteX2-789" fmla="*/ 3332806 w 9397013"/>
              <a:gd name="connsiteY2-790" fmla="*/ 0 h 7143444"/>
              <a:gd name="connsiteX3-791" fmla="*/ 3794560 w 9397013"/>
              <a:gd name="connsiteY3-792" fmla="*/ 32861 h 7143444"/>
              <a:gd name="connsiteX4-793" fmla="*/ 168369 w 9397013"/>
              <a:gd name="connsiteY4-794" fmla="*/ 4779933 h 7143444"/>
              <a:gd name="connsiteX5-795" fmla="*/ 488220 w 9397013"/>
              <a:gd name="connsiteY5-796" fmla="*/ 5484315 h 7143444"/>
              <a:gd name="connsiteX6-797" fmla="*/ 299082 w 9397013"/>
              <a:gd name="connsiteY6-798" fmla="*/ 5067791 h 7143444"/>
              <a:gd name="connsiteX7-799" fmla="*/ 4106456 w 9397013"/>
              <a:gd name="connsiteY7-800" fmla="*/ 55057 h 7143444"/>
              <a:gd name="connsiteX8-801" fmla="*/ 4585079 w 9397013"/>
              <a:gd name="connsiteY8-802" fmla="*/ 89119 h 7143444"/>
              <a:gd name="connsiteX9-803" fmla="*/ 488220 w 9397013"/>
              <a:gd name="connsiteY9-804" fmla="*/ 5484315 h 7143444"/>
              <a:gd name="connsiteX10-805" fmla="*/ 779421 w 9397013"/>
              <a:gd name="connsiteY10-806" fmla="*/ 6125606 h 7143444"/>
              <a:gd name="connsiteX11-807" fmla="*/ 618065 w 9397013"/>
              <a:gd name="connsiteY11-808" fmla="*/ 5770263 h 7143444"/>
              <a:gd name="connsiteX12-809" fmla="*/ 4897528 w 9397013"/>
              <a:gd name="connsiteY12-810" fmla="*/ 111354 h 7143444"/>
              <a:gd name="connsiteX13-811" fmla="*/ 5324893 w 9397013"/>
              <a:gd name="connsiteY13-812" fmla="*/ 141768 h 7143444"/>
              <a:gd name="connsiteX14-813" fmla="*/ 779421 w 9397013"/>
              <a:gd name="connsiteY14-814" fmla="*/ 6125606 h 7143444"/>
              <a:gd name="connsiteX15-815" fmla="*/ 1099910 w 9397013"/>
              <a:gd name="connsiteY15-816" fmla="*/ 6831395 h 7143444"/>
              <a:gd name="connsiteX16-817" fmla="*/ 919656 w 9397013"/>
              <a:gd name="connsiteY16-818" fmla="*/ 6434435 h 7143444"/>
              <a:gd name="connsiteX17-819" fmla="*/ 5668965 w 9397013"/>
              <a:gd name="connsiteY17-820" fmla="*/ 166254 h 7143444"/>
              <a:gd name="connsiteX18-821" fmla="*/ 6114044 w 9397013"/>
              <a:gd name="connsiteY18-822" fmla="*/ 197929 h 7143444"/>
              <a:gd name="connsiteX19-823" fmla="*/ 1099910 w 9397013"/>
              <a:gd name="connsiteY19-824" fmla="*/ 6831395 h 7143444"/>
              <a:gd name="connsiteX20-825" fmla="*/ 6968015 w 9397013"/>
              <a:gd name="connsiteY20-826" fmla="*/ 7143444 h 7143444"/>
              <a:gd name="connsiteX21-827" fmla="*/ 6550802 w 9397013"/>
              <a:gd name="connsiteY21-828" fmla="*/ 7143444 h 7143444"/>
              <a:gd name="connsiteX22-829" fmla="*/ 3849932 w 9397013"/>
              <a:gd name="connsiteY22-830" fmla="*/ 3596670 h 7143444"/>
              <a:gd name="connsiteX23-831" fmla="*/ 4086202 w 9397013"/>
              <a:gd name="connsiteY23-832" fmla="*/ 3287229 h 7143444"/>
              <a:gd name="connsiteX24-833" fmla="*/ 6968015 w 9397013"/>
              <a:gd name="connsiteY24-834" fmla="*/ 7143444 h 7143444"/>
              <a:gd name="connsiteX25-835" fmla="*/ 7777211 w 9397013"/>
              <a:gd name="connsiteY25-836" fmla="*/ 7124972 h 7143444"/>
              <a:gd name="connsiteX26-837" fmla="*/ 7324729 w 9397013"/>
              <a:gd name="connsiteY26-838" fmla="*/ 7124972 h 7143444"/>
              <a:gd name="connsiteX27-839" fmla="*/ 4245793 w 9397013"/>
              <a:gd name="connsiteY27-840" fmla="*/ 3078214 h 7143444"/>
              <a:gd name="connsiteX28-841" fmla="*/ 4490696 w 9397013"/>
              <a:gd name="connsiteY28-842" fmla="*/ 2757469 h 7143444"/>
              <a:gd name="connsiteX29-843" fmla="*/ 7777211 w 9397013"/>
              <a:gd name="connsiteY29-844" fmla="*/ 7124972 h 7143444"/>
              <a:gd name="connsiteX30-845" fmla="*/ 8567691 w 9397013"/>
              <a:gd name="connsiteY30-846" fmla="*/ 7124971 h 7143444"/>
              <a:gd name="connsiteX31-847" fmla="*/ 8159389 w 9397013"/>
              <a:gd name="connsiteY31-848" fmla="*/ 7134208 h 7143444"/>
              <a:gd name="connsiteX32-849" fmla="*/ 4650570 w 9397013"/>
              <a:gd name="connsiteY32-850" fmla="*/ 2548084 h 7143444"/>
              <a:gd name="connsiteX33-851" fmla="*/ 4869244 w 9397013"/>
              <a:gd name="connsiteY33-852" fmla="*/ 2261689 h 7143444"/>
              <a:gd name="connsiteX34-853" fmla="*/ 8567691 w 9397013"/>
              <a:gd name="connsiteY34-854" fmla="*/ 7124971 h 7143444"/>
              <a:gd name="connsiteX35-855" fmla="*/ 9397013 w 9397013"/>
              <a:gd name="connsiteY35-856" fmla="*/ 7134207 h 7143444"/>
              <a:gd name="connsiteX36-857" fmla="*/ 8921338 w 9397013"/>
              <a:gd name="connsiteY36-858" fmla="*/ 7115735 h 7143444"/>
              <a:gd name="connsiteX37-859" fmla="*/ 5045299 w 9397013"/>
              <a:gd name="connsiteY37-860" fmla="*/ 2031113 h 7143444"/>
              <a:gd name="connsiteX38-861" fmla="*/ 5273037 w 9397013"/>
              <a:gd name="connsiteY38-862" fmla="*/ 1732846 h 7143444"/>
              <a:gd name="connsiteX39-863" fmla="*/ 9397013 w 9397013"/>
              <a:gd name="connsiteY39-864" fmla="*/ 7134207 h 7143444"/>
              <a:gd name="connsiteX0-865" fmla="*/ 168369 w 9397013"/>
              <a:gd name="connsiteY0-866" fmla="*/ 4779933 h 7143444"/>
              <a:gd name="connsiteX1-867" fmla="*/ 0 w 9397013"/>
              <a:gd name="connsiteY1-868" fmla="*/ 4409146 h 7143444"/>
              <a:gd name="connsiteX2-869" fmla="*/ 3332806 w 9397013"/>
              <a:gd name="connsiteY2-870" fmla="*/ 0 h 7143444"/>
              <a:gd name="connsiteX3-871" fmla="*/ 3794560 w 9397013"/>
              <a:gd name="connsiteY3-872" fmla="*/ 32861 h 7143444"/>
              <a:gd name="connsiteX4-873" fmla="*/ 168369 w 9397013"/>
              <a:gd name="connsiteY4-874" fmla="*/ 4779933 h 7143444"/>
              <a:gd name="connsiteX5-875" fmla="*/ 488220 w 9397013"/>
              <a:gd name="connsiteY5-876" fmla="*/ 5484315 h 7143444"/>
              <a:gd name="connsiteX6-877" fmla="*/ 299082 w 9397013"/>
              <a:gd name="connsiteY6-878" fmla="*/ 5067791 h 7143444"/>
              <a:gd name="connsiteX7-879" fmla="*/ 4106456 w 9397013"/>
              <a:gd name="connsiteY7-880" fmla="*/ 55057 h 7143444"/>
              <a:gd name="connsiteX8-881" fmla="*/ 4585079 w 9397013"/>
              <a:gd name="connsiteY8-882" fmla="*/ 89119 h 7143444"/>
              <a:gd name="connsiteX9-883" fmla="*/ 488220 w 9397013"/>
              <a:gd name="connsiteY9-884" fmla="*/ 5484315 h 7143444"/>
              <a:gd name="connsiteX10-885" fmla="*/ 779421 w 9397013"/>
              <a:gd name="connsiteY10-886" fmla="*/ 6125606 h 7143444"/>
              <a:gd name="connsiteX11-887" fmla="*/ 618065 w 9397013"/>
              <a:gd name="connsiteY11-888" fmla="*/ 5770263 h 7143444"/>
              <a:gd name="connsiteX12-889" fmla="*/ 4897528 w 9397013"/>
              <a:gd name="connsiteY12-890" fmla="*/ 111354 h 7143444"/>
              <a:gd name="connsiteX13-891" fmla="*/ 5324893 w 9397013"/>
              <a:gd name="connsiteY13-892" fmla="*/ 141768 h 7143444"/>
              <a:gd name="connsiteX14-893" fmla="*/ 779421 w 9397013"/>
              <a:gd name="connsiteY14-894" fmla="*/ 6125606 h 7143444"/>
              <a:gd name="connsiteX15-895" fmla="*/ 1099910 w 9397013"/>
              <a:gd name="connsiteY15-896" fmla="*/ 6831395 h 7143444"/>
              <a:gd name="connsiteX16-897" fmla="*/ 919656 w 9397013"/>
              <a:gd name="connsiteY16-898" fmla="*/ 6434435 h 7143444"/>
              <a:gd name="connsiteX17-899" fmla="*/ 5668965 w 9397013"/>
              <a:gd name="connsiteY17-900" fmla="*/ 166254 h 7143444"/>
              <a:gd name="connsiteX18-901" fmla="*/ 6114044 w 9397013"/>
              <a:gd name="connsiteY18-902" fmla="*/ 197929 h 7143444"/>
              <a:gd name="connsiteX19-903" fmla="*/ 1099910 w 9397013"/>
              <a:gd name="connsiteY19-904" fmla="*/ 6831395 h 7143444"/>
              <a:gd name="connsiteX20-905" fmla="*/ 6958778 w 9397013"/>
              <a:gd name="connsiteY20-906" fmla="*/ 7124971 h 7143444"/>
              <a:gd name="connsiteX21-907" fmla="*/ 6550802 w 9397013"/>
              <a:gd name="connsiteY21-908" fmla="*/ 7143444 h 7143444"/>
              <a:gd name="connsiteX22-909" fmla="*/ 3849932 w 9397013"/>
              <a:gd name="connsiteY22-910" fmla="*/ 3596670 h 7143444"/>
              <a:gd name="connsiteX23-911" fmla="*/ 4086202 w 9397013"/>
              <a:gd name="connsiteY23-912" fmla="*/ 3287229 h 7143444"/>
              <a:gd name="connsiteX24-913" fmla="*/ 6958778 w 9397013"/>
              <a:gd name="connsiteY24-914" fmla="*/ 7124971 h 7143444"/>
              <a:gd name="connsiteX25-915" fmla="*/ 7777211 w 9397013"/>
              <a:gd name="connsiteY25-916" fmla="*/ 7124972 h 7143444"/>
              <a:gd name="connsiteX26-917" fmla="*/ 7324729 w 9397013"/>
              <a:gd name="connsiteY26-918" fmla="*/ 7124972 h 7143444"/>
              <a:gd name="connsiteX27-919" fmla="*/ 4245793 w 9397013"/>
              <a:gd name="connsiteY27-920" fmla="*/ 3078214 h 7143444"/>
              <a:gd name="connsiteX28-921" fmla="*/ 4490696 w 9397013"/>
              <a:gd name="connsiteY28-922" fmla="*/ 2757469 h 7143444"/>
              <a:gd name="connsiteX29-923" fmla="*/ 7777211 w 9397013"/>
              <a:gd name="connsiteY29-924" fmla="*/ 7124972 h 7143444"/>
              <a:gd name="connsiteX30-925" fmla="*/ 8567691 w 9397013"/>
              <a:gd name="connsiteY30-926" fmla="*/ 7124971 h 7143444"/>
              <a:gd name="connsiteX31-927" fmla="*/ 8159389 w 9397013"/>
              <a:gd name="connsiteY31-928" fmla="*/ 7134208 h 7143444"/>
              <a:gd name="connsiteX32-929" fmla="*/ 4650570 w 9397013"/>
              <a:gd name="connsiteY32-930" fmla="*/ 2548084 h 7143444"/>
              <a:gd name="connsiteX33-931" fmla="*/ 4869244 w 9397013"/>
              <a:gd name="connsiteY33-932" fmla="*/ 2261689 h 7143444"/>
              <a:gd name="connsiteX34-933" fmla="*/ 8567691 w 9397013"/>
              <a:gd name="connsiteY34-934" fmla="*/ 7124971 h 7143444"/>
              <a:gd name="connsiteX35-935" fmla="*/ 9397013 w 9397013"/>
              <a:gd name="connsiteY35-936" fmla="*/ 7134207 h 7143444"/>
              <a:gd name="connsiteX36-937" fmla="*/ 8921338 w 9397013"/>
              <a:gd name="connsiteY36-938" fmla="*/ 7115735 h 7143444"/>
              <a:gd name="connsiteX37-939" fmla="*/ 5045299 w 9397013"/>
              <a:gd name="connsiteY37-940" fmla="*/ 2031113 h 7143444"/>
              <a:gd name="connsiteX38-941" fmla="*/ 5273037 w 9397013"/>
              <a:gd name="connsiteY38-942" fmla="*/ 1732846 h 7143444"/>
              <a:gd name="connsiteX39-943" fmla="*/ 9397013 w 9397013"/>
              <a:gd name="connsiteY39-944" fmla="*/ 7134207 h 7143444"/>
              <a:gd name="connsiteX0-945" fmla="*/ 168369 w 9397013"/>
              <a:gd name="connsiteY0-946" fmla="*/ 4779933 h 7134208"/>
              <a:gd name="connsiteX1-947" fmla="*/ 0 w 9397013"/>
              <a:gd name="connsiteY1-948" fmla="*/ 4409146 h 7134208"/>
              <a:gd name="connsiteX2-949" fmla="*/ 3332806 w 9397013"/>
              <a:gd name="connsiteY2-950" fmla="*/ 0 h 7134208"/>
              <a:gd name="connsiteX3-951" fmla="*/ 3794560 w 9397013"/>
              <a:gd name="connsiteY3-952" fmla="*/ 32861 h 7134208"/>
              <a:gd name="connsiteX4-953" fmla="*/ 168369 w 9397013"/>
              <a:gd name="connsiteY4-954" fmla="*/ 4779933 h 7134208"/>
              <a:gd name="connsiteX5-955" fmla="*/ 488220 w 9397013"/>
              <a:gd name="connsiteY5-956" fmla="*/ 5484315 h 7134208"/>
              <a:gd name="connsiteX6-957" fmla="*/ 299082 w 9397013"/>
              <a:gd name="connsiteY6-958" fmla="*/ 5067791 h 7134208"/>
              <a:gd name="connsiteX7-959" fmla="*/ 4106456 w 9397013"/>
              <a:gd name="connsiteY7-960" fmla="*/ 55057 h 7134208"/>
              <a:gd name="connsiteX8-961" fmla="*/ 4585079 w 9397013"/>
              <a:gd name="connsiteY8-962" fmla="*/ 89119 h 7134208"/>
              <a:gd name="connsiteX9-963" fmla="*/ 488220 w 9397013"/>
              <a:gd name="connsiteY9-964" fmla="*/ 5484315 h 7134208"/>
              <a:gd name="connsiteX10-965" fmla="*/ 779421 w 9397013"/>
              <a:gd name="connsiteY10-966" fmla="*/ 6125606 h 7134208"/>
              <a:gd name="connsiteX11-967" fmla="*/ 618065 w 9397013"/>
              <a:gd name="connsiteY11-968" fmla="*/ 5770263 h 7134208"/>
              <a:gd name="connsiteX12-969" fmla="*/ 4897528 w 9397013"/>
              <a:gd name="connsiteY12-970" fmla="*/ 111354 h 7134208"/>
              <a:gd name="connsiteX13-971" fmla="*/ 5324893 w 9397013"/>
              <a:gd name="connsiteY13-972" fmla="*/ 141768 h 7134208"/>
              <a:gd name="connsiteX14-973" fmla="*/ 779421 w 9397013"/>
              <a:gd name="connsiteY14-974" fmla="*/ 6125606 h 7134208"/>
              <a:gd name="connsiteX15-975" fmla="*/ 1099910 w 9397013"/>
              <a:gd name="connsiteY15-976" fmla="*/ 6831395 h 7134208"/>
              <a:gd name="connsiteX16-977" fmla="*/ 919656 w 9397013"/>
              <a:gd name="connsiteY16-978" fmla="*/ 6434435 h 7134208"/>
              <a:gd name="connsiteX17-979" fmla="*/ 5668965 w 9397013"/>
              <a:gd name="connsiteY17-980" fmla="*/ 166254 h 7134208"/>
              <a:gd name="connsiteX18-981" fmla="*/ 6114044 w 9397013"/>
              <a:gd name="connsiteY18-982" fmla="*/ 197929 h 7134208"/>
              <a:gd name="connsiteX19-983" fmla="*/ 1099910 w 9397013"/>
              <a:gd name="connsiteY19-984" fmla="*/ 6831395 h 7134208"/>
              <a:gd name="connsiteX20-985" fmla="*/ 6958778 w 9397013"/>
              <a:gd name="connsiteY20-986" fmla="*/ 7124971 h 7134208"/>
              <a:gd name="connsiteX21-987" fmla="*/ 6541566 w 9397013"/>
              <a:gd name="connsiteY21-988" fmla="*/ 7115735 h 7134208"/>
              <a:gd name="connsiteX22-989" fmla="*/ 3849932 w 9397013"/>
              <a:gd name="connsiteY22-990" fmla="*/ 3596670 h 7134208"/>
              <a:gd name="connsiteX23-991" fmla="*/ 4086202 w 9397013"/>
              <a:gd name="connsiteY23-992" fmla="*/ 3287229 h 7134208"/>
              <a:gd name="connsiteX24-993" fmla="*/ 6958778 w 9397013"/>
              <a:gd name="connsiteY24-994" fmla="*/ 7124971 h 7134208"/>
              <a:gd name="connsiteX25-995" fmla="*/ 7777211 w 9397013"/>
              <a:gd name="connsiteY25-996" fmla="*/ 7124972 h 7134208"/>
              <a:gd name="connsiteX26-997" fmla="*/ 7324729 w 9397013"/>
              <a:gd name="connsiteY26-998" fmla="*/ 7124972 h 7134208"/>
              <a:gd name="connsiteX27-999" fmla="*/ 4245793 w 9397013"/>
              <a:gd name="connsiteY27-1000" fmla="*/ 3078214 h 7134208"/>
              <a:gd name="connsiteX28-1001" fmla="*/ 4490696 w 9397013"/>
              <a:gd name="connsiteY28-1002" fmla="*/ 2757469 h 7134208"/>
              <a:gd name="connsiteX29-1003" fmla="*/ 7777211 w 9397013"/>
              <a:gd name="connsiteY29-1004" fmla="*/ 7124972 h 7134208"/>
              <a:gd name="connsiteX30-1005" fmla="*/ 8567691 w 9397013"/>
              <a:gd name="connsiteY30-1006" fmla="*/ 7124971 h 7134208"/>
              <a:gd name="connsiteX31-1007" fmla="*/ 8159389 w 9397013"/>
              <a:gd name="connsiteY31-1008" fmla="*/ 7134208 h 7134208"/>
              <a:gd name="connsiteX32-1009" fmla="*/ 4650570 w 9397013"/>
              <a:gd name="connsiteY32-1010" fmla="*/ 2548084 h 7134208"/>
              <a:gd name="connsiteX33-1011" fmla="*/ 4869244 w 9397013"/>
              <a:gd name="connsiteY33-1012" fmla="*/ 2261689 h 7134208"/>
              <a:gd name="connsiteX34-1013" fmla="*/ 8567691 w 9397013"/>
              <a:gd name="connsiteY34-1014" fmla="*/ 7124971 h 7134208"/>
              <a:gd name="connsiteX35-1015" fmla="*/ 9397013 w 9397013"/>
              <a:gd name="connsiteY35-1016" fmla="*/ 7134207 h 7134208"/>
              <a:gd name="connsiteX36-1017" fmla="*/ 8921338 w 9397013"/>
              <a:gd name="connsiteY36-1018" fmla="*/ 7115735 h 7134208"/>
              <a:gd name="connsiteX37-1019" fmla="*/ 5045299 w 9397013"/>
              <a:gd name="connsiteY37-1020" fmla="*/ 2031113 h 7134208"/>
              <a:gd name="connsiteX38-1021" fmla="*/ 5273037 w 9397013"/>
              <a:gd name="connsiteY38-1022" fmla="*/ 1732846 h 7134208"/>
              <a:gd name="connsiteX39-1023" fmla="*/ 9397013 w 9397013"/>
              <a:gd name="connsiteY39-1024" fmla="*/ 7134207 h 7134208"/>
              <a:gd name="connsiteX0-1025" fmla="*/ 168369 w 9397013"/>
              <a:gd name="connsiteY0-1026" fmla="*/ 4779933 h 7134208"/>
              <a:gd name="connsiteX1-1027" fmla="*/ 0 w 9397013"/>
              <a:gd name="connsiteY1-1028" fmla="*/ 4409146 h 7134208"/>
              <a:gd name="connsiteX2-1029" fmla="*/ 3332806 w 9397013"/>
              <a:gd name="connsiteY2-1030" fmla="*/ 0 h 7134208"/>
              <a:gd name="connsiteX3-1031" fmla="*/ 3794560 w 9397013"/>
              <a:gd name="connsiteY3-1032" fmla="*/ 32861 h 7134208"/>
              <a:gd name="connsiteX4-1033" fmla="*/ 168369 w 9397013"/>
              <a:gd name="connsiteY4-1034" fmla="*/ 4779933 h 7134208"/>
              <a:gd name="connsiteX5-1035" fmla="*/ 488220 w 9397013"/>
              <a:gd name="connsiteY5-1036" fmla="*/ 5484315 h 7134208"/>
              <a:gd name="connsiteX6-1037" fmla="*/ 299082 w 9397013"/>
              <a:gd name="connsiteY6-1038" fmla="*/ 5067791 h 7134208"/>
              <a:gd name="connsiteX7-1039" fmla="*/ 4106456 w 9397013"/>
              <a:gd name="connsiteY7-1040" fmla="*/ 55057 h 7134208"/>
              <a:gd name="connsiteX8-1041" fmla="*/ 4585079 w 9397013"/>
              <a:gd name="connsiteY8-1042" fmla="*/ 89119 h 7134208"/>
              <a:gd name="connsiteX9-1043" fmla="*/ 488220 w 9397013"/>
              <a:gd name="connsiteY9-1044" fmla="*/ 5484315 h 7134208"/>
              <a:gd name="connsiteX10-1045" fmla="*/ 779421 w 9397013"/>
              <a:gd name="connsiteY10-1046" fmla="*/ 6125606 h 7134208"/>
              <a:gd name="connsiteX11-1047" fmla="*/ 618065 w 9397013"/>
              <a:gd name="connsiteY11-1048" fmla="*/ 5770263 h 7134208"/>
              <a:gd name="connsiteX12-1049" fmla="*/ 4897528 w 9397013"/>
              <a:gd name="connsiteY12-1050" fmla="*/ 111354 h 7134208"/>
              <a:gd name="connsiteX13-1051" fmla="*/ 5324893 w 9397013"/>
              <a:gd name="connsiteY13-1052" fmla="*/ 141768 h 7134208"/>
              <a:gd name="connsiteX14-1053" fmla="*/ 779421 w 9397013"/>
              <a:gd name="connsiteY14-1054" fmla="*/ 6125606 h 7134208"/>
              <a:gd name="connsiteX15-1055" fmla="*/ 1099910 w 9397013"/>
              <a:gd name="connsiteY15-1056" fmla="*/ 6831395 h 7134208"/>
              <a:gd name="connsiteX16-1057" fmla="*/ 919656 w 9397013"/>
              <a:gd name="connsiteY16-1058" fmla="*/ 6434435 h 7134208"/>
              <a:gd name="connsiteX17-1059" fmla="*/ 5668965 w 9397013"/>
              <a:gd name="connsiteY17-1060" fmla="*/ 166254 h 7134208"/>
              <a:gd name="connsiteX18-1061" fmla="*/ 6114044 w 9397013"/>
              <a:gd name="connsiteY18-1062" fmla="*/ 197929 h 7134208"/>
              <a:gd name="connsiteX19-1063" fmla="*/ 1099910 w 9397013"/>
              <a:gd name="connsiteY19-1064" fmla="*/ 6831395 h 7134208"/>
              <a:gd name="connsiteX20-1065" fmla="*/ 6958778 w 9397013"/>
              <a:gd name="connsiteY20-1066" fmla="*/ 7124971 h 7134208"/>
              <a:gd name="connsiteX21-1067" fmla="*/ 6560038 w 9397013"/>
              <a:gd name="connsiteY21-1068" fmla="*/ 7134207 h 7134208"/>
              <a:gd name="connsiteX22-1069" fmla="*/ 3849932 w 9397013"/>
              <a:gd name="connsiteY22-1070" fmla="*/ 3596670 h 7134208"/>
              <a:gd name="connsiteX23-1071" fmla="*/ 4086202 w 9397013"/>
              <a:gd name="connsiteY23-1072" fmla="*/ 3287229 h 7134208"/>
              <a:gd name="connsiteX24-1073" fmla="*/ 6958778 w 9397013"/>
              <a:gd name="connsiteY24-1074" fmla="*/ 7124971 h 7134208"/>
              <a:gd name="connsiteX25-1075" fmla="*/ 7777211 w 9397013"/>
              <a:gd name="connsiteY25-1076" fmla="*/ 7124972 h 7134208"/>
              <a:gd name="connsiteX26-1077" fmla="*/ 7324729 w 9397013"/>
              <a:gd name="connsiteY26-1078" fmla="*/ 7124972 h 7134208"/>
              <a:gd name="connsiteX27-1079" fmla="*/ 4245793 w 9397013"/>
              <a:gd name="connsiteY27-1080" fmla="*/ 3078214 h 7134208"/>
              <a:gd name="connsiteX28-1081" fmla="*/ 4490696 w 9397013"/>
              <a:gd name="connsiteY28-1082" fmla="*/ 2757469 h 7134208"/>
              <a:gd name="connsiteX29-1083" fmla="*/ 7777211 w 9397013"/>
              <a:gd name="connsiteY29-1084" fmla="*/ 7124972 h 7134208"/>
              <a:gd name="connsiteX30-1085" fmla="*/ 8567691 w 9397013"/>
              <a:gd name="connsiteY30-1086" fmla="*/ 7124971 h 7134208"/>
              <a:gd name="connsiteX31-1087" fmla="*/ 8159389 w 9397013"/>
              <a:gd name="connsiteY31-1088" fmla="*/ 7134208 h 7134208"/>
              <a:gd name="connsiteX32-1089" fmla="*/ 4650570 w 9397013"/>
              <a:gd name="connsiteY32-1090" fmla="*/ 2548084 h 7134208"/>
              <a:gd name="connsiteX33-1091" fmla="*/ 4869244 w 9397013"/>
              <a:gd name="connsiteY33-1092" fmla="*/ 2261689 h 7134208"/>
              <a:gd name="connsiteX34-1093" fmla="*/ 8567691 w 9397013"/>
              <a:gd name="connsiteY34-1094" fmla="*/ 7124971 h 7134208"/>
              <a:gd name="connsiteX35-1095" fmla="*/ 9397013 w 9397013"/>
              <a:gd name="connsiteY35-1096" fmla="*/ 7134207 h 7134208"/>
              <a:gd name="connsiteX36-1097" fmla="*/ 8921338 w 9397013"/>
              <a:gd name="connsiteY36-1098" fmla="*/ 7115735 h 7134208"/>
              <a:gd name="connsiteX37-1099" fmla="*/ 5045299 w 9397013"/>
              <a:gd name="connsiteY37-1100" fmla="*/ 2031113 h 7134208"/>
              <a:gd name="connsiteX38-1101" fmla="*/ 5273037 w 9397013"/>
              <a:gd name="connsiteY38-1102" fmla="*/ 1732846 h 7134208"/>
              <a:gd name="connsiteX39-1103" fmla="*/ 9397013 w 9397013"/>
              <a:gd name="connsiteY39-1104" fmla="*/ 7134207 h 7134208"/>
              <a:gd name="connsiteX0-1105" fmla="*/ 168369 w 9397013"/>
              <a:gd name="connsiteY0-1106" fmla="*/ 4779933 h 7134208"/>
              <a:gd name="connsiteX1-1107" fmla="*/ 0 w 9397013"/>
              <a:gd name="connsiteY1-1108" fmla="*/ 4409146 h 7134208"/>
              <a:gd name="connsiteX2-1109" fmla="*/ 3332806 w 9397013"/>
              <a:gd name="connsiteY2-1110" fmla="*/ 0 h 7134208"/>
              <a:gd name="connsiteX3-1111" fmla="*/ 3794560 w 9397013"/>
              <a:gd name="connsiteY3-1112" fmla="*/ 32861 h 7134208"/>
              <a:gd name="connsiteX4-1113" fmla="*/ 168369 w 9397013"/>
              <a:gd name="connsiteY4-1114" fmla="*/ 4779933 h 7134208"/>
              <a:gd name="connsiteX5-1115" fmla="*/ 488220 w 9397013"/>
              <a:gd name="connsiteY5-1116" fmla="*/ 5484315 h 7134208"/>
              <a:gd name="connsiteX6-1117" fmla="*/ 299082 w 9397013"/>
              <a:gd name="connsiteY6-1118" fmla="*/ 5067791 h 7134208"/>
              <a:gd name="connsiteX7-1119" fmla="*/ 4106456 w 9397013"/>
              <a:gd name="connsiteY7-1120" fmla="*/ 55057 h 7134208"/>
              <a:gd name="connsiteX8-1121" fmla="*/ 4585079 w 9397013"/>
              <a:gd name="connsiteY8-1122" fmla="*/ 89119 h 7134208"/>
              <a:gd name="connsiteX9-1123" fmla="*/ 488220 w 9397013"/>
              <a:gd name="connsiteY9-1124" fmla="*/ 5484315 h 7134208"/>
              <a:gd name="connsiteX10-1125" fmla="*/ 779421 w 9397013"/>
              <a:gd name="connsiteY10-1126" fmla="*/ 6125606 h 7134208"/>
              <a:gd name="connsiteX11-1127" fmla="*/ 618065 w 9397013"/>
              <a:gd name="connsiteY11-1128" fmla="*/ 5770263 h 7134208"/>
              <a:gd name="connsiteX12-1129" fmla="*/ 4897528 w 9397013"/>
              <a:gd name="connsiteY12-1130" fmla="*/ 111354 h 7134208"/>
              <a:gd name="connsiteX13-1131" fmla="*/ 5324893 w 9397013"/>
              <a:gd name="connsiteY13-1132" fmla="*/ 141768 h 7134208"/>
              <a:gd name="connsiteX14-1133" fmla="*/ 779421 w 9397013"/>
              <a:gd name="connsiteY14-1134" fmla="*/ 6125606 h 7134208"/>
              <a:gd name="connsiteX15-1135" fmla="*/ 1099910 w 9397013"/>
              <a:gd name="connsiteY15-1136" fmla="*/ 6831395 h 7134208"/>
              <a:gd name="connsiteX16-1137" fmla="*/ 919656 w 9397013"/>
              <a:gd name="connsiteY16-1138" fmla="*/ 6434435 h 7134208"/>
              <a:gd name="connsiteX17-1139" fmla="*/ 5668965 w 9397013"/>
              <a:gd name="connsiteY17-1140" fmla="*/ 166254 h 7134208"/>
              <a:gd name="connsiteX18-1141" fmla="*/ 6077099 w 9397013"/>
              <a:gd name="connsiteY18-1142" fmla="*/ 225638 h 7134208"/>
              <a:gd name="connsiteX19-1143" fmla="*/ 1099910 w 9397013"/>
              <a:gd name="connsiteY19-1144" fmla="*/ 6831395 h 7134208"/>
              <a:gd name="connsiteX20-1145" fmla="*/ 6958778 w 9397013"/>
              <a:gd name="connsiteY20-1146" fmla="*/ 7124971 h 7134208"/>
              <a:gd name="connsiteX21-1147" fmla="*/ 6560038 w 9397013"/>
              <a:gd name="connsiteY21-1148" fmla="*/ 7134207 h 7134208"/>
              <a:gd name="connsiteX22-1149" fmla="*/ 3849932 w 9397013"/>
              <a:gd name="connsiteY22-1150" fmla="*/ 3596670 h 7134208"/>
              <a:gd name="connsiteX23-1151" fmla="*/ 4086202 w 9397013"/>
              <a:gd name="connsiteY23-1152" fmla="*/ 3287229 h 7134208"/>
              <a:gd name="connsiteX24-1153" fmla="*/ 6958778 w 9397013"/>
              <a:gd name="connsiteY24-1154" fmla="*/ 7124971 h 7134208"/>
              <a:gd name="connsiteX25-1155" fmla="*/ 7777211 w 9397013"/>
              <a:gd name="connsiteY25-1156" fmla="*/ 7124972 h 7134208"/>
              <a:gd name="connsiteX26-1157" fmla="*/ 7324729 w 9397013"/>
              <a:gd name="connsiteY26-1158" fmla="*/ 7124972 h 7134208"/>
              <a:gd name="connsiteX27-1159" fmla="*/ 4245793 w 9397013"/>
              <a:gd name="connsiteY27-1160" fmla="*/ 3078214 h 7134208"/>
              <a:gd name="connsiteX28-1161" fmla="*/ 4490696 w 9397013"/>
              <a:gd name="connsiteY28-1162" fmla="*/ 2757469 h 7134208"/>
              <a:gd name="connsiteX29-1163" fmla="*/ 7777211 w 9397013"/>
              <a:gd name="connsiteY29-1164" fmla="*/ 7124972 h 7134208"/>
              <a:gd name="connsiteX30-1165" fmla="*/ 8567691 w 9397013"/>
              <a:gd name="connsiteY30-1166" fmla="*/ 7124971 h 7134208"/>
              <a:gd name="connsiteX31-1167" fmla="*/ 8159389 w 9397013"/>
              <a:gd name="connsiteY31-1168" fmla="*/ 7134208 h 7134208"/>
              <a:gd name="connsiteX32-1169" fmla="*/ 4650570 w 9397013"/>
              <a:gd name="connsiteY32-1170" fmla="*/ 2548084 h 7134208"/>
              <a:gd name="connsiteX33-1171" fmla="*/ 4869244 w 9397013"/>
              <a:gd name="connsiteY33-1172" fmla="*/ 2261689 h 7134208"/>
              <a:gd name="connsiteX34-1173" fmla="*/ 8567691 w 9397013"/>
              <a:gd name="connsiteY34-1174" fmla="*/ 7124971 h 7134208"/>
              <a:gd name="connsiteX35-1175" fmla="*/ 9397013 w 9397013"/>
              <a:gd name="connsiteY35-1176" fmla="*/ 7134207 h 7134208"/>
              <a:gd name="connsiteX36-1177" fmla="*/ 8921338 w 9397013"/>
              <a:gd name="connsiteY36-1178" fmla="*/ 7115735 h 7134208"/>
              <a:gd name="connsiteX37-1179" fmla="*/ 5045299 w 9397013"/>
              <a:gd name="connsiteY37-1180" fmla="*/ 2031113 h 7134208"/>
              <a:gd name="connsiteX38-1181" fmla="*/ 5273037 w 9397013"/>
              <a:gd name="connsiteY38-1182" fmla="*/ 1732846 h 7134208"/>
              <a:gd name="connsiteX39-1183" fmla="*/ 9397013 w 9397013"/>
              <a:gd name="connsiteY39-1184" fmla="*/ 7134207 h 7134208"/>
              <a:gd name="connsiteX0-1185" fmla="*/ 168369 w 9397013"/>
              <a:gd name="connsiteY0-1186" fmla="*/ 4779933 h 7134208"/>
              <a:gd name="connsiteX1-1187" fmla="*/ 0 w 9397013"/>
              <a:gd name="connsiteY1-1188" fmla="*/ 4409146 h 7134208"/>
              <a:gd name="connsiteX2-1189" fmla="*/ 3332806 w 9397013"/>
              <a:gd name="connsiteY2-1190" fmla="*/ 0 h 7134208"/>
              <a:gd name="connsiteX3-1191" fmla="*/ 3794560 w 9397013"/>
              <a:gd name="connsiteY3-1192" fmla="*/ 32861 h 7134208"/>
              <a:gd name="connsiteX4-1193" fmla="*/ 168369 w 9397013"/>
              <a:gd name="connsiteY4-1194" fmla="*/ 4779933 h 7134208"/>
              <a:gd name="connsiteX5-1195" fmla="*/ 488220 w 9397013"/>
              <a:gd name="connsiteY5-1196" fmla="*/ 5484315 h 7134208"/>
              <a:gd name="connsiteX6-1197" fmla="*/ 299082 w 9397013"/>
              <a:gd name="connsiteY6-1198" fmla="*/ 5067791 h 7134208"/>
              <a:gd name="connsiteX7-1199" fmla="*/ 4106456 w 9397013"/>
              <a:gd name="connsiteY7-1200" fmla="*/ 55057 h 7134208"/>
              <a:gd name="connsiteX8-1201" fmla="*/ 4585079 w 9397013"/>
              <a:gd name="connsiteY8-1202" fmla="*/ 89119 h 7134208"/>
              <a:gd name="connsiteX9-1203" fmla="*/ 488220 w 9397013"/>
              <a:gd name="connsiteY9-1204" fmla="*/ 5484315 h 7134208"/>
              <a:gd name="connsiteX10-1205" fmla="*/ 779421 w 9397013"/>
              <a:gd name="connsiteY10-1206" fmla="*/ 6125606 h 7134208"/>
              <a:gd name="connsiteX11-1207" fmla="*/ 618065 w 9397013"/>
              <a:gd name="connsiteY11-1208" fmla="*/ 5770263 h 7134208"/>
              <a:gd name="connsiteX12-1209" fmla="*/ 4897528 w 9397013"/>
              <a:gd name="connsiteY12-1210" fmla="*/ 111354 h 7134208"/>
              <a:gd name="connsiteX13-1211" fmla="*/ 5324893 w 9397013"/>
              <a:gd name="connsiteY13-1212" fmla="*/ 141768 h 7134208"/>
              <a:gd name="connsiteX14-1213" fmla="*/ 779421 w 9397013"/>
              <a:gd name="connsiteY14-1214" fmla="*/ 6125606 h 7134208"/>
              <a:gd name="connsiteX15-1215" fmla="*/ 1099910 w 9397013"/>
              <a:gd name="connsiteY15-1216" fmla="*/ 6831395 h 7134208"/>
              <a:gd name="connsiteX16-1217" fmla="*/ 919656 w 9397013"/>
              <a:gd name="connsiteY16-1218" fmla="*/ 6434435 h 7134208"/>
              <a:gd name="connsiteX17-1219" fmla="*/ 5613547 w 9397013"/>
              <a:gd name="connsiteY17-1220" fmla="*/ 240145 h 7134208"/>
              <a:gd name="connsiteX18-1221" fmla="*/ 6077099 w 9397013"/>
              <a:gd name="connsiteY18-1222" fmla="*/ 225638 h 7134208"/>
              <a:gd name="connsiteX19-1223" fmla="*/ 1099910 w 9397013"/>
              <a:gd name="connsiteY19-1224" fmla="*/ 6831395 h 7134208"/>
              <a:gd name="connsiteX20-1225" fmla="*/ 6958778 w 9397013"/>
              <a:gd name="connsiteY20-1226" fmla="*/ 7124971 h 7134208"/>
              <a:gd name="connsiteX21-1227" fmla="*/ 6560038 w 9397013"/>
              <a:gd name="connsiteY21-1228" fmla="*/ 7134207 h 7134208"/>
              <a:gd name="connsiteX22-1229" fmla="*/ 3849932 w 9397013"/>
              <a:gd name="connsiteY22-1230" fmla="*/ 3596670 h 7134208"/>
              <a:gd name="connsiteX23-1231" fmla="*/ 4086202 w 9397013"/>
              <a:gd name="connsiteY23-1232" fmla="*/ 3287229 h 7134208"/>
              <a:gd name="connsiteX24-1233" fmla="*/ 6958778 w 9397013"/>
              <a:gd name="connsiteY24-1234" fmla="*/ 7124971 h 7134208"/>
              <a:gd name="connsiteX25-1235" fmla="*/ 7777211 w 9397013"/>
              <a:gd name="connsiteY25-1236" fmla="*/ 7124972 h 7134208"/>
              <a:gd name="connsiteX26-1237" fmla="*/ 7324729 w 9397013"/>
              <a:gd name="connsiteY26-1238" fmla="*/ 7124972 h 7134208"/>
              <a:gd name="connsiteX27-1239" fmla="*/ 4245793 w 9397013"/>
              <a:gd name="connsiteY27-1240" fmla="*/ 3078214 h 7134208"/>
              <a:gd name="connsiteX28-1241" fmla="*/ 4490696 w 9397013"/>
              <a:gd name="connsiteY28-1242" fmla="*/ 2757469 h 7134208"/>
              <a:gd name="connsiteX29-1243" fmla="*/ 7777211 w 9397013"/>
              <a:gd name="connsiteY29-1244" fmla="*/ 7124972 h 7134208"/>
              <a:gd name="connsiteX30-1245" fmla="*/ 8567691 w 9397013"/>
              <a:gd name="connsiteY30-1246" fmla="*/ 7124971 h 7134208"/>
              <a:gd name="connsiteX31-1247" fmla="*/ 8159389 w 9397013"/>
              <a:gd name="connsiteY31-1248" fmla="*/ 7134208 h 7134208"/>
              <a:gd name="connsiteX32-1249" fmla="*/ 4650570 w 9397013"/>
              <a:gd name="connsiteY32-1250" fmla="*/ 2548084 h 7134208"/>
              <a:gd name="connsiteX33-1251" fmla="*/ 4869244 w 9397013"/>
              <a:gd name="connsiteY33-1252" fmla="*/ 2261689 h 7134208"/>
              <a:gd name="connsiteX34-1253" fmla="*/ 8567691 w 9397013"/>
              <a:gd name="connsiteY34-1254" fmla="*/ 7124971 h 7134208"/>
              <a:gd name="connsiteX35-1255" fmla="*/ 9397013 w 9397013"/>
              <a:gd name="connsiteY35-1256" fmla="*/ 7134207 h 7134208"/>
              <a:gd name="connsiteX36-1257" fmla="*/ 8921338 w 9397013"/>
              <a:gd name="connsiteY36-1258" fmla="*/ 7115735 h 7134208"/>
              <a:gd name="connsiteX37-1259" fmla="*/ 5045299 w 9397013"/>
              <a:gd name="connsiteY37-1260" fmla="*/ 2031113 h 7134208"/>
              <a:gd name="connsiteX38-1261" fmla="*/ 5273037 w 9397013"/>
              <a:gd name="connsiteY38-1262" fmla="*/ 1732846 h 7134208"/>
              <a:gd name="connsiteX39-1263" fmla="*/ 9397013 w 9397013"/>
              <a:gd name="connsiteY39-1264" fmla="*/ 7134207 h 7134208"/>
              <a:gd name="connsiteX0-1265" fmla="*/ 168369 w 9397013"/>
              <a:gd name="connsiteY0-1266" fmla="*/ 4779933 h 7134208"/>
              <a:gd name="connsiteX1-1267" fmla="*/ 0 w 9397013"/>
              <a:gd name="connsiteY1-1268" fmla="*/ 4409146 h 7134208"/>
              <a:gd name="connsiteX2-1269" fmla="*/ 3332806 w 9397013"/>
              <a:gd name="connsiteY2-1270" fmla="*/ 0 h 7134208"/>
              <a:gd name="connsiteX3-1271" fmla="*/ 3794560 w 9397013"/>
              <a:gd name="connsiteY3-1272" fmla="*/ 32861 h 7134208"/>
              <a:gd name="connsiteX4-1273" fmla="*/ 168369 w 9397013"/>
              <a:gd name="connsiteY4-1274" fmla="*/ 4779933 h 7134208"/>
              <a:gd name="connsiteX5-1275" fmla="*/ 488220 w 9397013"/>
              <a:gd name="connsiteY5-1276" fmla="*/ 5484315 h 7134208"/>
              <a:gd name="connsiteX6-1277" fmla="*/ 299082 w 9397013"/>
              <a:gd name="connsiteY6-1278" fmla="*/ 5067791 h 7134208"/>
              <a:gd name="connsiteX7-1279" fmla="*/ 4106456 w 9397013"/>
              <a:gd name="connsiteY7-1280" fmla="*/ 55057 h 7134208"/>
              <a:gd name="connsiteX8-1281" fmla="*/ 4585079 w 9397013"/>
              <a:gd name="connsiteY8-1282" fmla="*/ 89119 h 7134208"/>
              <a:gd name="connsiteX9-1283" fmla="*/ 488220 w 9397013"/>
              <a:gd name="connsiteY9-1284" fmla="*/ 5484315 h 7134208"/>
              <a:gd name="connsiteX10-1285" fmla="*/ 779421 w 9397013"/>
              <a:gd name="connsiteY10-1286" fmla="*/ 6125606 h 7134208"/>
              <a:gd name="connsiteX11-1287" fmla="*/ 618065 w 9397013"/>
              <a:gd name="connsiteY11-1288" fmla="*/ 5770263 h 7134208"/>
              <a:gd name="connsiteX12-1289" fmla="*/ 4897528 w 9397013"/>
              <a:gd name="connsiteY12-1290" fmla="*/ 111354 h 7134208"/>
              <a:gd name="connsiteX13-1291" fmla="*/ 5324893 w 9397013"/>
              <a:gd name="connsiteY13-1292" fmla="*/ 141768 h 7134208"/>
              <a:gd name="connsiteX14-1293" fmla="*/ 779421 w 9397013"/>
              <a:gd name="connsiteY14-1294" fmla="*/ 6125606 h 7134208"/>
              <a:gd name="connsiteX15-1295" fmla="*/ 1099910 w 9397013"/>
              <a:gd name="connsiteY15-1296" fmla="*/ 6831395 h 7134208"/>
              <a:gd name="connsiteX16-1297" fmla="*/ 919656 w 9397013"/>
              <a:gd name="connsiteY16-1298" fmla="*/ 6434435 h 7134208"/>
              <a:gd name="connsiteX17-1299" fmla="*/ 5641256 w 9397013"/>
              <a:gd name="connsiteY17-1300" fmla="*/ 212436 h 7134208"/>
              <a:gd name="connsiteX18-1301" fmla="*/ 6077099 w 9397013"/>
              <a:gd name="connsiteY18-1302" fmla="*/ 225638 h 7134208"/>
              <a:gd name="connsiteX19-1303" fmla="*/ 1099910 w 9397013"/>
              <a:gd name="connsiteY19-1304" fmla="*/ 6831395 h 7134208"/>
              <a:gd name="connsiteX20-1305" fmla="*/ 6958778 w 9397013"/>
              <a:gd name="connsiteY20-1306" fmla="*/ 7124971 h 7134208"/>
              <a:gd name="connsiteX21-1307" fmla="*/ 6560038 w 9397013"/>
              <a:gd name="connsiteY21-1308" fmla="*/ 7134207 h 7134208"/>
              <a:gd name="connsiteX22-1309" fmla="*/ 3849932 w 9397013"/>
              <a:gd name="connsiteY22-1310" fmla="*/ 3596670 h 7134208"/>
              <a:gd name="connsiteX23-1311" fmla="*/ 4086202 w 9397013"/>
              <a:gd name="connsiteY23-1312" fmla="*/ 3287229 h 7134208"/>
              <a:gd name="connsiteX24-1313" fmla="*/ 6958778 w 9397013"/>
              <a:gd name="connsiteY24-1314" fmla="*/ 7124971 h 7134208"/>
              <a:gd name="connsiteX25-1315" fmla="*/ 7777211 w 9397013"/>
              <a:gd name="connsiteY25-1316" fmla="*/ 7124972 h 7134208"/>
              <a:gd name="connsiteX26-1317" fmla="*/ 7324729 w 9397013"/>
              <a:gd name="connsiteY26-1318" fmla="*/ 7124972 h 7134208"/>
              <a:gd name="connsiteX27-1319" fmla="*/ 4245793 w 9397013"/>
              <a:gd name="connsiteY27-1320" fmla="*/ 3078214 h 7134208"/>
              <a:gd name="connsiteX28-1321" fmla="*/ 4490696 w 9397013"/>
              <a:gd name="connsiteY28-1322" fmla="*/ 2757469 h 7134208"/>
              <a:gd name="connsiteX29-1323" fmla="*/ 7777211 w 9397013"/>
              <a:gd name="connsiteY29-1324" fmla="*/ 7124972 h 7134208"/>
              <a:gd name="connsiteX30-1325" fmla="*/ 8567691 w 9397013"/>
              <a:gd name="connsiteY30-1326" fmla="*/ 7124971 h 7134208"/>
              <a:gd name="connsiteX31-1327" fmla="*/ 8159389 w 9397013"/>
              <a:gd name="connsiteY31-1328" fmla="*/ 7134208 h 7134208"/>
              <a:gd name="connsiteX32-1329" fmla="*/ 4650570 w 9397013"/>
              <a:gd name="connsiteY32-1330" fmla="*/ 2548084 h 7134208"/>
              <a:gd name="connsiteX33-1331" fmla="*/ 4869244 w 9397013"/>
              <a:gd name="connsiteY33-1332" fmla="*/ 2261689 h 7134208"/>
              <a:gd name="connsiteX34-1333" fmla="*/ 8567691 w 9397013"/>
              <a:gd name="connsiteY34-1334" fmla="*/ 7124971 h 7134208"/>
              <a:gd name="connsiteX35-1335" fmla="*/ 9397013 w 9397013"/>
              <a:gd name="connsiteY35-1336" fmla="*/ 7134207 h 7134208"/>
              <a:gd name="connsiteX36-1337" fmla="*/ 8921338 w 9397013"/>
              <a:gd name="connsiteY36-1338" fmla="*/ 7115735 h 7134208"/>
              <a:gd name="connsiteX37-1339" fmla="*/ 5045299 w 9397013"/>
              <a:gd name="connsiteY37-1340" fmla="*/ 2031113 h 7134208"/>
              <a:gd name="connsiteX38-1341" fmla="*/ 5273037 w 9397013"/>
              <a:gd name="connsiteY38-1342" fmla="*/ 1732846 h 7134208"/>
              <a:gd name="connsiteX39-1343" fmla="*/ 9397013 w 9397013"/>
              <a:gd name="connsiteY39-1344" fmla="*/ 7134207 h 7134208"/>
              <a:gd name="connsiteX0-1345" fmla="*/ 168369 w 9397013"/>
              <a:gd name="connsiteY0-1346" fmla="*/ 4779933 h 7134208"/>
              <a:gd name="connsiteX1-1347" fmla="*/ 0 w 9397013"/>
              <a:gd name="connsiteY1-1348" fmla="*/ 4409146 h 7134208"/>
              <a:gd name="connsiteX2-1349" fmla="*/ 3332806 w 9397013"/>
              <a:gd name="connsiteY2-1350" fmla="*/ 0 h 7134208"/>
              <a:gd name="connsiteX3-1351" fmla="*/ 3794560 w 9397013"/>
              <a:gd name="connsiteY3-1352" fmla="*/ 32861 h 7134208"/>
              <a:gd name="connsiteX4-1353" fmla="*/ 168369 w 9397013"/>
              <a:gd name="connsiteY4-1354" fmla="*/ 4779933 h 7134208"/>
              <a:gd name="connsiteX5-1355" fmla="*/ 488220 w 9397013"/>
              <a:gd name="connsiteY5-1356" fmla="*/ 5484315 h 7134208"/>
              <a:gd name="connsiteX6-1357" fmla="*/ 299082 w 9397013"/>
              <a:gd name="connsiteY6-1358" fmla="*/ 5067791 h 7134208"/>
              <a:gd name="connsiteX7-1359" fmla="*/ 4106456 w 9397013"/>
              <a:gd name="connsiteY7-1360" fmla="*/ 55057 h 7134208"/>
              <a:gd name="connsiteX8-1361" fmla="*/ 4585079 w 9397013"/>
              <a:gd name="connsiteY8-1362" fmla="*/ 89119 h 7134208"/>
              <a:gd name="connsiteX9-1363" fmla="*/ 488220 w 9397013"/>
              <a:gd name="connsiteY9-1364" fmla="*/ 5484315 h 7134208"/>
              <a:gd name="connsiteX10-1365" fmla="*/ 779421 w 9397013"/>
              <a:gd name="connsiteY10-1366" fmla="*/ 6125606 h 7134208"/>
              <a:gd name="connsiteX11-1367" fmla="*/ 618065 w 9397013"/>
              <a:gd name="connsiteY11-1368" fmla="*/ 5770263 h 7134208"/>
              <a:gd name="connsiteX12-1369" fmla="*/ 4897528 w 9397013"/>
              <a:gd name="connsiteY12-1370" fmla="*/ 111354 h 7134208"/>
              <a:gd name="connsiteX13-1371" fmla="*/ 5260238 w 9397013"/>
              <a:gd name="connsiteY13-1372" fmla="*/ 234131 h 7134208"/>
              <a:gd name="connsiteX14-1373" fmla="*/ 779421 w 9397013"/>
              <a:gd name="connsiteY14-1374" fmla="*/ 6125606 h 7134208"/>
              <a:gd name="connsiteX15-1375" fmla="*/ 1099910 w 9397013"/>
              <a:gd name="connsiteY15-1376" fmla="*/ 6831395 h 7134208"/>
              <a:gd name="connsiteX16-1377" fmla="*/ 919656 w 9397013"/>
              <a:gd name="connsiteY16-1378" fmla="*/ 6434435 h 7134208"/>
              <a:gd name="connsiteX17-1379" fmla="*/ 5641256 w 9397013"/>
              <a:gd name="connsiteY17-1380" fmla="*/ 212436 h 7134208"/>
              <a:gd name="connsiteX18-1381" fmla="*/ 6077099 w 9397013"/>
              <a:gd name="connsiteY18-1382" fmla="*/ 225638 h 7134208"/>
              <a:gd name="connsiteX19-1383" fmla="*/ 1099910 w 9397013"/>
              <a:gd name="connsiteY19-1384" fmla="*/ 6831395 h 7134208"/>
              <a:gd name="connsiteX20-1385" fmla="*/ 6958778 w 9397013"/>
              <a:gd name="connsiteY20-1386" fmla="*/ 7124971 h 7134208"/>
              <a:gd name="connsiteX21-1387" fmla="*/ 6560038 w 9397013"/>
              <a:gd name="connsiteY21-1388" fmla="*/ 7134207 h 7134208"/>
              <a:gd name="connsiteX22-1389" fmla="*/ 3849932 w 9397013"/>
              <a:gd name="connsiteY22-1390" fmla="*/ 3596670 h 7134208"/>
              <a:gd name="connsiteX23-1391" fmla="*/ 4086202 w 9397013"/>
              <a:gd name="connsiteY23-1392" fmla="*/ 3287229 h 7134208"/>
              <a:gd name="connsiteX24-1393" fmla="*/ 6958778 w 9397013"/>
              <a:gd name="connsiteY24-1394" fmla="*/ 7124971 h 7134208"/>
              <a:gd name="connsiteX25-1395" fmla="*/ 7777211 w 9397013"/>
              <a:gd name="connsiteY25-1396" fmla="*/ 7124972 h 7134208"/>
              <a:gd name="connsiteX26-1397" fmla="*/ 7324729 w 9397013"/>
              <a:gd name="connsiteY26-1398" fmla="*/ 7124972 h 7134208"/>
              <a:gd name="connsiteX27-1399" fmla="*/ 4245793 w 9397013"/>
              <a:gd name="connsiteY27-1400" fmla="*/ 3078214 h 7134208"/>
              <a:gd name="connsiteX28-1401" fmla="*/ 4490696 w 9397013"/>
              <a:gd name="connsiteY28-1402" fmla="*/ 2757469 h 7134208"/>
              <a:gd name="connsiteX29-1403" fmla="*/ 7777211 w 9397013"/>
              <a:gd name="connsiteY29-1404" fmla="*/ 7124972 h 7134208"/>
              <a:gd name="connsiteX30-1405" fmla="*/ 8567691 w 9397013"/>
              <a:gd name="connsiteY30-1406" fmla="*/ 7124971 h 7134208"/>
              <a:gd name="connsiteX31-1407" fmla="*/ 8159389 w 9397013"/>
              <a:gd name="connsiteY31-1408" fmla="*/ 7134208 h 7134208"/>
              <a:gd name="connsiteX32-1409" fmla="*/ 4650570 w 9397013"/>
              <a:gd name="connsiteY32-1410" fmla="*/ 2548084 h 7134208"/>
              <a:gd name="connsiteX33-1411" fmla="*/ 4869244 w 9397013"/>
              <a:gd name="connsiteY33-1412" fmla="*/ 2261689 h 7134208"/>
              <a:gd name="connsiteX34-1413" fmla="*/ 8567691 w 9397013"/>
              <a:gd name="connsiteY34-1414" fmla="*/ 7124971 h 7134208"/>
              <a:gd name="connsiteX35-1415" fmla="*/ 9397013 w 9397013"/>
              <a:gd name="connsiteY35-1416" fmla="*/ 7134207 h 7134208"/>
              <a:gd name="connsiteX36-1417" fmla="*/ 8921338 w 9397013"/>
              <a:gd name="connsiteY36-1418" fmla="*/ 7115735 h 7134208"/>
              <a:gd name="connsiteX37-1419" fmla="*/ 5045299 w 9397013"/>
              <a:gd name="connsiteY37-1420" fmla="*/ 2031113 h 7134208"/>
              <a:gd name="connsiteX38-1421" fmla="*/ 5273037 w 9397013"/>
              <a:gd name="connsiteY38-1422" fmla="*/ 1732846 h 7134208"/>
              <a:gd name="connsiteX39-1423" fmla="*/ 9397013 w 9397013"/>
              <a:gd name="connsiteY39-1424" fmla="*/ 7134207 h 7134208"/>
              <a:gd name="connsiteX0-1425" fmla="*/ 168369 w 9397013"/>
              <a:gd name="connsiteY0-1426" fmla="*/ 4779933 h 7134208"/>
              <a:gd name="connsiteX1-1427" fmla="*/ 0 w 9397013"/>
              <a:gd name="connsiteY1-1428" fmla="*/ 4409146 h 7134208"/>
              <a:gd name="connsiteX2-1429" fmla="*/ 3332806 w 9397013"/>
              <a:gd name="connsiteY2-1430" fmla="*/ 0 h 7134208"/>
              <a:gd name="connsiteX3-1431" fmla="*/ 3794560 w 9397013"/>
              <a:gd name="connsiteY3-1432" fmla="*/ 32861 h 7134208"/>
              <a:gd name="connsiteX4-1433" fmla="*/ 168369 w 9397013"/>
              <a:gd name="connsiteY4-1434" fmla="*/ 4779933 h 7134208"/>
              <a:gd name="connsiteX5-1435" fmla="*/ 488220 w 9397013"/>
              <a:gd name="connsiteY5-1436" fmla="*/ 5484315 h 7134208"/>
              <a:gd name="connsiteX6-1437" fmla="*/ 299082 w 9397013"/>
              <a:gd name="connsiteY6-1438" fmla="*/ 5067791 h 7134208"/>
              <a:gd name="connsiteX7-1439" fmla="*/ 4106456 w 9397013"/>
              <a:gd name="connsiteY7-1440" fmla="*/ 55057 h 7134208"/>
              <a:gd name="connsiteX8-1441" fmla="*/ 4585079 w 9397013"/>
              <a:gd name="connsiteY8-1442" fmla="*/ 89119 h 7134208"/>
              <a:gd name="connsiteX9-1443" fmla="*/ 488220 w 9397013"/>
              <a:gd name="connsiteY9-1444" fmla="*/ 5484315 h 7134208"/>
              <a:gd name="connsiteX10-1445" fmla="*/ 779421 w 9397013"/>
              <a:gd name="connsiteY10-1446" fmla="*/ 6125606 h 7134208"/>
              <a:gd name="connsiteX11-1447" fmla="*/ 618065 w 9397013"/>
              <a:gd name="connsiteY11-1448" fmla="*/ 5770263 h 7134208"/>
              <a:gd name="connsiteX12-1449" fmla="*/ 4805164 w 9397013"/>
              <a:gd name="connsiteY12-1450" fmla="*/ 212954 h 7134208"/>
              <a:gd name="connsiteX13-1451" fmla="*/ 5260238 w 9397013"/>
              <a:gd name="connsiteY13-1452" fmla="*/ 234131 h 7134208"/>
              <a:gd name="connsiteX14-1453" fmla="*/ 779421 w 9397013"/>
              <a:gd name="connsiteY14-1454" fmla="*/ 6125606 h 7134208"/>
              <a:gd name="connsiteX15-1455" fmla="*/ 1099910 w 9397013"/>
              <a:gd name="connsiteY15-1456" fmla="*/ 6831395 h 7134208"/>
              <a:gd name="connsiteX16-1457" fmla="*/ 919656 w 9397013"/>
              <a:gd name="connsiteY16-1458" fmla="*/ 6434435 h 7134208"/>
              <a:gd name="connsiteX17-1459" fmla="*/ 5641256 w 9397013"/>
              <a:gd name="connsiteY17-1460" fmla="*/ 212436 h 7134208"/>
              <a:gd name="connsiteX18-1461" fmla="*/ 6077099 w 9397013"/>
              <a:gd name="connsiteY18-1462" fmla="*/ 225638 h 7134208"/>
              <a:gd name="connsiteX19-1463" fmla="*/ 1099910 w 9397013"/>
              <a:gd name="connsiteY19-1464" fmla="*/ 6831395 h 7134208"/>
              <a:gd name="connsiteX20-1465" fmla="*/ 6958778 w 9397013"/>
              <a:gd name="connsiteY20-1466" fmla="*/ 7124971 h 7134208"/>
              <a:gd name="connsiteX21-1467" fmla="*/ 6560038 w 9397013"/>
              <a:gd name="connsiteY21-1468" fmla="*/ 7134207 h 7134208"/>
              <a:gd name="connsiteX22-1469" fmla="*/ 3849932 w 9397013"/>
              <a:gd name="connsiteY22-1470" fmla="*/ 3596670 h 7134208"/>
              <a:gd name="connsiteX23-1471" fmla="*/ 4086202 w 9397013"/>
              <a:gd name="connsiteY23-1472" fmla="*/ 3287229 h 7134208"/>
              <a:gd name="connsiteX24-1473" fmla="*/ 6958778 w 9397013"/>
              <a:gd name="connsiteY24-1474" fmla="*/ 7124971 h 7134208"/>
              <a:gd name="connsiteX25-1475" fmla="*/ 7777211 w 9397013"/>
              <a:gd name="connsiteY25-1476" fmla="*/ 7124972 h 7134208"/>
              <a:gd name="connsiteX26-1477" fmla="*/ 7324729 w 9397013"/>
              <a:gd name="connsiteY26-1478" fmla="*/ 7124972 h 7134208"/>
              <a:gd name="connsiteX27-1479" fmla="*/ 4245793 w 9397013"/>
              <a:gd name="connsiteY27-1480" fmla="*/ 3078214 h 7134208"/>
              <a:gd name="connsiteX28-1481" fmla="*/ 4490696 w 9397013"/>
              <a:gd name="connsiteY28-1482" fmla="*/ 2757469 h 7134208"/>
              <a:gd name="connsiteX29-1483" fmla="*/ 7777211 w 9397013"/>
              <a:gd name="connsiteY29-1484" fmla="*/ 7124972 h 7134208"/>
              <a:gd name="connsiteX30-1485" fmla="*/ 8567691 w 9397013"/>
              <a:gd name="connsiteY30-1486" fmla="*/ 7124971 h 7134208"/>
              <a:gd name="connsiteX31-1487" fmla="*/ 8159389 w 9397013"/>
              <a:gd name="connsiteY31-1488" fmla="*/ 7134208 h 7134208"/>
              <a:gd name="connsiteX32-1489" fmla="*/ 4650570 w 9397013"/>
              <a:gd name="connsiteY32-1490" fmla="*/ 2548084 h 7134208"/>
              <a:gd name="connsiteX33-1491" fmla="*/ 4869244 w 9397013"/>
              <a:gd name="connsiteY33-1492" fmla="*/ 2261689 h 7134208"/>
              <a:gd name="connsiteX34-1493" fmla="*/ 8567691 w 9397013"/>
              <a:gd name="connsiteY34-1494" fmla="*/ 7124971 h 7134208"/>
              <a:gd name="connsiteX35-1495" fmla="*/ 9397013 w 9397013"/>
              <a:gd name="connsiteY35-1496" fmla="*/ 7134207 h 7134208"/>
              <a:gd name="connsiteX36-1497" fmla="*/ 8921338 w 9397013"/>
              <a:gd name="connsiteY36-1498" fmla="*/ 7115735 h 7134208"/>
              <a:gd name="connsiteX37-1499" fmla="*/ 5045299 w 9397013"/>
              <a:gd name="connsiteY37-1500" fmla="*/ 2031113 h 7134208"/>
              <a:gd name="connsiteX38-1501" fmla="*/ 5273037 w 9397013"/>
              <a:gd name="connsiteY38-1502" fmla="*/ 1732846 h 7134208"/>
              <a:gd name="connsiteX39-1503" fmla="*/ 9397013 w 9397013"/>
              <a:gd name="connsiteY39-1504" fmla="*/ 7134207 h 7134208"/>
              <a:gd name="connsiteX0-1505" fmla="*/ 168369 w 9397013"/>
              <a:gd name="connsiteY0-1506" fmla="*/ 4779933 h 7134208"/>
              <a:gd name="connsiteX1-1507" fmla="*/ 0 w 9397013"/>
              <a:gd name="connsiteY1-1508" fmla="*/ 4409146 h 7134208"/>
              <a:gd name="connsiteX2-1509" fmla="*/ 3332806 w 9397013"/>
              <a:gd name="connsiteY2-1510" fmla="*/ 0 h 7134208"/>
              <a:gd name="connsiteX3-1511" fmla="*/ 3794560 w 9397013"/>
              <a:gd name="connsiteY3-1512" fmla="*/ 32861 h 7134208"/>
              <a:gd name="connsiteX4-1513" fmla="*/ 168369 w 9397013"/>
              <a:gd name="connsiteY4-1514" fmla="*/ 4779933 h 7134208"/>
              <a:gd name="connsiteX5-1515" fmla="*/ 488220 w 9397013"/>
              <a:gd name="connsiteY5-1516" fmla="*/ 5484315 h 7134208"/>
              <a:gd name="connsiteX6-1517" fmla="*/ 299082 w 9397013"/>
              <a:gd name="connsiteY6-1518" fmla="*/ 5067791 h 7134208"/>
              <a:gd name="connsiteX7-1519" fmla="*/ 4106456 w 9397013"/>
              <a:gd name="connsiteY7-1520" fmla="*/ 55057 h 7134208"/>
              <a:gd name="connsiteX8-1521" fmla="*/ 4465006 w 9397013"/>
              <a:gd name="connsiteY8-1522" fmla="*/ 209192 h 7134208"/>
              <a:gd name="connsiteX9-1523" fmla="*/ 488220 w 9397013"/>
              <a:gd name="connsiteY9-1524" fmla="*/ 5484315 h 7134208"/>
              <a:gd name="connsiteX10-1525" fmla="*/ 779421 w 9397013"/>
              <a:gd name="connsiteY10-1526" fmla="*/ 6125606 h 7134208"/>
              <a:gd name="connsiteX11-1527" fmla="*/ 618065 w 9397013"/>
              <a:gd name="connsiteY11-1528" fmla="*/ 5770263 h 7134208"/>
              <a:gd name="connsiteX12-1529" fmla="*/ 4805164 w 9397013"/>
              <a:gd name="connsiteY12-1530" fmla="*/ 212954 h 7134208"/>
              <a:gd name="connsiteX13-1531" fmla="*/ 5260238 w 9397013"/>
              <a:gd name="connsiteY13-1532" fmla="*/ 234131 h 7134208"/>
              <a:gd name="connsiteX14-1533" fmla="*/ 779421 w 9397013"/>
              <a:gd name="connsiteY14-1534" fmla="*/ 6125606 h 7134208"/>
              <a:gd name="connsiteX15-1535" fmla="*/ 1099910 w 9397013"/>
              <a:gd name="connsiteY15-1536" fmla="*/ 6831395 h 7134208"/>
              <a:gd name="connsiteX16-1537" fmla="*/ 919656 w 9397013"/>
              <a:gd name="connsiteY16-1538" fmla="*/ 6434435 h 7134208"/>
              <a:gd name="connsiteX17-1539" fmla="*/ 5641256 w 9397013"/>
              <a:gd name="connsiteY17-1540" fmla="*/ 212436 h 7134208"/>
              <a:gd name="connsiteX18-1541" fmla="*/ 6077099 w 9397013"/>
              <a:gd name="connsiteY18-1542" fmla="*/ 225638 h 7134208"/>
              <a:gd name="connsiteX19-1543" fmla="*/ 1099910 w 9397013"/>
              <a:gd name="connsiteY19-1544" fmla="*/ 6831395 h 7134208"/>
              <a:gd name="connsiteX20-1545" fmla="*/ 6958778 w 9397013"/>
              <a:gd name="connsiteY20-1546" fmla="*/ 7124971 h 7134208"/>
              <a:gd name="connsiteX21-1547" fmla="*/ 6560038 w 9397013"/>
              <a:gd name="connsiteY21-1548" fmla="*/ 7134207 h 7134208"/>
              <a:gd name="connsiteX22-1549" fmla="*/ 3849932 w 9397013"/>
              <a:gd name="connsiteY22-1550" fmla="*/ 3596670 h 7134208"/>
              <a:gd name="connsiteX23-1551" fmla="*/ 4086202 w 9397013"/>
              <a:gd name="connsiteY23-1552" fmla="*/ 3287229 h 7134208"/>
              <a:gd name="connsiteX24-1553" fmla="*/ 6958778 w 9397013"/>
              <a:gd name="connsiteY24-1554" fmla="*/ 7124971 h 7134208"/>
              <a:gd name="connsiteX25-1555" fmla="*/ 7777211 w 9397013"/>
              <a:gd name="connsiteY25-1556" fmla="*/ 7124972 h 7134208"/>
              <a:gd name="connsiteX26-1557" fmla="*/ 7324729 w 9397013"/>
              <a:gd name="connsiteY26-1558" fmla="*/ 7124972 h 7134208"/>
              <a:gd name="connsiteX27-1559" fmla="*/ 4245793 w 9397013"/>
              <a:gd name="connsiteY27-1560" fmla="*/ 3078214 h 7134208"/>
              <a:gd name="connsiteX28-1561" fmla="*/ 4490696 w 9397013"/>
              <a:gd name="connsiteY28-1562" fmla="*/ 2757469 h 7134208"/>
              <a:gd name="connsiteX29-1563" fmla="*/ 7777211 w 9397013"/>
              <a:gd name="connsiteY29-1564" fmla="*/ 7124972 h 7134208"/>
              <a:gd name="connsiteX30-1565" fmla="*/ 8567691 w 9397013"/>
              <a:gd name="connsiteY30-1566" fmla="*/ 7124971 h 7134208"/>
              <a:gd name="connsiteX31-1567" fmla="*/ 8159389 w 9397013"/>
              <a:gd name="connsiteY31-1568" fmla="*/ 7134208 h 7134208"/>
              <a:gd name="connsiteX32-1569" fmla="*/ 4650570 w 9397013"/>
              <a:gd name="connsiteY32-1570" fmla="*/ 2548084 h 7134208"/>
              <a:gd name="connsiteX33-1571" fmla="*/ 4869244 w 9397013"/>
              <a:gd name="connsiteY33-1572" fmla="*/ 2261689 h 7134208"/>
              <a:gd name="connsiteX34-1573" fmla="*/ 8567691 w 9397013"/>
              <a:gd name="connsiteY34-1574" fmla="*/ 7124971 h 7134208"/>
              <a:gd name="connsiteX35-1575" fmla="*/ 9397013 w 9397013"/>
              <a:gd name="connsiteY35-1576" fmla="*/ 7134207 h 7134208"/>
              <a:gd name="connsiteX36-1577" fmla="*/ 8921338 w 9397013"/>
              <a:gd name="connsiteY36-1578" fmla="*/ 7115735 h 7134208"/>
              <a:gd name="connsiteX37-1579" fmla="*/ 5045299 w 9397013"/>
              <a:gd name="connsiteY37-1580" fmla="*/ 2031113 h 7134208"/>
              <a:gd name="connsiteX38-1581" fmla="*/ 5273037 w 9397013"/>
              <a:gd name="connsiteY38-1582" fmla="*/ 1732846 h 7134208"/>
              <a:gd name="connsiteX39-1583" fmla="*/ 9397013 w 9397013"/>
              <a:gd name="connsiteY39-1584" fmla="*/ 7134207 h 7134208"/>
              <a:gd name="connsiteX0-1585" fmla="*/ 168369 w 9397013"/>
              <a:gd name="connsiteY0-1586" fmla="*/ 4779933 h 7134208"/>
              <a:gd name="connsiteX1-1587" fmla="*/ 0 w 9397013"/>
              <a:gd name="connsiteY1-1588" fmla="*/ 4409146 h 7134208"/>
              <a:gd name="connsiteX2-1589" fmla="*/ 3332806 w 9397013"/>
              <a:gd name="connsiteY2-1590" fmla="*/ 0 h 7134208"/>
              <a:gd name="connsiteX3-1591" fmla="*/ 3794560 w 9397013"/>
              <a:gd name="connsiteY3-1592" fmla="*/ 32861 h 7134208"/>
              <a:gd name="connsiteX4-1593" fmla="*/ 168369 w 9397013"/>
              <a:gd name="connsiteY4-1594" fmla="*/ 4779933 h 7134208"/>
              <a:gd name="connsiteX5-1595" fmla="*/ 488220 w 9397013"/>
              <a:gd name="connsiteY5-1596" fmla="*/ 5484315 h 7134208"/>
              <a:gd name="connsiteX6-1597" fmla="*/ 299082 w 9397013"/>
              <a:gd name="connsiteY6-1598" fmla="*/ 5067791 h 7134208"/>
              <a:gd name="connsiteX7-1599" fmla="*/ 3977147 w 9397013"/>
              <a:gd name="connsiteY7-1600" fmla="*/ 212075 h 7134208"/>
              <a:gd name="connsiteX8-1601" fmla="*/ 4465006 w 9397013"/>
              <a:gd name="connsiteY8-1602" fmla="*/ 209192 h 7134208"/>
              <a:gd name="connsiteX9-1603" fmla="*/ 488220 w 9397013"/>
              <a:gd name="connsiteY9-1604" fmla="*/ 5484315 h 7134208"/>
              <a:gd name="connsiteX10-1605" fmla="*/ 779421 w 9397013"/>
              <a:gd name="connsiteY10-1606" fmla="*/ 6125606 h 7134208"/>
              <a:gd name="connsiteX11-1607" fmla="*/ 618065 w 9397013"/>
              <a:gd name="connsiteY11-1608" fmla="*/ 5770263 h 7134208"/>
              <a:gd name="connsiteX12-1609" fmla="*/ 4805164 w 9397013"/>
              <a:gd name="connsiteY12-1610" fmla="*/ 212954 h 7134208"/>
              <a:gd name="connsiteX13-1611" fmla="*/ 5260238 w 9397013"/>
              <a:gd name="connsiteY13-1612" fmla="*/ 234131 h 7134208"/>
              <a:gd name="connsiteX14-1613" fmla="*/ 779421 w 9397013"/>
              <a:gd name="connsiteY14-1614" fmla="*/ 6125606 h 7134208"/>
              <a:gd name="connsiteX15-1615" fmla="*/ 1099910 w 9397013"/>
              <a:gd name="connsiteY15-1616" fmla="*/ 6831395 h 7134208"/>
              <a:gd name="connsiteX16-1617" fmla="*/ 919656 w 9397013"/>
              <a:gd name="connsiteY16-1618" fmla="*/ 6434435 h 7134208"/>
              <a:gd name="connsiteX17-1619" fmla="*/ 5641256 w 9397013"/>
              <a:gd name="connsiteY17-1620" fmla="*/ 212436 h 7134208"/>
              <a:gd name="connsiteX18-1621" fmla="*/ 6077099 w 9397013"/>
              <a:gd name="connsiteY18-1622" fmla="*/ 225638 h 7134208"/>
              <a:gd name="connsiteX19-1623" fmla="*/ 1099910 w 9397013"/>
              <a:gd name="connsiteY19-1624" fmla="*/ 6831395 h 7134208"/>
              <a:gd name="connsiteX20-1625" fmla="*/ 6958778 w 9397013"/>
              <a:gd name="connsiteY20-1626" fmla="*/ 7124971 h 7134208"/>
              <a:gd name="connsiteX21-1627" fmla="*/ 6560038 w 9397013"/>
              <a:gd name="connsiteY21-1628" fmla="*/ 7134207 h 7134208"/>
              <a:gd name="connsiteX22-1629" fmla="*/ 3849932 w 9397013"/>
              <a:gd name="connsiteY22-1630" fmla="*/ 3596670 h 7134208"/>
              <a:gd name="connsiteX23-1631" fmla="*/ 4086202 w 9397013"/>
              <a:gd name="connsiteY23-1632" fmla="*/ 3287229 h 7134208"/>
              <a:gd name="connsiteX24-1633" fmla="*/ 6958778 w 9397013"/>
              <a:gd name="connsiteY24-1634" fmla="*/ 7124971 h 7134208"/>
              <a:gd name="connsiteX25-1635" fmla="*/ 7777211 w 9397013"/>
              <a:gd name="connsiteY25-1636" fmla="*/ 7124972 h 7134208"/>
              <a:gd name="connsiteX26-1637" fmla="*/ 7324729 w 9397013"/>
              <a:gd name="connsiteY26-1638" fmla="*/ 7124972 h 7134208"/>
              <a:gd name="connsiteX27-1639" fmla="*/ 4245793 w 9397013"/>
              <a:gd name="connsiteY27-1640" fmla="*/ 3078214 h 7134208"/>
              <a:gd name="connsiteX28-1641" fmla="*/ 4490696 w 9397013"/>
              <a:gd name="connsiteY28-1642" fmla="*/ 2757469 h 7134208"/>
              <a:gd name="connsiteX29-1643" fmla="*/ 7777211 w 9397013"/>
              <a:gd name="connsiteY29-1644" fmla="*/ 7124972 h 7134208"/>
              <a:gd name="connsiteX30-1645" fmla="*/ 8567691 w 9397013"/>
              <a:gd name="connsiteY30-1646" fmla="*/ 7124971 h 7134208"/>
              <a:gd name="connsiteX31-1647" fmla="*/ 8159389 w 9397013"/>
              <a:gd name="connsiteY31-1648" fmla="*/ 7134208 h 7134208"/>
              <a:gd name="connsiteX32-1649" fmla="*/ 4650570 w 9397013"/>
              <a:gd name="connsiteY32-1650" fmla="*/ 2548084 h 7134208"/>
              <a:gd name="connsiteX33-1651" fmla="*/ 4869244 w 9397013"/>
              <a:gd name="connsiteY33-1652" fmla="*/ 2261689 h 7134208"/>
              <a:gd name="connsiteX34-1653" fmla="*/ 8567691 w 9397013"/>
              <a:gd name="connsiteY34-1654" fmla="*/ 7124971 h 7134208"/>
              <a:gd name="connsiteX35-1655" fmla="*/ 9397013 w 9397013"/>
              <a:gd name="connsiteY35-1656" fmla="*/ 7134207 h 7134208"/>
              <a:gd name="connsiteX36-1657" fmla="*/ 8921338 w 9397013"/>
              <a:gd name="connsiteY36-1658" fmla="*/ 7115735 h 7134208"/>
              <a:gd name="connsiteX37-1659" fmla="*/ 5045299 w 9397013"/>
              <a:gd name="connsiteY37-1660" fmla="*/ 2031113 h 7134208"/>
              <a:gd name="connsiteX38-1661" fmla="*/ 5273037 w 9397013"/>
              <a:gd name="connsiteY38-1662" fmla="*/ 1732846 h 7134208"/>
              <a:gd name="connsiteX39-1663" fmla="*/ 9397013 w 9397013"/>
              <a:gd name="connsiteY39-1664" fmla="*/ 7134207 h 7134208"/>
              <a:gd name="connsiteX0-1665" fmla="*/ 168369 w 9397013"/>
              <a:gd name="connsiteY0-1666" fmla="*/ 4779933 h 7134208"/>
              <a:gd name="connsiteX1-1667" fmla="*/ 0 w 9397013"/>
              <a:gd name="connsiteY1-1668" fmla="*/ 4409146 h 7134208"/>
              <a:gd name="connsiteX2-1669" fmla="*/ 3332806 w 9397013"/>
              <a:gd name="connsiteY2-1670" fmla="*/ 0 h 7134208"/>
              <a:gd name="connsiteX3-1671" fmla="*/ 3628305 w 9397013"/>
              <a:gd name="connsiteY3-1672" fmla="*/ 208352 h 7134208"/>
              <a:gd name="connsiteX4-1673" fmla="*/ 168369 w 9397013"/>
              <a:gd name="connsiteY4-1674" fmla="*/ 4779933 h 7134208"/>
              <a:gd name="connsiteX5-1675" fmla="*/ 488220 w 9397013"/>
              <a:gd name="connsiteY5-1676" fmla="*/ 5484315 h 7134208"/>
              <a:gd name="connsiteX6-1677" fmla="*/ 299082 w 9397013"/>
              <a:gd name="connsiteY6-1678" fmla="*/ 5067791 h 7134208"/>
              <a:gd name="connsiteX7-1679" fmla="*/ 3977147 w 9397013"/>
              <a:gd name="connsiteY7-1680" fmla="*/ 212075 h 7134208"/>
              <a:gd name="connsiteX8-1681" fmla="*/ 4465006 w 9397013"/>
              <a:gd name="connsiteY8-1682" fmla="*/ 209192 h 7134208"/>
              <a:gd name="connsiteX9-1683" fmla="*/ 488220 w 9397013"/>
              <a:gd name="connsiteY9-1684" fmla="*/ 5484315 h 7134208"/>
              <a:gd name="connsiteX10-1685" fmla="*/ 779421 w 9397013"/>
              <a:gd name="connsiteY10-1686" fmla="*/ 6125606 h 7134208"/>
              <a:gd name="connsiteX11-1687" fmla="*/ 618065 w 9397013"/>
              <a:gd name="connsiteY11-1688" fmla="*/ 5770263 h 7134208"/>
              <a:gd name="connsiteX12-1689" fmla="*/ 4805164 w 9397013"/>
              <a:gd name="connsiteY12-1690" fmla="*/ 212954 h 7134208"/>
              <a:gd name="connsiteX13-1691" fmla="*/ 5260238 w 9397013"/>
              <a:gd name="connsiteY13-1692" fmla="*/ 234131 h 7134208"/>
              <a:gd name="connsiteX14-1693" fmla="*/ 779421 w 9397013"/>
              <a:gd name="connsiteY14-1694" fmla="*/ 6125606 h 7134208"/>
              <a:gd name="connsiteX15-1695" fmla="*/ 1099910 w 9397013"/>
              <a:gd name="connsiteY15-1696" fmla="*/ 6831395 h 7134208"/>
              <a:gd name="connsiteX16-1697" fmla="*/ 919656 w 9397013"/>
              <a:gd name="connsiteY16-1698" fmla="*/ 6434435 h 7134208"/>
              <a:gd name="connsiteX17-1699" fmla="*/ 5641256 w 9397013"/>
              <a:gd name="connsiteY17-1700" fmla="*/ 212436 h 7134208"/>
              <a:gd name="connsiteX18-1701" fmla="*/ 6077099 w 9397013"/>
              <a:gd name="connsiteY18-1702" fmla="*/ 225638 h 7134208"/>
              <a:gd name="connsiteX19-1703" fmla="*/ 1099910 w 9397013"/>
              <a:gd name="connsiteY19-1704" fmla="*/ 6831395 h 7134208"/>
              <a:gd name="connsiteX20-1705" fmla="*/ 6958778 w 9397013"/>
              <a:gd name="connsiteY20-1706" fmla="*/ 7124971 h 7134208"/>
              <a:gd name="connsiteX21-1707" fmla="*/ 6560038 w 9397013"/>
              <a:gd name="connsiteY21-1708" fmla="*/ 7134207 h 7134208"/>
              <a:gd name="connsiteX22-1709" fmla="*/ 3849932 w 9397013"/>
              <a:gd name="connsiteY22-1710" fmla="*/ 3596670 h 7134208"/>
              <a:gd name="connsiteX23-1711" fmla="*/ 4086202 w 9397013"/>
              <a:gd name="connsiteY23-1712" fmla="*/ 3287229 h 7134208"/>
              <a:gd name="connsiteX24-1713" fmla="*/ 6958778 w 9397013"/>
              <a:gd name="connsiteY24-1714" fmla="*/ 7124971 h 7134208"/>
              <a:gd name="connsiteX25-1715" fmla="*/ 7777211 w 9397013"/>
              <a:gd name="connsiteY25-1716" fmla="*/ 7124972 h 7134208"/>
              <a:gd name="connsiteX26-1717" fmla="*/ 7324729 w 9397013"/>
              <a:gd name="connsiteY26-1718" fmla="*/ 7124972 h 7134208"/>
              <a:gd name="connsiteX27-1719" fmla="*/ 4245793 w 9397013"/>
              <a:gd name="connsiteY27-1720" fmla="*/ 3078214 h 7134208"/>
              <a:gd name="connsiteX28-1721" fmla="*/ 4490696 w 9397013"/>
              <a:gd name="connsiteY28-1722" fmla="*/ 2757469 h 7134208"/>
              <a:gd name="connsiteX29-1723" fmla="*/ 7777211 w 9397013"/>
              <a:gd name="connsiteY29-1724" fmla="*/ 7124972 h 7134208"/>
              <a:gd name="connsiteX30-1725" fmla="*/ 8567691 w 9397013"/>
              <a:gd name="connsiteY30-1726" fmla="*/ 7124971 h 7134208"/>
              <a:gd name="connsiteX31-1727" fmla="*/ 8159389 w 9397013"/>
              <a:gd name="connsiteY31-1728" fmla="*/ 7134208 h 7134208"/>
              <a:gd name="connsiteX32-1729" fmla="*/ 4650570 w 9397013"/>
              <a:gd name="connsiteY32-1730" fmla="*/ 2548084 h 7134208"/>
              <a:gd name="connsiteX33-1731" fmla="*/ 4869244 w 9397013"/>
              <a:gd name="connsiteY33-1732" fmla="*/ 2261689 h 7134208"/>
              <a:gd name="connsiteX34-1733" fmla="*/ 8567691 w 9397013"/>
              <a:gd name="connsiteY34-1734" fmla="*/ 7124971 h 7134208"/>
              <a:gd name="connsiteX35-1735" fmla="*/ 9397013 w 9397013"/>
              <a:gd name="connsiteY35-1736" fmla="*/ 7134207 h 7134208"/>
              <a:gd name="connsiteX36-1737" fmla="*/ 8921338 w 9397013"/>
              <a:gd name="connsiteY36-1738" fmla="*/ 7115735 h 7134208"/>
              <a:gd name="connsiteX37-1739" fmla="*/ 5045299 w 9397013"/>
              <a:gd name="connsiteY37-1740" fmla="*/ 2031113 h 7134208"/>
              <a:gd name="connsiteX38-1741" fmla="*/ 5273037 w 9397013"/>
              <a:gd name="connsiteY38-1742" fmla="*/ 1732846 h 7134208"/>
              <a:gd name="connsiteX39-1743" fmla="*/ 9397013 w 9397013"/>
              <a:gd name="connsiteY39-1744" fmla="*/ 7134207 h 7134208"/>
              <a:gd name="connsiteX0-1745" fmla="*/ 168369 w 9397013"/>
              <a:gd name="connsiteY0-1746" fmla="*/ 4571581 h 6925856"/>
              <a:gd name="connsiteX1-1747" fmla="*/ 0 w 9397013"/>
              <a:gd name="connsiteY1-1748" fmla="*/ 4200794 h 6925856"/>
              <a:gd name="connsiteX2-1749" fmla="*/ 3175788 w 9397013"/>
              <a:gd name="connsiteY2-1750" fmla="*/ 4084 h 6925856"/>
              <a:gd name="connsiteX3-1751" fmla="*/ 3628305 w 9397013"/>
              <a:gd name="connsiteY3-1752" fmla="*/ 0 h 6925856"/>
              <a:gd name="connsiteX4-1753" fmla="*/ 168369 w 9397013"/>
              <a:gd name="connsiteY4-1754" fmla="*/ 4571581 h 6925856"/>
              <a:gd name="connsiteX5-1755" fmla="*/ 488220 w 9397013"/>
              <a:gd name="connsiteY5-1756" fmla="*/ 5275963 h 6925856"/>
              <a:gd name="connsiteX6-1757" fmla="*/ 299082 w 9397013"/>
              <a:gd name="connsiteY6-1758" fmla="*/ 4859439 h 6925856"/>
              <a:gd name="connsiteX7-1759" fmla="*/ 3977147 w 9397013"/>
              <a:gd name="connsiteY7-1760" fmla="*/ 3723 h 6925856"/>
              <a:gd name="connsiteX8-1761" fmla="*/ 4465006 w 9397013"/>
              <a:gd name="connsiteY8-1762" fmla="*/ 840 h 6925856"/>
              <a:gd name="connsiteX9-1763" fmla="*/ 488220 w 9397013"/>
              <a:gd name="connsiteY9-1764" fmla="*/ 5275963 h 6925856"/>
              <a:gd name="connsiteX10-1765" fmla="*/ 779421 w 9397013"/>
              <a:gd name="connsiteY10-1766" fmla="*/ 5917254 h 6925856"/>
              <a:gd name="connsiteX11-1767" fmla="*/ 618065 w 9397013"/>
              <a:gd name="connsiteY11-1768" fmla="*/ 5561911 h 6925856"/>
              <a:gd name="connsiteX12-1769" fmla="*/ 4805164 w 9397013"/>
              <a:gd name="connsiteY12-1770" fmla="*/ 4602 h 6925856"/>
              <a:gd name="connsiteX13-1771" fmla="*/ 5260238 w 9397013"/>
              <a:gd name="connsiteY13-1772" fmla="*/ 25779 h 6925856"/>
              <a:gd name="connsiteX14-1773" fmla="*/ 779421 w 9397013"/>
              <a:gd name="connsiteY14-1774" fmla="*/ 5917254 h 6925856"/>
              <a:gd name="connsiteX15-1775" fmla="*/ 1099910 w 9397013"/>
              <a:gd name="connsiteY15-1776" fmla="*/ 6623043 h 6925856"/>
              <a:gd name="connsiteX16-1777" fmla="*/ 919656 w 9397013"/>
              <a:gd name="connsiteY16-1778" fmla="*/ 6226083 h 6925856"/>
              <a:gd name="connsiteX17-1779" fmla="*/ 5641256 w 9397013"/>
              <a:gd name="connsiteY17-1780" fmla="*/ 4084 h 6925856"/>
              <a:gd name="connsiteX18-1781" fmla="*/ 6077099 w 9397013"/>
              <a:gd name="connsiteY18-1782" fmla="*/ 17286 h 6925856"/>
              <a:gd name="connsiteX19-1783" fmla="*/ 1099910 w 9397013"/>
              <a:gd name="connsiteY19-1784" fmla="*/ 6623043 h 6925856"/>
              <a:gd name="connsiteX20-1785" fmla="*/ 6958778 w 9397013"/>
              <a:gd name="connsiteY20-1786" fmla="*/ 6916619 h 6925856"/>
              <a:gd name="connsiteX21-1787" fmla="*/ 6560038 w 9397013"/>
              <a:gd name="connsiteY21-1788" fmla="*/ 6925855 h 6925856"/>
              <a:gd name="connsiteX22-1789" fmla="*/ 3849932 w 9397013"/>
              <a:gd name="connsiteY22-1790" fmla="*/ 3388318 h 6925856"/>
              <a:gd name="connsiteX23-1791" fmla="*/ 4086202 w 9397013"/>
              <a:gd name="connsiteY23-1792" fmla="*/ 3078877 h 6925856"/>
              <a:gd name="connsiteX24-1793" fmla="*/ 6958778 w 9397013"/>
              <a:gd name="connsiteY24-1794" fmla="*/ 6916619 h 6925856"/>
              <a:gd name="connsiteX25-1795" fmla="*/ 7777211 w 9397013"/>
              <a:gd name="connsiteY25-1796" fmla="*/ 6916620 h 6925856"/>
              <a:gd name="connsiteX26-1797" fmla="*/ 7324729 w 9397013"/>
              <a:gd name="connsiteY26-1798" fmla="*/ 6916620 h 6925856"/>
              <a:gd name="connsiteX27-1799" fmla="*/ 4245793 w 9397013"/>
              <a:gd name="connsiteY27-1800" fmla="*/ 2869862 h 6925856"/>
              <a:gd name="connsiteX28-1801" fmla="*/ 4490696 w 9397013"/>
              <a:gd name="connsiteY28-1802" fmla="*/ 2549117 h 6925856"/>
              <a:gd name="connsiteX29-1803" fmla="*/ 7777211 w 9397013"/>
              <a:gd name="connsiteY29-1804" fmla="*/ 6916620 h 6925856"/>
              <a:gd name="connsiteX30-1805" fmla="*/ 8567691 w 9397013"/>
              <a:gd name="connsiteY30-1806" fmla="*/ 6916619 h 6925856"/>
              <a:gd name="connsiteX31-1807" fmla="*/ 8159389 w 9397013"/>
              <a:gd name="connsiteY31-1808" fmla="*/ 6925856 h 6925856"/>
              <a:gd name="connsiteX32-1809" fmla="*/ 4650570 w 9397013"/>
              <a:gd name="connsiteY32-1810" fmla="*/ 2339732 h 6925856"/>
              <a:gd name="connsiteX33-1811" fmla="*/ 4869244 w 9397013"/>
              <a:gd name="connsiteY33-1812" fmla="*/ 2053337 h 6925856"/>
              <a:gd name="connsiteX34-1813" fmla="*/ 8567691 w 9397013"/>
              <a:gd name="connsiteY34-1814" fmla="*/ 6916619 h 6925856"/>
              <a:gd name="connsiteX35-1815" fmla="*/ 9397013 w 9397013"/>
              <a:gd name="connsiteY35-1816" fmla="*/ 6925855 h 6925856"/>
              <a:gd name="connsiteX36-1817" fmla="*/ 8921338 w 9397013"/>
              <a:gd name="connsiteY36-1818" fmla="*/ 6907383 h 6925856"/>
              <a:gd name="connsiteX37-1819" fmla="*/ 5045299 w 9397013"/>
              <a:gd name="connsiteY37-1820" fmla="*/ 1822761 h 6925856"/>
              <a:gd name="connsiteX38-1821" fmla="*/ 5273037 w 9397013"/>
              <a:gd name="connsiteY38-1822" fmla="*/ 1524494 h 6925856"/>
              <a:gd name="connsiteX39-1823" fmla="*/ 9397013 w 9397013"/>
              <a:gd name="connsiteY39-1824" fmla="*/ 6925855 h 6925856"/>
              <a:gd name="connsiteX0-1825" fmla="*/ 168369 w 9397013"/>
              <a:gd name="connsiteY0-1826" fmla="*/ 4571581 h 6925856"/>
              <a:gd name="connsiteX1-1827" fmla="*/ 0 w 9397013"/>
              <a:gd name="connsiteY1-1828" fmla="*/ 4200794 h 6925856"/>
              <a:gd name="connsiteX2-1829" fmla="*/ 3175788 w 9397013"/>
              <a:gd name="connsiteY2-1830" fmla="*/ 4084 h 6925856"/>
              <a:gd name="connsiteX3-1831" fmla="*/ 3628305 w 9397013"/>
              <a:gd name="connsiteY3-1832" fmla="*/ 0 h 6925856"/>
              <a:gd name="connsiteX4-1833" fmla="*/ 168369 w 9397013"/>
              <a:gd name="connsiteY4-1834" fmla="*/ 4571581 h 6925856"/>
              <a:gd name="connsiteX5-1835" fmla="*/ 488220 w 9397013"/>
              <a:gd name="connsiteY5-1836" fmla="*/ 5275963 h 6925856"/>
              <a:gd name="connsiteX6-1837" fmla="*/ 299082 w 9397013"/>
              <a:gd name="connsiteY6-1838" fmla="*/ 4859439 h 6925856"/>
              <a:gd name="connsiteX7-1839" fmla="*/ 3977147 w 9397013"/>
              <a:gd name="connsiteY7-1840" fmla="*/ 3723 h 6925856"/>
              <a:gd name="connsiteX8-1841" fmla="*/ 4465006 w 9397013"/>
              <a:gd name="connsiteY8-1842" fmla="*/ 840 h 6925856"/>
              <a:gd name="connsiteX9-1843" fmla="*/ 488220 w 9397013"/>
              <a:gd name="connsiteY9-1844" fmla="*/ 5275963 h 6925856"/>
              <a:gd name="connsiteX10-1845" fmla="*/ 779421 w 9397013"/>
              <a:gd name="connsiteY10-1846" fmla="*/ 5917254 h 6925856"/>
              <a:gd name="connsiteX11-1847" fmla="*/ 618065 w 9397013"/>
              <a:gd name="connsiteY11-1848" fmla="*/ 5561911 h 6925856"/>
              <a:gd name="connsiteX12-1849" fmla="*/ 4805164 w 9397013"/>
              <a:gd name="connsiteY12-1850" fmla="*/ 4602 h 6925856"/>
              <a:gd name="connsiteX13-1851" fmla="*/ 5260238 w 9397013"/>
              <a:gd name="connsiteY13-1852" fmla="*/ 25779 h 6925856"/>
              <a:gd name="connsiteX14-1853" fmla="*/ 779421 w 9397013"/>
              <a:gd name="connsiteY14-1854" fmla="*/ 5917254 h 6925856"/>
              <a:gd name="connsiteX15-1855" fmla="*/ 1598673 w 9397013"/>
              <a:gd name="connsiteY15-1856" fmla="*/ 5976498 h 6925856"/>
              <a:gd name="connsiteX16-1857" fmla="*/ 919656 w 9397013"/>
              <a:gd name="connsiteY16-1858" fmla="*/ 6226083 h 6925856"/>
              <a:gd name="connsiteX17-1859" fmla="*/ 5641256 w 9397013"/>
              <a:gd name="connsiteY17-1860" fmla="*/ 4084 h 6925856"/>
              <a:gd name="connsiteX18-1861" fmla="*/ 6077099 w 9397013"/>
              <a:gd name="connsiteY18-1862" fmla="*/ 17286 h 6925856"/>
              <a:gd name="connsiteX19-1863" fmla="*/ 1598673 w 9397013"/>
              <a:gd name="connsiteY19-1864" fmla="*/ 5976498 h 6925856"/>
              <a:gd name="connsiteX20-1865" fmla="*/ 6958778 w 9397013"/>
              <a:gd name="connsiteY20-1866" fmla="*/ 6916619 h 6925856"/>
              <a:gd name="connsiteX21-1867" fmla="*/ 6560038 w 9397013"/>
              <a:gd name="connsiteY21-1868" fmla="*/ 6925855 h 6925856"/>
              <a:gd name="connsiteX22-1869" fmla="*/ 3849932 w 9397013"/>
              <a:gd name="connsiteY22-1870" fmla="*/ 3388318 h 6925856"/>
              <a:gd name="connsiteX23-1871" fmla="*/ 4086202 w 9397013"/>
              <a:gd name="connsiteY23-1872" fmla="*/ 3078877 h 6925856"/>
              <a:gd name="connsiteX24-1873" fmla="*/ 6958778 w 9397013"/>
              <a:gd name="connsiteY24-1874" fmla="*/ 6916619 h 6925856"/>
              <a:gd name="connsiteX25-1875" fmla="*/ 7777211 w 9397013"/>
              <a:gd name="connsiteY25-1876" fmla="*/ 6916620 h 6925856"/>
              <a:gd name="connsiteX26-1877" fmla="*/ 7324729 w 9397013"/>
              <a:gd name="connsiteY26-1878" fmla="*/ 6916620 h 6925856"/>
              <a:gd name="connsiteX27-1879" fmla="*/ 4245793 w 9397013"/>
              <a:gd name="connsiteY27-1880" fmla="*/ 2869862 h 6925856"/>
              <a:gd name="connsiteX28-1881" fmla="*/ 4490696 w 9397013"/>
              <a:gd name="connsiteY28-1882" fmla="*/ 2549117 h 6925856"/>
              <a:gd name="connsiteX29-1883" fmla="*/ 7777211 w 9397013"/>
              <a:gd name="connsiteY29-1884" fmla="*/ 6916620 h 6925856"/>
              <a:gd name="connsiteX30-1885" fmla="*/ 8567691 w 9397013"/>
              <a:gd name="connsiteY30-1886" fmla="*/ 6916619 h 6925856"/>
              <a:gd name="connsiteX31-1887" fmla="*/ 8159389 w 9397013"/>
              <a:gd name="connsiteY31-1888" fmla="*/ 6925856 h 6925856"/>
              <a:gd name="connsiteX32-1889" fmla="*/ 4650570 w 9397013"/>
              <a:gd name="connsiteY32-1890" fmla="*/ 2339732 h 6925856"/>
              <a:gd name="connsiteX33-1891" fmla="*/ 4869244 w 9397013"/>
              <a:gd name="connsiteY33-1892" fmla="*/ 2053337 h 6925856"/>
              <a:gd name="connsiteX34-1893" fmla="*/ 8567691 w 9397013"/>
              <a:gd name="connsiteY34-1894" fmla="*/ 6916619 h 6925856"/>
              <a:gd name="connsiteX35-1895" fmla="*/ 9397013 w 9397013"/>
              <a:gd name="connsiteY35-1896" fmla="*/ 6925855 h 6925856"/>
              <a:gd name="connsiteX36-1897" fmla="*/ 8921338 w 9397013"/>
              <a:gd name="connsiteY36-1898" fmla="*/ 6907383 h 6925856"/>
              <a:gd name="connsiteX37-1899" fmla="*/ 5045299 w 9397013"/>
              <a:gd name="connsiteY37-1900" fmla="*/ 1822761 h 6925856"/>
              <a:gd name="connsiteX38-1901" fmla="*/ 5273037 w 9397013"/>
              <a:gd name="connsiteY38-1902" fmla="*/ 1524494 h 6925856"/>
              <a:gd name="connsiteX39-1903" fmla="*/ 9397013 w 9397013"/>
              <a:gd name="connsiteY39-1904" fmla="*/ 6925855 h 6925856"/>
              <a:gd name="connsiteX0-1905" fmla="*/ 168369 w 9397013"/>
              <a:gd name="connsiteY0-1906" fmla="*/ 4571581 h 6925856"/>
              <a:gd name="connsiteX1-1907" fmla="*/ 0 w 9397013"/>
              <a:gd name="connsiteY1-1908" fmla="*/ 4200794 h 6925856"/>
              <a:gd name="connsiteX2-1909" fmla="*/ 3175788 w 9397013"/>
              <a:gd name="connsiteY2-1910" fmla="*/ 4084 h 6925856"/>
              <a:gd name="connsiteX3-1911" fmla="*/ 3628305 w 9397013"/>
              <a:gd name="connsiteY3-1912" fmla="*/ 0 h 6925856"/>
              <a:gd name="connsiteX4-1913" fmla="*/ 168369 w 9397013"/>
              <a:gd name="connsiteY4-1914" fmla="*/ 4571581 h 6925856"/>
              <a:gd name="connsiteX5-1915" fmla="*/ 488220 w 9397013"/>
              <a:gd name="connsiteY5-1916" fmla="*/ 5275963 h 6925856"/>
              <a:gd name="connsiteX6-1917" fmla="*/ 299082 w 9397013"/>
              <a:gd name="connsiteY6-1918" fmla="*/ 4859439 h 6925856"/>
              <a:gd name="connsiteX7-1919" fmla="*/ 3977147 w 9397013"/>
              <a:gd name="connsiteY7-1920" fmla="*/ 3723 h 6925856"/>
              <a:gd name="connsiteX8-1921" fmla="*/ 4465006 w 9397013"/>
              <a:gd name="connsiteY8-1922" fmla="*/ 840 h 6925856"/>
              <a:gd name="connsiteX9-1923" fmla="*/ 488220 w 9397013"/>
              <a:gd name="connsiteY9-1924" fmla="*/ 5275963 h 6925856"/>
              <a:gd name="connsiteX10-1925" fmla="*/ 779421 w 9397013"/>
              <a:gd name="connsiteY10-1926" fmla="*/ 5917254 h 6925856"/>
              <a:gd name="connsiteX11-1927" fmla="*/ 618065 w 9397013"/>
              <a:gd name="connsiteY11-1928" fmla="*/ 5561911 h 6925856"/>
              <a:gd name="connsiteX12-1929" fmla="*/ 4805164 w 9397013"/>
              <a:gd name="connsiteY12-1930" fmla="*/ 4602 h 6925856"/>
              <a:gd name="connsiteX13-1931" fmla="*/ 5260238 w 9397013"/>
              <a:gd name="connsiteY13-1932" fmla="*/ 25779 h 6925856"/>
              <a:gd name="connsiteX14-1933" fmla="*/ 779421 w 9397013"/>
              <a:gd name="connsiteY14-1934" fmla="*/ 5917254 h 6925856"/>
              <a:gd name="connsiteX15-1935" fmla="*/ 1598673 w 9397013"/>
              <a:gd name="connsiteY15-1936" fmla="*/ 5976498 h 6925856"/>
              <a:gd name="connsiteX16-1937" fmla="*/ 1566201 w 9397013"/>
              <a:gd name="connsiteY16-1938" fmla="*/ 5394811 h 6925856"/>
              <a:gd name="connsiteX17-1939" fmla="*/ 5641256 w 9397013"/>
              <a:gd name="connsiteY17-1940" fmla="*/ 4084 h 6925856"/>
              <a:gd name="connsiteX18-1941" fmla="*/ 6077099 w 9397013"/>
              <a:gd name="connsiteY18-1942" fmla="*/ 17286 h 6925856"/>
              <a:gd name="connsiteX19-1943" fmla="*/ 1598673 w 9397013"/>
              <a:gd name="connsiteY19-1944" fmla="*/ 5976498 h 6925856"/>
              <a:gd name="connsiteX20-1945" fmla="*/ 6958778 w 9397013"/>
              <a:gd name="connsiteY20-1946" fmla="*/ 6916619 h 6925856"/>
              <a:gd name="connsiteX21-1947" fmla="*/ 6560038 w 9397013"/>
              <a:gd name="connsiteY21-1948" fmla="*/ 6925855 h 6925856"/>
              <a:gd name="connsiteX22-1949" fmla="*/ 3849932 w 9397013"/>
              <a:gd name="connsiteY22-1950" fmla="*/ 3388318 h 6925856"/>
              <a:gd name="connsiteX23-1951" fmla="*/ 4086202 w 9397013"/>
              <a:gd name="connsiteY23-1952" fmla="*/ 3078877 h 6925856"/>
              <a:gd name="connsiteX24-1953" fmla="*/ 6958778 w 9397013"/>
              <a:gd name="connsiteY24-1954" fmla="*/ 6916619 h 6925856"/>
              <a:gd name="connsiteX25-1955" fmla="*/ 7777211 w 9397013"/>
              <a:gd name="connsiteY25-1956" fmla="*/ 6916620 h 6925856"/>
              <a:gd name="connsiteX26-1957" fmla="*/ 7324729 w 9397013"/>
              <a:gd name="connsiteY26-1958" fmla="*/ 6916620 h 6925856"/>
              <a:gd name="connsiteX27-1959" fmla="*/ 4245793 w 9397013"/>
              <a:gd name="connsiteY27-1960" fmla="*/ 2869862 h 6925856"/>
              <a:gd name="connsiteX28-1961" fmla="*/ 4490696 w 9397013"/>
              <a:gd name="connsiteY28-1962" fmla="*/ 2549117 h 6925856"/>
              <a:gd name="connsiteX29-1963" fmla="*/ 7777211 w 9397013"/>
              <a:gd name="connsiteY29-1964" fmla="*/ 6916620 h 6925856"/>
              <a:gd name="connsiteX30-1965" fmla="*/ 8567691 w 9397013"/>
              <a:gd name="connsiteY30-1966" fmla="*/ 6916619 h 6925856"/>
              <a:gd name="connsiteX31-1967" fmla="*/ 8159389 w 9397013"/>
              <a:gd name="connsiteY31-1968" fmla="*/ 6925856 h 6925856"/>
              <a:gd name="connsiteX32-1969" fmla="*/ 4650570 w 9397013"/>
              <a:gd name="connsiteY32-1970" fmla="*/ 2339732 h 6925856"/>
              <a:gd name="connsiteX33-1971" fmla="*/ 4869244 w 9397013"/>
              <a:gd name="connsiteY33-1972" fmla="*/ 2053337 h 6925856"/>
              <a:gd name="connsiteX34-1973" fmla="*/ 8567691 w 9397013"/>
              <a:gd name="connsiteY34-1974" fmla="*/ 6916619 h 6925856"/>
              <a:gd name="connsiteX35-1975" fmla="*/ 9397013 w 9397013"/>
              <a:gd name="connsiteY35-1976" fmla="*/ 6925855 h 6925856"/>
              <a:gd name="connsiteX36-1977" fmla="*/ 8921338 w 9397013"/>
              <a:gd name="connsiteY36-1978" fmla="*/ 6907383 h 6925856"/>
              <a:gd name="connsiteX37-1979" fmla="*/ 5045299 w 9397013"/>
              <a:gd name="connsiteY37-1980" fmla="*/ 1822761 h 6925856"/>
              <a:gd name="connsiteX38-1981" fmla="*/ 5273037 w 9397013"/>
              <a:gd name="connsiteY38-1982" fmla="*/ 1524494 h 6925856"/>
              <a:gd name="connsiteX39-1983" fmla="*/ 9397013 w 9397013"/>
              <a:gd name="connsiteY39-1984" fmla="*/ 6925855 h 6925856"/>
              <a:gd name="connsiteX0-1985" fmla="*/ 168369 w 9397013"/>
              <a:gd name="connsiteY0-1986" fmla="*/ 4571581 h 6925856"/>
              <a:gd name="connsiteX1-1987" fmla="*/ 0 w 9397013"/>
              <a:gd name="connsiteY1-1988" fmla="*/ 4200794 h 6925856"/>
              <a:gd name="connsiteX2-1989" fmla="*/ 3175788 w 9397013"/>
              <a:gd name="connsiteY2-1990" fmla="*/ 4084 h 6925856"/>
              <a:gd name="connsiteX3-1991" fmla="*/ 3628305 w 9397013"/>
              <a:gd name="connsiteY3-1992" fmla="*/ 0 h 6925856"/>
              <a:gd name="connsiteX4-1993" fmla="*/ 168369 w 9397013"/>
              <a:gd name="connsiteY4-1994" fmla="*/ 4571581 h 6925856"/>
              <a:gd name="connsiteX5-1995" fmla="*/ 488220 w 9397013"/>
              <a:gd name="connsiteY5-1996" fmla="*/ 5275963 h 6925856"/>
              <a:gd name="connsiteX6-1997" fmla="*/ 299082 w 9397013"/>
              <a:gd name="connsiteY6-1998" fmla="*/ 4859439 h 6925856"/>
              <a:gd name="connsiteX7-1999" fmla="*/ 3977147 w 9397013"/>
              <a:gd name="connsiteY7-2000" fmla="*/ 3723 h 6925856"/>
              <a:gd name="connsiteX8-2001" fmla="*/ 4465006 w 9397013"/>
              <a:gd name="connsiteY8-2002" fmla="*/ 840 h 6925856"/>
              <a:gd name="connsiteX9-2003" fmla="*/ 488220 w 9397013"/>
              <a:gd name="connsiteY9-2004" fmla="*/ 5275963 h 6925856"/>
              <a:gd name="connsiteX10-2005" fmla="*/ 779421 w 9397013"/>
              <a:gd name="connsiteY10-2006" fmla="*/ 5917254 h 6925856"/>
              <a:gd name="connsiteX11-2007" fmla="*/ 618065 w 9397013"/>
              <a:gd name="connsiteY11-2008" fmla="*/ 5561911 h 6925856"/>
              <a:gd name="connsiteX12-2009" fmla="*/ 4805164 w 9397013"/>
              <a:gd name="connsiteY12-2010" fmla="*/ 4602 h 6925856"/>
              <a:gd name="connsiteX13-2011" fmla="*/ 5260238 w 9397013"/>
              <a:gd name="connsiteY13-2012" fmla="*/ 25779 h 6925856"/>
              <a:gd name="connsiteX14-2013" fmla="*/ 779421 w 9397013"/>
              <a:gd name="connsiteY14-2014" fmla="*/ 5917254 h 6925856"/>
              <a:gd name="connsiteX15-2015" fmla="*/ 1580200 w 9397013"/>
              <a:gd name="connsiteY15-2016" fmla="*/ 5985735 h 6925856"/>
              <a:gd name="connsiteX16-2017" fmla="*/ 1566201 w 9397013"/>
              <a:gd name="connsiteY16-2018" fmla="*/ 5394811 h 6925856"/>
              <a:gd name="connsiteX17-2019" fmla="*/ 5641256 w 9397013"/>
              <a:gd name="connsiteY17-2020" fmla="*/ 4084 h 6925856"/>
              <a:gd name="connsiteX18-2021" fmla="*/ 6077099 w 9397013"/>
              <a:gd name="connsiteY18-2022" fmla="*/ 17286 h 6925856"/>
              <a:gd name="connsiteX19-2023" fmla="*/ 1580200 w 9397013"/>
              <a:gd name="connsiteY19-2024" fmla="*/ 5985735 h 6925856"/>
              <a:gd name="connsiteX20-2025" fmla="*/ 6958778 w 9397013"/>
              <a:gd name="connsiteY20-2026" fmla="*/ 6916619 h 6925856"/>
              <a:gd name="connsiteX21-2027" fmla="*/ 6560038 w 9397013"/>
              <a:gd name="connsiteY21-2028" fmla="*/ 6925855 h 6925856"/>
              <a:gd name="connsiteX22-2029" fmla="*/ 3849932 w 9397013"/>
              <a:gd name="connsiteY22-2030" fmla="*/ 3388318 h 6925856"/>
              <a:gd name="connsiteX23-2031" fmla="*/ 4086202 w 9397013"/>
              <a:gd name="connsiteY23-2032" fmla="*/ 3078877 h 6925856"/>
              <a:gd name="connsiteX24-2033" fmla="*/ 6958778 w 9397013"/>
              <a:gd name="connsiteY24-2034" fmla="*/ 6916619 h 6925856"/>
              <a:gd name="connsiteX25-2035" fmla="*/ 7777211 w 9397013"/>
              <a:gd name="connsiteY25-2036" fmla="*/ 6916620 h 6925856"/>
              <a:gd name="connsiteX26-2037" fmla="*/ 7324729 w 9397013"/>
              <a:gd name="connsiteY26-2038" fmla="*/ 6916620 h 6925856"/>
              <a:gd name="connsiteX27-2039" fmla="*/ 4245793 w 9397013"/>
              <a:gd name="connsiteY27-2040" fmla="*/ 2869862 h 6925856"/>
              <a:gd name="connsiteX28-2041" fmla="*/ 4490696 w 9397013"/>
              <a:gd name="connsiteY28-2042" fmla="*/ 2549117 h 6925856"/>
              <a:gd name="connsiteX29-2043" fmla="*/ 7777211 w 9397013"/>
              <a:gd name="connsiteY29-2044" fmla="*/ 6916620 h 6925856"/>
              <a:gd name="connsiteX30-2045" fmla="*/ 8567691 w 9397013"/>
              <a:gd name="connsiteY30-2046" fmla="*/ 6916619 h 6925856"/>
              <a:gd name="connsiteX31-2047" fmla="*/ 8159389 w 9397013"/>
              <a:gd name="connsiteY31-2048" fmla="*/ 6925856 h 6925856"/>
              <a:gd name="connsiteX32-2049" fmla="*/ 4650570 w 9397013"/>
              <a:gd name="connsiteY32-2050" fmla="*/ 2339732 h 6925856"/>
              <a:gd name="connsiteX33-2051" fmla="*/ 4869244 w 9397013"/>
              <a:gd name="connsiteY33-2052" fmla="*/ 2053337 h 6925856"/>
              <a:gd name="connsiteX34-2053" fmla="*/ 8567691 w 9397013"/>
              <a:gd name="connsiteY34-2054" fmla="*/ 6916619 h 6925856"/>
              <a:gd name="connsiteX35-2055" fmla="*/ 9397013 w 9397013"/>
              <a:gd name="connsiteY35-2056" fmla="*/ 6925855 h 6925856"/>
              <a:gd name="connsiteX36-2057" fmla="*/ 8921338 w 9397013"/>
              <a:gd name="connsiteY36-2058" fmla="*/ 6907383 h 6925856"/>
              <a:gd name="connsiteX37-2059" fmla="*/ 5045299 w 9397013"/>
              <a:gd name="connsiteY37-2060" fmla="*/ 1822761 h 6925856"/>
              <a:gd name="connsiteX38-2061" fmla="*/ 5273037 w 9397013"/>
              <a:gd name="connsiteY38-2062" fmla="*/ 1524494 h 6925856"/>
              <a:gd name="connsiteX39-2063" fmla="*/ 9397013 w 9397013"/>
              <a:gd name="connsiteY39-2064" fmla="*/ 6925855 h 6925856"/>
              <a:gd name="connsiteX0-2065" fmla="*/ 168369 w 9397013"/>
              <a:gd name="connsiteY0-2066" fmla="*/ 4571581 h 6925856"/>
              <a:gd name="connsiteX1-2067" fmla="*/ 0 w 9397013"/>
              <a:gd name="connsiteY1-2068" fmla="*/ 4200794 h 6925856"/>
              <a:gd name="connsiteX2-2069" fmla="*/ 3175788 w 9397013"/>
              <a:gd name="connsiteY2-2070" fmla="*/ 4084 h 6925856"/>
              <a:gd name="connsiteX3-2071" fmla="*/ 3628305 w 9397013"/>
              <a:gd name="connsiteY3-2072" fmla="*/ 0 h 6925856"/>
              <a:gd name="connsiteX4-2073" fmla="*/ 168369 w 9397013"/>
              <a:gd name="connsiteY4-2074" fmla="*/ 4571581 h 6925856"/>
              <a:gd name="connsiteX5-2075" fmla="*/ 488220 w 9397013"/>
              <a:gd name="connsiteY5-2076" fmla="*/ 5275963 h 6925856"/>
              <a:gd name="connsiteX6-2077" fmla="*/ 299082 w 9397013"/>
              <a:gd name="connsiteY6-2078" fmla="*/ 4859439 h 6925856"/>
              <a:gd name="connsiteX7-2079" fmla="*/ 3977147 w 9397013"/>
              <a:gd name="connsiteY7-2080" fmla="*/ 3723 h 6925856"/>
              <a:gd name="connsiteX8-2081" fmla="*/ 4465006 w 9397013"/>
              <a:gd name="connsiteY8-2082" fmla="*/ 840 h 6925856"/>
              <a:gd name="connsiteX9-2083" fmla="*/ 488220 w 9397013"/>
              <a:gd name="connsiteY9-2084" fmla="*/ 5275963 h 6925856"/>
              <a:gd name="connsiteX10-2085" fmla="*/ 1601458 w 9397013"/>
              <a:gd name="connsiteY10-2086" fmla="*/ 4845836 h 6925856"/>
              <a:gd name="connsiteX11-2087" fmla="*/ 618065 w 9397013"/>
              <a:gd name="connsiteY11-2088" fmla="*/ 5561911 h 6925856"/>
              <a:gd name="connsiteX12-2089" fmla="*/ 4805164 w 9397013"/>
              <a:gd name="connsiteY12-2090" fmla="*/ 4602 h 6925856"/>
              <a:gd name="connsiteX13-2091" fmla="*/ 5260238 w 9397013"/>
              <a:gd name="connsiteY13-2092" fmla="*/ 25779 h 6925856"/>
              <a:gd name="connsiteX14-2093" fmla="*/ 1601458 w 9397013"/>
              <a:gd name="connsiteY14-2094" fmla="*/ 4845836 h 6925856"/>
              <a:gd name="connsiteX15-2095" fmla="*/ 1580200 w 9397013"/>
              <a:gd name="connsiteY15-2096" fmla="*/ 5985735 h 6925856"/>
              <a:gd name="connsiteX16-2097" fmla="*/ 1566201 w 9397013"/>
              <a:gd name="connsiteY16-2098" fmla="*/ 5394811 h 6925856"/>
              <a:gd name="connsiteX17-2099" fmla="*/ 5641256 w 9397013"/>
              <a:gd name="connsiteY17-2100" fmla="*/ 4084 h 6925856"/>
              <a:gd name="connsiteX18-2101" fmla="*/ 6077099 w 9397013"/>
              <a:gd name="connsiteY18-2102" fmla="*/ 17286 h 6925856"/>
              <a:gd name="connsiteX19-2103" fmla="*/ 1580200 w 9397013"/>
              <a:gd name="connsiteY19-2104" fmla="*/ 5985735 h 6925856"/>
              <a:gd name="connsiteX20-2105" fmla="*/ 6958778 w 9397013"/>
              <a:gd name="connsiteY20-2106" fmla="*/ 6916619 h 6925856"/>
              <a:gd name="connsiteX21-2107" fmla="*/ 6560038 w 9397013"/>
              <a:gd name="connsiteY21-2108" fmla="*/ 6925855 h 6925856"/>
              <a:gd name="connsiteX22-2109" fmla="*/ 3849932 w 9397013"/>
              <a:gd name="connsiteY22-2110" fmla="*/ 3388318 h 6925856"/>
              <a:gd name="connsiteX23-2111" fmla="*/ 4086202 w 9397013"/>
              <a:gd name="connsiteY23-2112" fmla="*/ 3078877 h 6925856"/>
              <a:gd name="connsiteX24-2113" fmla="*/ 6958778 w 9397013"/>
              <a:gd name="connsiteY24-2114" fmla="*/ 6916619 h 6925856"/>
              <a:gd name="connsiteX25-2115" fmla="*/ 7777211 w 9397013"/>
              <a:gd name="connsiteY25-2116" fmla="*/ 6916620 h 6925856"/>
              <a:gd name="connsiteX26-2117" fmla="*/ 7324729 w 9397013"/>
              <a:gd name="connsiteY26-2118" fmla="*/ 6916620 h 6925856"/>
              <a:gd name="connsiteX27-2119" fmla="*/ 4245793 w 9397013"/>
              <a:gd name="connsiteY27-2120" fmla="*/ 2869862 h 6925856"/>
              <a:gd name="connsiteX28-2121" fmla="*/ 4490696 w 9397013"/>
              <a:gd name="connsiteY28-2122" fmla="*/ 2549117 h 6925856"/>
              <a:gd name="connsiteX29-2123" fmla="*/ 7777211 w 9397013"/>
              <a:gd name="connsiteY29-2124" fmla="*/ 6916620 h 6925856"/>
              <a:gd name="connsiteX30-2125" fmla="*/ 8567691 w 9397013"/>
              <a:gd name="connsiteY30-2126" fmla="*/ 6916619 h 6925856"/>
              <a:gd name="connsiteX31-2127" fmla="*/ 8159389 w 9397013"/>
              <a:gd name="connsiteY31-2128" fmla="*/ 6925856 h 6925856"/>
              <a:gd name="connsiteX32-2129" fmla="*/ 4650570 w 9397013"/>
              <a:gd name="connsiteY32-2130" fmla="*/ 2339732 h 6925856"/>
              <a:gd name="connsiteX33-2131" fmla="*/ 4869244 w 9397013"/>
              <a:gd name="connsiteY33-2132" fmla="*/ 2053337 h 6925856"/>
              <a:gd name="connsiteX34-2133" fmla="*/ 8567691 w 9397013"/>
              <a:gd name="connsiteY34-2134" fmla="*/ 6916619 h 6925856"/>
              <a:gd name="connsiteX35-2135" fmla="*/ 9397013 w 9397013"/>
              <a:gd name="connsiteY35-2136" fmla="*/ 6925855 h 6925856"/>
              <a:gd name="connsiteX36-2137" fmla="*/ 8921338 w 9397013"/>
              <a:gd name="connsiteY36-2138" fmla="*/ 6907383 h 6925856"/>
              <a:gd name="connsiteX37-2139" fmla="*/ 5045299 w 9397013"/>
              <a:gd name="connsiteY37-2140" fmla="*/ 1822761 h 6925856"/>
              <a:gd name="connsiteX38-2141" fmla="*/ 5273037 w 9397013"/>
              <a:gd name="connsiteY38-2142" fmla="*/ 1524494 h 6925856"/>
              <a:gd name="connsiteX39-2143" fmla="*/ 9397013 w 9397013"/>
              <a:gd name="connsiteY39-2144" fmla="*/ 6925855 h 6925856"/>
              <a:gd name="connsiteX0-2145" fmla="*/ 168369 w 9397013"/>
              <a:gd name="connsiteY0-2146" fmla="*/ 4571581 h 6925856"/>
              <a:gd name="connsiteX1-2147" fmla="*/ 0 w 9397013"/>
              <a:gd name="connsiteY1-2148" fmla="*/ 4200794 h 6925856"/>
              <a:gd name="connsiteX2-2149" fmla="*/ 3175788 w 9397013"/>
              <a:gd name="connsiteY2-2150" fmla="*/ 4084 h 6925856"/>
              <a:gd name="connsiteX3-2151" fmla="*/ 3628305 w 9397013"/>
              <a:gd name="connsiteY3-2152" fmla="*/ 0 h 6925856"/>
              <a:gd name="connsiteX4-2153" fmla="*/ 168369 w 9397013"/>
              <a:gd name="connsiteY4-2154" fmla="*/ 4571581 h 6925856"/>
              <a:gd name="connsiteX5-2155" fmla="*/ 488220 w 9397013"/>
              <a:gd name="connsiteY5-2156" fmla="*/ 5275963 h 6925856"/>
              <a:gd name="connsiteX6-2157" fmla="*/ 299082 w 9397013"/>
              <a:gd name="connsiteY6-2158" fmla="*/ 4859439 h 6925856"/>
              <a:gd name="connsiteX7-2159" fmla="*/ 3977147 w 9397013"/>
              <a:gd name="connsiteY7-2160" fmla="*/ 3723 h 6925856"/>
              <a:gd name="connsiteX8-2161" fmla="*/ 4465006 w 9397013"/>
              <a:gd name="connsiteY8-2162" fmla="*/ 840 h 6925856"/>
              <a:gd name="connsiteX9-2163" fmla="*/ 488220 w 9397013"/>
              <a:gd name="connsiteY9-2164" fmla="*/ 5275963 h 6925856"/>
              <a:gd name="connsiteX10-2165" fmla="*/ 1601458 w 9397013"/>
              <a:gd name="connsiteY10-2166" fmla="*/ 4845836 h 6925856"/>
              <a:gd name="connsiteX11-2167" fmla="*/ 1550937 w 9397013"/>
              <a:gd name="connsiteY11-2168" fmla="*/ 4315002 h 6925856"/>
              <a:gd name="connsiteX12-2169" fmla="*/ 4805164 w 9397013"/>
              <a:gd name="connsiteY12-2170" fmla="*/ 4602 h 6925856"/>
              <a:gd name="connsiteX13-2171" fmla="*/ 5260238 w 9397013"/>
              <a:gd name="connsiteY13-2172" fmla="*/ 25779 h 6925856"/>
              <a:gd name="connsiteX14-2173" fmla="*/ 1601458 w 9397013"/>
              <a:gd name="connsiteY14-2174" fmla="*/ 4845836 h 6925856"/>
              <a:gd name="connsiteX15-2175" fmla="*/ 1580200 w 9397013"/>
              <a:gd name="connsiteY15-2176" fmla="*/ 5985735 h 6925856"/>
              <a:gd name="connsiteX16-2177" fmla="*/ 1566201 w 9397013"/>
              <a:gd name="connsiteY16-2178" fmla="*/ 5394811 h 6925856"/>
              <a:gd name="connsiteX17-2179" fmla="*/ 5641256 w 9397013"/>
              <a:gd name="connsiteY17-2180" fmla="*/ 4084 h 6925856"/>
              <a:gd name="connsiteX18-2181" fmla="*/ 6077099 w 9397013"/>
              <a:gd name="connsiteY18-2182" fmla="*/ 17286 h 6925856"/>
              <a:gd name="connsiteX19-2183" fmla="*/ 1580200 w 9397013"/>
              <a:gd name="connsiteY19-2184" fmla="*/ 5985735 h 6925856"/>
              <a:gd name="connsiteX20-2185" fmla="*/ 6958778 w 9397013"/>
              <a:gd name="connsiteY20-2186" fmla="*/ 6916619 h 6925856"/>
              <a:gd name="connsiteX21-2187" fmla="*/ 6560038 w 9397013"/>
              <a:gd name="connsiteY21-2188" fmla="*/ 6925855 h 6925856"/>
              <a:gd name="connsiteX22-2189" fmla="*/ 3849932 w 9397013"/>
              <a:gd name="connsiteY22-2190" fmla="*/ 3388318 h 6925856"/>
              <a:gd name="connsiteX23-2191" fmla="*/ 4086202 w 9397013"/>
              <a:gd name="connsiteY23-2192" fmla="*/ 3078877 h 6925856"/>
              <a:gd name="connsiteX24-2193" fmla="*/ 6958778 w 9397013"/>
              <a:gd name="connsiteY24-2194" fmla="*/ 6916619 h 6925856"/>
              <a:gd name="connsiteX25-2195" fmla="*/ 7777211 w 9397013"/>
              <a:gd name="connsiteY25-2196" fmla="*/ 6916620 h 6925856"/>
              <a:gd name="connsiteX26-2197" fmla="*/ 7324729 w 9397013"/>
              <a:gd name="connsiteY26-2198" fmla="*/ 6916620 h 6925856"/>
              <a:gd name="connsiteX27-2199" fmla="*/ 4245793 w 9397013"/>
              <a:gd name="connsiteY27-2200" fmla="*/ 2869862 h 6925856"/>
              <a:gd name="connsiteX28-2201" fmla="*/ 4490696 w 9397013"/>
              <a:gd name="connsiteY28-2202" fmla="*/ 2549117 h 6925856"/>
              <a:gd name="connsiteX29-2203" fmla="*/ 7777211 w 9397013"/>
              <a:gd name="connsiteY29-2204" fmla="*/ 6916620 h 6925856"/>
              <a:gd name="connsiteX30-2205" fmla="*/ 8567691 w 9397013"/>
              <a:gd name="connsiteY30-2206" fmla="*/ 6916619 h 6925856"/>
              <a:gd name="connsiteX31-2207" fmla="*/ 8159389 w 9397013"/>
              <a:gd name="connsiteY31-2208" fmla="*/ 6925856 h 6925856"/>
              <a:gd name="connsiteX32-2209" fmla="*/ 4650570 w 9397013"/>
              <a:gd name="connsiteY32-2210" fmla="*/ 2339732 h 6925856"/>
              <a:gd name="connsiteX33-2211" fmla="*/ 4869244 w 9397013"/>
              <a:gd name="connsiteY33-2212" fmla="*/ 2053337 h 6925856"/>
              <a:gd name="connsiteX34-2213" fmla="*/ 8567691 w 9397013"/>
              <a:gd name="connsiteY34-2214" fmla="*/ 6916619 h 6925856"/>
              <a:gd name="connsiteX35-2215" fmla="*/ 9397013 w 9397013"/>
              <a:gd name="connsiteY35-2216" fmla="*/ 6925855 h 6925856"/>
              <a:gd name="connsiteX36-2217" fmla="*/ 8921338 w 9397013"/>
              <a:gd name="connsiteY36-2218" fmla="*/ 6907383 h 6925856"/>
              <a:gd name="connsiteX37-2219" fmla="*/ 5045299 w 9397013"/>
              <a:gd name="connsiteY37-2220" fmla="*/ 1822761 h 6925856"/>
              <a:gd name="connsiteX38-2221" fmla="*/ 5273037 w 9397013"/>
              <a:gd name="connsiteY38-2222" fmla="*/ 1524494 h 6925856"/>
              <a:gd name="connsiteX39-2223" fmla="*/ 9397013 w 9397013"/>
              <a:gd name="connsiteY39-2224" fmla="*/ 6925855 h 6925856"/>
              <a:gd name="connsiteX0-2225" fmla="*/ 168369 w 9397013"/>
              <a:gd name="connsiteY0-2226" fmla="*/ 4571581 h 6925856"/>
              <a:gd name="connsiteX1-2227" fmla="*/ 0 w 9397013"/>
              <a:gd name="connsiteY1-2228" fmla="*/ 4200794 h 6925856"/>
              <a:gd name="connsiteX2-2229" fmla="*/ 3175788 w 9397013"/>
              <a:gd name="connsiteY2-2230" fmla="*/ 4084 h 6925856"/>
              <a:gd name="connsiteX3-2231" fmla="*/ 3628305 w 9397013"/>
              <a:gd name="connsiteY3-2232" fmla="*/ 0 h 6925856"/>
              <a:gd name="connsiteX4-2233" fmla="*/ 168369 w 9397013"/>
              <a:gd name="connsiteY4-2234" fmla="*/ 4571581 h 6925856"/>
              <a:gd name="connsiteX5-2235" fmla="*/ 488220 w 9397013"/>
              <a:gd name="connsiteY5-2236" fmla="*/ 5275963 h 6925856"/>
              <a:gd name="connsiteX6-2237" fmla="*/ 299082 w 9397013"/>
              <a:gd name="connsiteY6-2238" fmla="*/ 4859439 h 6925856"/>
              <a:gd name="connsiteX7-2239" fmla="*/ 3977147 w 9397013"/>
              <a:gd name="connsiteY7-2240" fmla="*/ 3723 h 6925856"/>
              <a:gd name="connsiteX8-2241" fmla="*/ 4465006 w 9397013"/>
              <a:gd name="connsiteY8-2242" fmla="*/ 840 h 6925856"/>
              <a:gd name="connsiteX9-2243" fmla="*/ 488220 w 9397013"/>
              <a:gd name="connsiteY9-2244" fmla="*/ 5275963 h 6925856"/>
              <a:gd name="connsiteX10-2245" fmla="*/ 1573749 w 9397013"/>
              <a:gd name="connsiteY10-2246" fmla="*/ 4882781 h 6925856"/>
              <a:gd name="connsiteX11-2247" fmla="*/ 1550937 w 9397013"/>
              <a:gd name="connsiteY11-2248" fmla="*/ 4315002 h 6925856"/>
              <a:gd name="connsiteX12-2249" fmla="*/ 4805164 w 9397013"/>
              <a:gd name="connsiteY12-2250" fmla="*/ 4602 h 6925856"/>
              <a:gd name="connsiteX13-2251" fmla="*/ 5260238 w 9397013"/>
              <a:gd name="connsiteY13-2252" fmla="*/ 25779 h 6925856"/>
              <a:gd name="connsiteX14-2253" fmla="*/ 1573749 w 9397013"/>
              <a:gd name="connsiteY14-2254" fmla="*/ 4882781 h 6925856"/>
              <a:gd name="connsiteX15-2255" fmla="*/ 1580200 w 9397013"/>
              <a:gd name="connsiteY15-2256" fmla="*/ 5985735 h 6925856"/>
              <a:gd name="connsiteX16-2257" fmla="*/ 1566201 w 9397013"/>
              <a:gd name="connsiteY16-2258" fmla="*/ 5394811 h 6925856"/>
              <a:gd name="connsiteX17-2259" fmla="*/ 5641256 w 9397013"/>
              <a:gd name="connsiteY17-2260" fmla="*/ 4084 h 6925856"/>
              <a:gd name="connsiteX18-2261" fmla="*/ 6077099 w 9397013"/>
              <a:gd name="connsiteY18-2262" fmla="*/ 17286 h 6925856"/>
              <a:gd name="connsiteX19-2263" fmla="*/ 1580200 w 9397013"/>
              <a:gd name="connsiteY19-2264" fmla="*/ 5985735 h 6925856"/>
              <a:gd name="connsiteX20-2265" fmla="*/ 6958778 w 9397013"/>
              <a:gd name="connsiteY20-2266" fmla="*/ 6916619 h 6925856"/>
              <a:gd name="connsiteX21-2267" fmla="*/ 6560038 w 9397013"/>
              <a:gd name="connsiteY21-2268" fmla="*/ 6925855 h 6925856"/>
              <a:gd name="connsiteX22-2269" fmla="*/ 3849932 w 9397013"/>
              <a:gd name="connsiteY22-2270" fmla="*/ 3388318 h 6925856"/>
              <a:gd name="connsiteX23-2271" fmla="*/ 4086202 w 9397013"/>
              <a:gd name="connsiteY23-2272" fmla="*/ 3078877 h 6925856"/>
              <a:gd name="connsiteX24-2273" fmla="*/ 6958778 w 9397013"/>
              <a:gd name="connsiteY24-2274" fmla="*/ 6916619 h 6925856"/>
              <a:gd name="connsiteX25-2275" fmla="*/ 7777211 w 9397013"/>
              <a:gd name="connsiteY25-2276" fmla="*/ 6916620 h 6925856"/>
              <a:gd name="connsiteX26-2277" fmla="*/ 7324729 w 9397013"/>
              <a:gd name="connsiteY26-2278" fmla="*/ 6916620 h 6925856"/>
              <a:gd name="connsiteX27-2279" fmla="*/ 4245793 w 9397013"/>
              <a:gd name="connsiteY27-2280" fmla="*/ 2869862 h 6925856"/>
              <a:gd name="connsiteX28-2281" fmla="*/ 4490696 w 9397013"/>
              <a:gd name="connsiteY28-2282" fmla="*/ 2549117 h 6925856"/>
              <a:gd name="connsiteX29-2283" fmla="*/ 7777211 w 9397013"/>
              <a:gd name="connsiteY29-2284" fmla="*/ 6916620 h 6925856"/>
              <a:gd name="connsiteX30-2285" fmla="*/ 8567691 w 9397013"/>
              <a:gd name="connsiteY30-2286" fmla="*/ 6916619 h 6925856"/>
              <a:gd name="connsiteX31-2287" fmla="*/ 8159389 w 9397013"/>
              <a:gd name="connsiteY31-2288" fmla="*/ 6925856 h 6925856"/>
              <a:gd name="connsiteX32-2289" fmla="*/ 4650570 w 9397013"/>
              <a:gd name="connsiteY32-2290" fmla="*/ 2339732 h 6925856"/>
              <a:gd name="connsiteX33-2291" fmla="*/ 4869244 w 9397013"/>
              <a:gd name="connsiteY33-2292" fmla="*/ 2053337 h 6925856"/>
              <a:gd name="connsiteX34-2293" fmla="*/ 8567691 w 9397013"/>
              <a:gd name="connsiteY34-2294" fmla="*/ 6916619 h 6925856"/>
              <a:gd name="connsiteX35-2295" fmla="*/ 9397013 w 9397013"/>
              <a:gd name="connsiteY35-2296" fmla="*/ 6925855 h 6925856"/>
              <a:gd name="connsiteX36-2297" fmla="*/ 8921338 w 9397013"/>
              <a:gd name="connsiteY36-2298" fmla="*/ 6907383 h 6925856"/>
              <a:gd name="connsiteX37-2299" fmla="*/ 5045299 w 9397013"/>
              <a:gd name="connsiteY37-2300" fmla="*/ 1822761 h 6925856"/>
              <a:gd name="connsiteX38-2301" fmla="*/ 5273037 w 9397013"/>
              <a:gd name="connsiteY38-2302" fmla="*/ 1524494 h 6925856"/>
              <a:gd name="connsiteX39-2303" fmla="*/ 9397013 w 9397013"/>
              <a:gd name="connsiteY39-2304" fmla="*/ 6925855 h 6925856"/>
              <a:gd name="connsiteX0-2305" fmla="*/ 168369 w 9397013"/>
              <a:gd name="connsiteY0-2306" fmla="*/ 4571581 h 6925856"/>
              <a:gd name="connsiteX1-2307" fmla="*/ 0 w 9397013"/>
              <a:gd name="connsiteY1-2308" fmla="*/ 4200794 h 6925856"/>
              <a:gd name="connsiteX2-2309" fmla="*/ 3175788 w 9397013"/>
              <a:gd name="connsiteY2-2310" fmla="*/ 4084 h 6925856"/>
              <a:gd name="connsiteX3-2311" fmla="*/ 3628305 w 9397013"/>
              <a:gd name="connsiteY3-2312" fmla="*/ 0 h 6925856"/>
              <a:gd name="connsiteX4-2313" fmla="*/ 168369 w 9397013"/>
              <a:gd name="connsiteY4-2314" fmla="*/ 4571581 h 6925856"/>
              <a:gd name="connsiteX5-2315" fmla="*/ 1578111 w 9397013"/>
              <a:gd name="connsiteY5-2316" fmla="*/ 3835090 h 6925856"/>
              <a:gd name="connsiteX6-2317" fmla="*/ 299082 w 9397013"/>
              <a:gd name="connsiteY6-2318" fmla="*/ 4859439 h 6925856"/>
              <a:gd name="connsiteX7-2319" fmla="*/ 3977147 w 9397013"/>
              <a:gd name="connsiteY7-2320" fmla="*/ 3723 h 6925856"/>
              <a:gd name="connsiteX8-2321" fmla="*/ 4465006 w 9397013"/>
              <a:gd name="connsiteY8-2322" fmla="*/ 840 h 6925856"/>
              <a:gd name="connsiteX9-2323" fmla="*/ 1578111 w 9397013"/>
              <a:gd name="connsiteY9-2324" fmla="*/ 3835090 h 6925856"/>
              <a:gd name="connsiteX10-2325" fmla="*/ 1573749 w 9397013"/>
              <a:gd name="connsiteY10-2326" fmla="*/ 4882781 h 6925856"/>
              <a:gd name="connsiteX11-2327" fmla="*/ 1550937 w 9397013"/>
              <a:gd name="connsiteY11-2328" fmla="*/ 4315002 h 6925856"/>
              <a:gd name="connsiteX12-2329" fmla="*/ 4805164 w 9397013"/>
              <a:gd name="connsiteY12-2330" fmla="*/ 4602 h 6925856"/>
              <a:gd name="connsiteX13-2331" fmla="*/ 5260238 w 9397013"/>
              <a:gd name="connsiteY13-2332" fmla="*/ 25779 h 6925856"/>
              <a:gd name="connsiteX14-2333" fmla="*/ 1573749 w 9397013"/>
              <a:gd name="connsiteY14-2334" fmla="*/ 4882781 h 6925856"/>
              <a:gd name="connsiteX15-2335" fmla="*/ 1580200 w 9397013"/>
              <a:gd name="connsiteY15-2336" fmla="*/ 5985735 h 6925856"/>
              <a:gd name="connsiteX16-2337" fmla="*/ 1566201 w 9397013"/>
              <a:gd name="connsiteY16-2338" fmla="*/ 5394811 h 6925856"/>
              <a:gd name="connsiteX17-2339" fmla="*/ 5641256 w 9397013"/>
              <a:gd name="connsiteY17-2340" fmla="*/ 4084 h 6925856"/>
              <a:gd name="connsiteX18-2341" fmla="*/ 6077099 w 9397013"/>
              <a:gd name="connsiteY18-2342" fmla="*/ 17286 h 6925856"/>
              <a:gd name="connsiteX19-2343" fmla="*/ 1580200 w 9397013"/>
              <a:gd name="connsiteY19-2344" fmla="*/ 5985735 h 6925856"/>
              <a:gd name="connsiteX20-2345" fmla="*/ 6958778 w 9397013"/>
              <a:gd name="connsiteY20-2346" fmla="*/ 6916619 h 6925856"/>
              <a:gd name="connsiteX21-2347" fmla="*/ 6560038 w 9397013"/>
              <a:gd name="connsiteY21-2348" fmla="*/ 6925855 h 6925856"/>
              <a:gd name="connsiteX22-2349" fmla="*/ 3849932 w 9397013"/>
              <a:gd name="connsiteY22-2350" fmla="*/ 3388318 h 6925856"/>
              <a:gd name="connsiteX23-2351" fmla="*/ 4086202 w 9397013"/>
              <a:gd name="connsiteY23-2352" fmla="*/ 3078877 h 6925856"/>
              <a:gd name="connsiteX24-2353" fmla="*/ 6958778 w 9397013"/>
              <a:gd name="connsiteY24-2354" fmla="*/ 6916619 h 6925856"/>
              <a:gd name="connsiteX25-2355" fmla="*/ 7777211 w 9397013"/>
              <a:gd name="connsiteY25-2356" fmla="*/ 6916620 h 6925856"/>
              <a:gd name="connsiteX26-2357" fmla="*/ 7324729 w 9397013"/>
              <a:gd name="connsiteY26-2358" fmla="*/ 6916620 h 6925856"/>
              <a:gd name="connsiteX27-2359" fmla="*/ 4245793 w 9397013"/>
              <a:gd name="connsiteY27-2360" fmla="*/ 2869862 h 6925856"/>
              <a:gd name="connsiteX28-2361" fmla="*/ 4490696 w 9397013"/>
              <a:gd name="connsiteY28-2362" fmla="*/ 2549117 h 6925856"/>
              <a:gd name="connsiteX29-2363" fmla="*/ 7777211 w 9397013"/>
              <a:gd name="connsiteY29-2364" fmla="*/ 6916620 h 6925856"/>
              <a:gd name="connsiteX30-2365" fmla="*/ 8567691 w 9397013"/>
              <a:gd name="connsiteY30-2366" fmla="*/ 6916619 h 6925856"/>
              <a:gd name="connsiteX31-2367" fmla="*/ 8159389 w 9397013"/>
              <a:gd name="connsiteY31-2368" fmla="*/ 6925856 h 6925856"/>
              <a:gd name="connsiteX32-2369" fmla="*/ 4650570 w 9397013"/>
              <a:gd name="connsiteY32-2370" fmla="*/ 2339732 h 6925856"/>
              <a:gd name="connsiteX33-2371" fmla="*/ 4869244 w 9397013"/>
              <a:gd name="connsiteY33-2372" fmla="*/ 2053337 h 6925856"/>
              <a:gd name="connsiteX34-2373" fmla="*/ 8567691 w 9397013"/>
              <a:gd name="connsiteY34-2374" fmla="*/ 6916619 h 6925856"/>
              <a:gd name="connsiteX35-2375" fmla="*/ 9397013 w 9397013"/>
              <a:gd name="connsiteY35-2376" fmla="*/ 6925855 h 6925856"/>
              <a:gd name="connsiteX36-2377" fmla="*/ 8921338 w 9397013"/>
              <a:gd name="connsiteY36-2378" fmla="*/ 6907383 h 6925856"/>
              <a:gd name="connsiteX37-2379" fmla="*/ 5045299 w 9397013"/>
              <a:gd name="connsiteY37-2380" fmla="*/ 1822761 h 6925856"/>
              <a:gd name="connsiteX38-2381" fmla="*/ 5273037 w 9397013"/>
              <a:gd name="connsiteY38-2382" fmla="*/ 1524494 h 6925856"/>
              <a:gd name="connsiteX39-2383" fmla="*/ 9397013 w 9397013"/>
              <a:gd name="connsiteY39-2384" fmla="*/ 6925855 h 6925856"/>
              <a:gd name="connsiteX0-2385" fmla="*/ 168369 w 9397013"/>
              <a:gd name="connsiteY0-2386" fmla="*/ 4571581 h 6925856"/>
              <a:gd name="connsiteX1-2387" fmla="*/ 0 w 9397013"/>
              <a:gd name="connsiteY1-2388" fmla="*/ 4200794 h 6925856"/>
              <a:gd name="connsiteX2-2389" fmla="*/ 3175788 w 9397013"/>
              <a:gd name="connsiteY2-2390" fmla="*/ 4084 h 6925856"/>
              <a:gd name="connsiteX3-2391" fmla="*/ 3628305 w 9397013"/>
              <a:gd name="connsiteY3-2392" fmla="*/ 0 h 6925856"/>
              <a:gd name="connsiteX4-2393" fmla="*/ 168369 w 9397013"/>
              <a:gd name="connsiteY4-2394" fmla="*/ 4571581 h 6925856"/>
              <a:gd name="connsiteX5-2395" fmla="*/ 1578111 w 9397013"/>
              <a:gd name="connsiteY5-2396" fmla="*/ 3835090 h 6925856"/>
              <a:gd name="connsiteX6-2397" fmla="*/ 1564463 w 9397013"/>
              <a:gd name="connsiteY6-2398" fmla="*/ 3206130 h 6925856"/>
              <a:gd name="connsiteX7-2399" fmla="*/ 3977147 w 9397013"/>
              <a:gd name="connsiteY7-2400" fmla="*/ 3723 h 6925856"/>
              <a:gd name="connsiteX8-2401" fmla="*/ 4465006 w 9397013"/>
              <a:gd name="connsiteY8-2402" fmla="*/ 840 h 6925856"/>
              <a:gd name="connsiteX9-2403" fmla="*/ 1578111 w 9397013"/>
              <a:gd name="connsiteY9-2404" fmla="*/ 3835090 h 6925856"/>
              <a:gd name="connsiteX10-2405" fmla="*/ 1573749 w 9397013"/>
              <a:gd name="connsiteY10-2406" fmla="*/ 4882781 h 6925856"/>
              <a:gd name="connsiteX11-2407" fmla="*/ 1550937 w 9397013"/>
              <a:gd name="connsiteY11-2408" fmla="*/ 4315002 h 6925856"/>
              <a:gd name="connsiteX12-2409" fmla="*/ 4805164 w 9397013"/>
              <a:gd name="connsiteY12-2410" fmla="*/ 4602 h 6925856"/>
              <a:gd name="connsiteX13-2411" fmla="*/ 5260238 w 9397013"/>
              <a:gd name="connsiteY13-2412" fmla="*/ 25779 h 6925856"/>
              <a:gd name="connsiteX14-2413" fmla="*/ 1573749 w 9397013"/>
              <a:gd name="connsiteY14-2414" fmla="*/ 4882781 h 6925856"/>
              <a:gd name="connsiteX15-2415" fmla="*/ 1580200 w 9397013"/>
              <a:gd name="connsiteY15-2416" fmla="*/ 5985735 h 6925856"/>
              <a:gd name="connsiteX16-2417" fmla="*/ 1566201 w 9397013"/>
              <a:gd name="connsiteY16-2418" fmla="*/ 5394811 h 6925856"/>
              <a:gd name="connsiteX17-2419" fmla="*/ 5641256 w 9397013"/>
              <a:gd name="connsiteY17-2420" fmla="*/ 4084 h 6925856"/>
              <a:gd name="connsiteX18-2421" fmla="*/ 6077099 w 9397013"/>
              <a:gd name="connsiteY18-2422" fmla="*/ 17286 h 6925856"/>
              <a:gd name="connsiteX19-2423" fmla="*/ 1580200 w 9397013"/>
              <a:gd name="connsiteY19-2424" fmla="*/ 5985735 h 6925856"/>
              <a:gd name="connsiteX20-2425" fmla="*/ 6958778 w 9397013"/>
              <a:gd name="connsiteY20-2426" fmla="*/ 6916619 h 6925856"/>
              <a:gd name="connsiteX21-2427" fmla="*/ 6560038 w 9397013"/>
              <a:gd name="connsiteY21-2428" fmla="*/ 6925855 h 6925856"/>
              <a:gd name="connsiteX22-2429" fmla="*/ 3849932 w 9397013"/>
              <a:gd name="connsiteY22-2430" fmla="*/ 3388318 h 6925856"/>
              <a:gd name="connsiteX23-2431" fmla="*/ 4086202 w 9397013"/>
              <a:gd name="connsiteY23-2432" fmla="*/ 3078877 h 6925856"/>
              <a:gd name="connsiteX24-2433" fmla="*/ 6958778 w 9397013"/>
              <a:gd name="connsiteY24-2434" fmla="*/ 6916619 h 6925856"/>
              <a:gd name="connsiteX25-2435" fmla="*/ 7777211 w 9397013"/>
              <a:gd name="connsiteY25-2436" fmla="*/ 6916620 h 6925856"/>
              <a:gd name="connsiteX26-2437" fmla="*/ 7324729 w 9397013"/>
              <a:gd name="connsiteY26-2438" fmla="*/ 6916620 h 6925856"/>
              <a:gd name="connsiteX27-2439" fmla="*/ 4245793 w 9397013"/>
              <a:gd name="connsiteY27-2440" fmla="*/ 2869862 h 6925856"/>
              <a:gd name="connsiteX28-2441" fmla="*/ 4490696 w 9397013"/>
              <a:gd name="connsiteY28-2442" fmla="*/ 2549117 h 6925856"/>
              <a:gd name="connsiteX29-2443" fmla="*/ 7777211 w 9397013"/>
              <a:gd name="connsiteY29-2444" fmla="*/ 6916620 h 6925856"/>
              <a:gd name="connsiteX30-2445" fmla="*/ 8567691 w 9397013"/>
              <a:gd name="connsiteY30-2446" fmla="*/ 6916619 h 6925856"/>
              <a:gd name="connsiteX31-2447" fmla="*/ 8159389 w 9397013"/>
              <a:gd name="connsiteY31-2448" fmla="*/ 6925856 h 6925856"/>
              <a:gd name="connsiteX32-2449" fmla="*/ 4650570 w 9397013"/>
              <a:gd name="connsiteY32-2450" fmla="*/ 2339732 h 6925856"/>
              <a:gd name="connsiteX33-2451" fmla="*/ 4869244 w 9397013"/>
              <a:gd name="connsiteY33-2452" fmla="*/ 2053337 h 6925856"/>
              <a:gd name="connsiteX34-2453" fmla="*/ 8567691 w 9397013"/>
              <a:gd name="connsiteY34-2454" fmla="*/ 6916619 h 6925856"/>
              <a:gd name="connsiteX35-2455" fmla="*/ 9397013 w 9397013"/>
              <a:gd name="connsiteY35-2456" fmla="*/ 6925855 h 6925856"/>
              <a:gd name="connsiteX36-2457" fmla="*/ 8921338 w 9397013"/>
              <a:gd name="connsiteY36-2458" fmla="*/ 6907383 h 6925856"/>
              <a:gd name="connsiteX37-2459" fmla="*/ 5045299 w 9397013"/>
              <a:gd name="connsiteY37-2460" fmla="*/ 1822761 h 6925856"/>
              <a:gd name="connsiteX38-2461" fmla="*/ 5273037 w 9397013"/>
              <a:gd name="connsiteY38-2462" fmla="*/ 1524494 h 6925856"/>
              <a:gd name="connsiteX39-2463" fmla="*/ 9397013 w 9397013"/>
              <a:gd name="connsiteY39-2464" fmla="*/ 6925855 h 6925856"/>
              <a:gd name="connsiteX0-2465" fmla="*/ 1572296 w 9397013"/>
              <a:gd name="connsiteY0-2466" fmla="*/ 2715072 h 6925856"/>
              <a:gd name="connsiteX1-2467" fmla="*/ 0 w 9397013"/>
              <a:gd name="connsiteY1-2468" fmla="*/ 4200794 h 6925856"/>
              <a:gd name="connsiteX2-2469" fmla="*/ 3175788 w 9397013"/>
              <a:gd name="connsiteY2-2470" fmla="*/ 4084 h 6925856"/>
              <a:gd name="connsiteX3-2471" fmla="*/ 3628305 w 9397013"/>
              <a:gd name="connsiteY3-2472" fmla="*/ 0 h 6925856"/>
              <a:gd name="connsiteX4-2473" fmla="*/ 1572296 w 9397013"/>
              <a:gd name="connsiteY4-2474" fmla="*/ 2715072 h 6925856"/>
              <a:gd name="connsiteX5-2475" fmla="*/ 1578111 w 9397013"/>
              <a:gd name="connsiteY5-2476" fmla="*/ 3835090 h 6925856"/>
              <a:gd name="connsiteX6-2477" fmla="*/ 1564463 w 9397013"/>
              <a:gd name="connsiteY6-2478" fmla="*/ 3206130 h 6925856"/>
              <a:gd name="connsiteX7-2479" fmla="*/ 3977147 w 9397013"/>
              <a:gd name="connsiteY7-2480" fmla="*/ 3723 h 6925856"/>
              <a:gd name="connsiteX8-2481" fmla="*/ 4465006 w 9397013"/>
              <a:gd name="connsiteY8-2482" fmla="*/ 840 h 6925856"/>
              <a:gd name="connsiteX9-2483" fmla="*/ 1578111 w 9397013"/>
              <a:gd name="connsiteY9-2484" fmla="*/ 3835090 h 6925856"/>
              <a:gd name="connsiteX10-2485" fmla="*/ 1573749 w 9397013"/>
              <a:gd name="connsiteY10-2486" fmla="*/ 4882781 h 6925856"/>
              <a:gd name="connsiteX11-2487" fmla="*/ 1550937 w 9397013"/>
              <a:gd name="connsiteY11-2488" fmla="*/ 4315002 h 6925856"/>
              <a:gd name="connsiteX12-2489" fmla="*/ 4805164 w 9397013"/>
              <a:gd name="connsiteY12-2490" fmla="*/ 4602 h 6925856"/>
              <a:gd name="connsiteX13-2491" fmla="*/ 5260238 w 9397013"/>
              <a:gd name="connsiteY13-2492" fmla="*/ 25779 h 6925856"/>
              <a:gd name="connsiteX14-2493" fmla="*/ 1573749 w 9397013"/>
              <a:gd name="connsiteY14-2494" fmla="*/ 4882781 h 6925856"/>
              <a:gd name="connsiteX15-2495" fmla="*/ 1580200 w 9397013"/>
              <a:gd name="connsiteY15-2496" fmla="*/ 5985735 h 6925856"/>
              <a:gd name="connsiteX16-2497" fmla="*/ 1566201 w 9397013"/>
              <a:gd name="connsiteY16-2498" fmla="*/ 5394811 h 6925856"/>
              <a:gd name="connsiteX17-2499" fmla="*/ 5641256 w 9397013"/>
              <a:gd name="connsiteY17-2500" fmla="*/ 4084 h 6925856"/>
              <a:gd name="connsiteX18-2501" fmla="*/ 6077099 w 9397013"/>
              <a:gd name="connsiteY18-2502" fmla="*/ 17286 h 6925856"/>
              <a:gd name="connsiteX19-2503" fmla="*/ 1580200 w 9397013"/>
              <a:gd name="connsiteY19-2504" fmla="*/ 5985735 h 6925856"/>
              <a:gd name="connsiteX20-2505" fmla="*/ 6958778 w 9397013"/>
              <a:gd name="connsiteY20-2506" fmla="*/ 6916619 h 6925856"/>
              <a:gd name="connsiteX21-2507" fmla="*/ 6560038 w 9397013"/>
              <a:gd name="connsiteY21-2508" fmla="*/ 6925855 h 6925856"/>
              <a:gd name="connsiteX22-2509" fmla="*/ 3849932 w 9397013"/>
              <a:gd name="connsiteY22-2510" fmla="*/ 3388318 h 6925856"/>
              <a:gd name="connsiteX23-2511" fmla="*/ 4086202 w 9397013"/>
              <a:gd name="connsiteY23-2512" fmla="*/ 3078877 h 6925856"/>
              <a:gd name="connsiteX24-2513" fmla="*/ 6958778 w 9397013"/>
              <a:gd name="connsiteY24-2514" fmla="*/ 6916619 h 6925856"/>
              <a:gd name="connsiteX25-2515" fmla="*/ 7777211 w 9397013"/>
              <a:gd name="connsiteY25-2516" fmla="*/ 6916620 h 6925856"/>
              <a:gd name="connsiteX26-2517" fmla="*/ 7324729 w 9397013"/>
              <a:gd name="connsiteY26-2518" fmla="*/ 6916620 h 6925856"/>
              <a:gd name="connsiteX27-2519" fmla="*/ 4245793 w 9397013"/>
              <a:gd name="connsiteY27-2520" fmla="*/ 2869862 h 6925856"/>
              <a:gd name="connsiteX28-2521" fmla="*/ 4490696 w 9397013"/>
              <a:gd name="connsiteY28-2522" fmla="*/ 2549117 h 6925856"/>
              <a:gd name="connsiteX29-2523" fmla="*/ 7777211 w 9397013"/>
              <a:gd name="connsiteY29-2524" fmla="*/ 6916620 h 6925856"/>
              <a:gd name="connsiteX30-2525" fmla="*/ 8567691 w 9397013"/>
              <a:gd name="connsiteY30-2526" fmla="*/ 6916619 h 6925856"/>
              <a:gd name="connsiteX31-2527" fmla="*/ 8159389 w 9397013"/>
              <a:gd name="connsiteY31-2528" fmla="*/ 6925856 h 6925856"/>
              <a:gd name="connsiteX32-2529" fmla="*/ 4650570 w 9397013"/>
              <a:gd name="connsiteY32-2530" fmla="*/ 2339732 h 6925856"/>
              <a:gd name="connsiteX33-2531" fmla="*/ 4869244 w 9397013"/>
              <a:gd name="connsiteY33-2532" fmla="*/ 2053337 h 6925856"/>
              <a:gd name="connsiteX34-2533" fmla="*/ 8567691 w 9397013"/>
              <a:gd name="connsiteY34-2534" fmla="*/ 6916619 h 6925856"/>
              <a:gd name="connsiteX35-2535" fmla="*/ 9397013 w 9397013"/>
              <a:gd name="connsiteY35-2536" fmla="*/ 6925855 h 6925856"/>
              <a:gd name="connsiteX36-2537" fmla="*/ 8921338 w 9397013"/>
              <a:gd name="connsiteY36-2538" fmla="*/ 6907383 h 6925856"/>
              <a:gd name="connsiteX37-2539" fmla="*/ 5045299 w 9397013"/>
              <a:gd name="connsiteY37-2540" fmla="*/ 1822761 h 6925856"/>
              <a:gd name="connsiteX38-2541" fmla="*/ 5273037 w 9397013"/>
              <a:gd name="connsiteY38-2542" fmla="*/ 1524494 h 6925856"/>
              <a:gd name="connsiteX39-2543" fmla="*/ 9397013 w 9397013"/>
              <a:gd name="connsiteY39-2544" fmla="*/ 6925855 h 6925856"/>
              <a:gd name="connsiteX0-2545" fmla="*/ 21359 w 7846076"/>
              <a:gd name="connsiteY0-2546" fmla="*/ 2715072 h 6925856"/>
              <a:gd name="connsiteX1-2547" fmla="*/ 28481 w 7846076"/>
              <a:gd name="connsiteY1-2548" fmla="*/ 2104139 h 6925856"/>
              <a:gd name="connsiteX2-2549" fmla="*/ 1624851 w 7846076"/>
              <a:gd name="connsiteY2-2550" fmla="*/ 4084 h 6925856"/>
              <a:gd name="connsiteX3-2551" fmla="*/ 2077368 w 7846076"/>
              <a:gd name="connsiteY3-2552" fmla="*/ 0 h 6925856"/>
              <a:gd name="connsiteX4-2553" fmla="*/ 21359 w 7846076"/>
              <a:gd name="connsiteY4-2554" fmla="*/ 2715072 h 6925856"/>
              <a:gd name="connsiteX5-2555" fmla="*/ 27174 w 7846076"/>
              <a:gd name="connsiteY5-2556" fmla="*/ 3835090 h 6925856"/>
              <a:gd name="connsiteX6-2557" fmla="*/ 13526 w 7846076"/>
              <a:gd name="connsiteY6-2558" fmla="*/ 3206130 h 6925856"/>
              <a:gd name="connsiteX7-2559" fmla="*/ 2426210 w 7846076"/>
              <a:gd name="connsiteY7-2560" fmla="*/ 3723 h 6925856"/>
              <a:gd name="connsiteX8-2561" fmla="*/ 2914069 w 7846076"/>
              <a:gd name="connsiteY8-2562" fmla="*/ 840 h 6925856"/>
              <a:gd name="connsiteX9-2563" fmla="*/ 27174 w 7846076"/>
              <a:gd name="connsiteY9-2564" fmla="*/ 3835090 h 6925856"/>
              <a:gd name="connsiteX10-2565" fmla="*/ 22812 w 7846076"/>
              <a:gd name="connsiteY10-2566" fmla="*/ 4882781 h 6925856"/>
              <a:gd name="connsiteX11-2567" fmla="*/ 0 w 7846076"/>
              <a:gd name="connsiteY11-2568" fmla="*/ 4315002 h 6925856"/>
              <a:gd name="connsiteX12-2569" fmla="*/ 3254227 w 7846076"/>
              <a:gd name="connsiteY12-2570" fmla="*/ 4602 h 6925856"/>
              <a:gd name="connsiteX13-2571" fmla="*/ 3709301 w 7846076"/>
              <a:gd name="connsiteY13-2572" fmla="*/ 25779 h 6925856"/>
              <a:gd name="connsiteX14-2573" fmla="*/ 22812 w 7846076"/>
              <a:gd name="connsiteY14-2574" fmla="*/ 4882781 h 6925856"/>
              <a:gd name="connsiteX15-2575" fmla="*/ 29263 w 7846076"/>
              <a:gd name="connsiteY15-2576" fmla="*/ 5985735 h 6925856"/>
              <a:gd name="connsiteX16-2577" fmla="*/ 15264 w 7846076"/>
              <a:gd name="connsiteY16-2578" fmla="*/ 5394811 h 6925856"/>
              <a:gd name="connsiteX17-2579" fmla="*/ 4090319 w 7846076"/>
              <a:gd name="connsiteY17-2580" fmla="*/ 4084 h 6925856"/>
              <a:gd name="connsiteX18-2581" fmla="*/ 4526162 w 7846076"/>
              <a:gd name="connsiteY18-2582" fmla="*/ 17286 h 6925856"/>
              <a:gd name="connsiteX19-2583" fmla="*/ 29263 w 7846076"/>
              <a:gd name="connsiteY19-2584" fmla="*/ 5985735 h 6925856"/>
              <a:gd name="connsiteX20-2585" fmla="*/ 5407841 w 7846076"/>
              <a:gd name="connsiteY20-2586" fmla="*/ 6916619 h 6925856"/>
              <a:gd name="connsiteX21-2587" fmla="*/ 5009101 w 7846076"/>
              <a:gd name="connsiteY21-2588" fmla="*/ 6925855 h 6925856"/>
              <a:gd name="connsiteX22-2589" fmla="*/ 2298995 w 7846076"/>
              <a:gd name="connsiteY22-2590" fmla="*/ 3388318 h 6925856"/>
              <a:gd name="connsiteX23-2591" fmla="*/ 2535265 w 7846076"/>
              <a:gd name="connsiteY23-2592" fmla="*/ 3078877 h 6925856"/>
              <a:gd name="connsiteX24-2593" fmla="*/ 5407841 w 7846076"/>
              <a:gd name="connsiteY24-2594" fmla="*/ 6916619 h 6925856"/>
              <a:gd name="connsiteX25-2595" fmla="*/ 6226274 w 7846076"/>
              <a:gd name="connsiteY25-2596" fmla="*/ 6916620 h 6925856"/>
              <a:gd name="connsiteX26-2597" fmla="*/ 5773792 w 7846076"/>
              <a:gd name="connsiteY26-2598" fmla="*/ 6916620 h 6925856"/>
              <a:gd name="connsiteX27-2599" fmla="*/ 2694856 w 7846076"/>
              <a:gd name="connsiteY27-2600" fmla="*/ 2869862 h 6925856"/>
              <a:gd name="connsiteX28-2601" fmla="*/ 2939759 w 7846076"/>
              <a:gd name="connsiteY28-2602" fmla="*/ 2549117 h 6925856"/>
              <a:gd name="connsiteX29-2603" fmla="*/ 6226274 w 7846076"/>
              <a:gd name="connsiteY29-2604" fmla="*/ 6916620 h 6925856"/>
              <a:gd name="connsiteX30-2605" fmla="*/ 7016754 w 7846076"/>
              <a:gd name="connsiteY30-2606" fmla="*/ 6916619 h 6925856"/>
              <a:gd name="connsiteX31-2607" fmla="*/ 6608452 w 7846076"/>
              <a:gd name="connsiteY31-2608" fmla="*/ 6925856 h 6925856"/>
              <a:gd name="connsiteX32-2609" fmla="*/ 3099633 w 7846076"/>
              <a:gd name="connsiteY32-2610" fmla="*/ 2339732 h 6925856"/>
              <a:gd name="connsiteX33-2611" fmla="*/ 3318307 w 7846076"/>
              <a:gd name="connsiteY33-2612" fmla="*/ 2053337 h 6925856"/>
              <a:gd name="connsiteX34-2613" fmla="*/ 7016754 w 7846076"/>
              <a:gd name="connsiteY34-2614" fmla="*/ 6916619 h 6925856"/>
              <a:gd name="connsiteX35-2615" fmla="*/ 7846076 w 7846076"/>
              <a:gd name="connsiteY35-2616" fmla="*/ 6925855 h 6925856"/>
              <a:gd name="connsiteX36-2617" fmla="*/ 7370401 w 7846076"/>
              <a:gd name="connsiteY36-2618" fmla="*/ 6907383 h 6925856"/>
              <a:gd name="connsiteX37-2619" fmla="*/ 3494362 w 7846076"/>
              <a:gd name="connsiteY37-2620" fmla="*/ 1822761 h 6925856"/>
              <a:gd name="connsiteX38-2621" fmla="*/ 3722100 w 7846076"/>
              <a:gd name="connsiteY38-2622" fmla="*/ 1524494 h 6925856"/>
              <a:gd name="connsiteX39-2623" fmla="*/ 7846076 w 7846076"/>
              <a:gd name="connsiteY39-2624" fmla="*/ 6925855 h 692585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129" y="connsiteY32-130"/>
              </a:cxn>
              <a:cxn ang="0">
                <a:pos x="connsiteX33-131" y="connsiteY33-132"/>
              </a:cxn>
              <a:cxn ang="0">
                <a:pos x="connsiteX34-133" y="connsiteY34-134"/>
              </a:cxn>
              <a:cxn ang="0">
                <a:pos x="connsiteX35-135" y="connsiteY35-136"/>
              </a:cxn>
              <a:cxn ang="0">
                <a:pos x="connsiteX36-137" y="connsiteY36-138"/>
              </a:cxn>
              <a:cxn ang="0">
                <a:pos x="connsiteX37-139" y="connsiteY37-140"/>
              </a:cxn>
              <a:cxn ang="0">
                <a:pos x="connsiteX38-141" y="connsiteY38-142"/>
              </a:cxn>
              <a:cxn ang="0">
                <a:pos x="connsiteX39-143" y="connsiteY39-144"/>
              </a:cxn>
            </a:cxnLst>
            <a:rect l="l" t="t" r="r" b="b"/>
            <a:pathLst>
              <a:path w="7846076" h="6925856">
                <a:moveTo>
                  <a:pt x="21359" y="2715072"/>
                </a:moveTo>
                <a:lnTo>
                  <a:pt x="28481" y="2104139"/>
                </a:lnTo>
                <a:lnTo>
                  <a:pt x="1624851" y="4084"/>
                </a:lnTo>
                <a:lnTo>
                  <a:pt x="2077368" y="0"/>
                </a:lnTo>
                <a:lnTo>
                  <a:pt x="21359" y="2715072"/>
                </a:lnTo>
                <a:close/>
                <a:moveTo>
                  <a:pt x="27174" y="3835090"/>
                </a:moveTo>
                <a:lnTo>
                  <a:pt x="13526" y="3206130"/>
                </a:lnTo>
                <a:lnTo>
                  <a:pt x="2426210" y="3723"/>
                </a:lnTo>
                <a:lnTo>
                  <a:pt x="2914069" y="840"/>
                </a:lnTo>
                <a:lnTo>
                  <a:pt x="27174" y="3835090"/>
                </a:lnTo>
                <a:close/>
                <a:moveTo>
                  <a:pt x="22812" y="4882781"/>
                </a:moveTo>
                <a:lnTo>
                  <a:pt x="0" y="4315002"/>
                </a:lnTo>
                <a:lnTo>
                  <a:pt x="3254227" y="4602"/>
                </a:lnTo>
                <a:lnTo>
                  <a:pt x="3709301" y="25779"/>
                </a:lnTo>
                <a:lnTo>
                  <a:pt x="22812" y="4882781"/>
                </a:lnTo>
                <a:close/>
                <a:moveTo>
                  <a:pt x="29263" y="5985735"/>
                </a:moveTo>
                <a:lnTo>
                  <a:pt x="15264" y="5394811"/>
                </a:lnTo>
                <a:lnTo>
                  <a:pt x="4090319" y="4084"/>
                </a:lnTo>
                <a:lnTo>
                  <a:pt x="4526162" y="17286"/>
                </a:lnTo>
                <a:lnTo>
                  <a:pt x="29263" y="5985735"/>
                </a:lnTo>
                <a:close/>
                <a:moveTo>
                  <a:pt x="5407841" y="6916619"/>
                </a:moveTo>
                <a:lnTo>
                  <a:pt x="5009101" y="6925855"/>
                </a:lnTo>
                <a:lnTo>
                  <a:pt x="2298995" y="3388318"/>
                </a:lnTo>
                <a:lnTo>
                  <a:pt x="2535265" y="3078877"/>
                </a:lnTo>
                <a:lnTo>
                  <a:pt x="5407841" y="6916619"/>
                </a:lnTo>
                <a:close/>
                <a:moveTo>
                  <a:pt x="6226274" y="6916620"/>
                </a:moveTo>
                <a:lnTo>
                  <a:pt x="5773792" y="6916620"/>
                </a:lnTo>
                <a:lnTo>
                  <a:pt x="2694856" y="2869862"/>
                </a:lnTo>
                <a:lnTo>
                  <a:pt x="2939759" y="2549117"/>
                </a:lnTo>
                <a:lnTo>
                  <a:pt x="6226274" y="6916620"/>
                </a:lnTo>
                <a:close/>
                <a:moveTo>
                  <a:pt x="7016754" y="6916619"/>
                </a:moveTo>
                <a:lnTo>
                  <a:pt x="6608452" y="6925856"/>
                </a:lnTo>
                <a:lnTo>
                  <a:pt x="3099633" y="2339732"/>
                </a:lnTo>
                <a:lnTo>
                  <a:pt x="3318307" y="2053337"/>
                </a:lnTo>
                <a:lnTo>
                  <a:pt x="7016754" y="6916619"/>
                </a:lnTo>
                <a:close/>
                <a:moveTo>
                  <a:pt x="7846076" y="6925855"/>
                </a:moveTo>
                <a:lnTo>
                  <a:pt x="7370401" y="6907383"/>
                </a:lnTo>
                <a:lnTo>
                  <a:pt x="3494362" y="1822761"/>
                </a:lnTo>
                <a:lnTo>
                  <a:pt x="3722100" y="1524494"/>
                </a:lnTo>
                <a:lnTo>
                  <a:pt x="7846076" y="6925855"/>
                </a:lnTo>
                <a:close/>
              </a:path>
            </a:pathLst>
          </a:custGeom>
          <a:solidFill>
            <a:schemeClr val="bg1">
              <a:lumMod val="9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5" name="文本框 4"/>
          <p:cNvSpPr txBox="1"/>
          <p:nvPr/>
        </p:nvSpPr>
        <p:spPr>
          <a:xfrm>
            <a:off x="337690" y="1330990"/>
            <a:ext cx="10907826" cy="2535951"/>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zh-CN" altLang="en-US" dirty="0"/>
              <a:t>论文创新性与其投录时间存在正相关关系，高创新性论文的投录时间要显著更长</a:t>
            </a:r>
            <a:endParaRPr lang="en-US" altLang="zh-CN" dirty="0"/>
          </a:p>
          <a:p>
            <a:pPr marL="285750" indent="-285750">
              <a:lnSpc>
                <a:spcPct val="150000"/>
              </a:lnSpc>
              <a:buFont typeface="Arial" panose="020B0604020202020204" pitchFamily="34" charset="0"/>
              <a:buChar char="•"/>
            </a:pPr>
            <a:r>
              <a:rPr lang="zh-CN" altLang="en-US" dirty="0"/>
              <a:t>高声望作者（及机构）的论文投录时间显著更短，但作者（及机构）的声望优势随着论文创新性的增长而减少</a:t>
            </a:r>
            <a:endParaRPr lang="en-US" altLang="zh-CN" dirty="0"/>
          </a:p>
          <a:p>
            <a:pPr marL="285750" indent="-285750">
              <a:lnSpc>
                <a:spcPct val="150000"/>
              </a:lnSpc>
              <a:buFont typeface="Arial" panose="020B0604020202020204" pitchFamily="34" charset="0"/>
              <a:buChar char="•"/>
            </a:pPr>
            <a:r>
              <a:rPr lang="zh-CN" altLang="en-US" dirty="0"/>
              <a:t>高声望期刊对创新性论文的偏见更大（从投录时间的角度）</a:t>
            </a:r>
            <a:endParaRPr lang="en-US" altLang="zh-CN" dirty="0"/>
          </a:p>
          <a:p>
            <a:pPr marL="285750" indent="-285750">
              <a:lnSpc>
                <a:spcPct val="150000"/>
              </a:lnSpc>
              <a:buFont typeface="Arial" panose="020B0604020202020204" pitchFamily="34" charset="0"/>
              <a:buChar char="•"/>
            </a:pPr>
            <a:r>
              <a:rPr lang="zh-CN" altLang="en-US" dirty="0"/>
              <a:t>论文创新性与其中长期影响力存在</a:t>
            </a:r>
            <a:r>
              <a:rPr lang="en-US" altLang="zh-CN" dirty="0"/>
              <a:t>U</a:t>
            </a:r>
            <a:r>
              <a:rPr lang="zh-CN" altLang="en-US" dirty="0"/>
              <a:t>型关系，高度创新的论文在更长期的影响力上较普通论文更具有优势</a:t>
            </a:r>
            <a:endParaRPr lang="en-US" altLang="zh-CN" dirty="0"/>
          </a:p>
        </p:txBody>
      </p:sp>
      <p:sp>
        <p:nvSpPr>
          <p:cNvPr id="2" name="íšľîḓê"/>
          <p:cNvSpPr>
            <a:spLocks noGrp="1"/>
          </p:cNvSpPr>
          <p:nvPr>
            <p:ph type="title"/>
          </p:nvPr>
        </p:nvSpPr>
        <p:spPr/>
        <p:txBody>
          <a:bodyPr/>
          <a:lstStyle/>
          <a:p>
            <a:r>
              <a:rPr lang="en-US" altLang="zh-CN" dirty="0"/>
              <a:t>4. </a:t>
            </a:r>
            <a:r>
              <a:rPr lang="zh-CN" altLang="en-US" dirty="0"/>
              <a:t>研究结论</a:t>
            </a:r>
            <a:endParaRPr lang="zh-CN" altLang="en-US" dirty="0"/>
          </a:p>
        </p:txBody>
      </p:sp>
    </p:spTree>
    <p:custDataLst>
      <p:tags r:id="rId1"/>
    </p:custData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iṣlide"/>
        <p:cNvGrpSpPr/>
        <p:nvPr/>
      </p:nvGrpSpPr>
      <p:grpSpPr>
        <a:xfrm>
          <a:off x="0" y="0"/>
          <a:ext cx="0" cy="0"/>
          <a:chOff x="0" y="0"/>
          <a:chExt cx="0" cy="0"/>
        </a:xfrm>
      </p:grpSpPr>
      <p:sp>
        <p:nvSpPr>
          <p:cNvPr id="4" name="ïṣḷide"/>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110" name="íṥļîďè"/>
          <p:cNvSpPr/>
          <p:nvPr/>
        </p:nvSpPr>
        <p:spPr>
          <a:xfrm rot="10800000">
            <a:off x="4412146" y="0"/>
            <a:ext cx="7846076" cy="6857999"/>
          </a:xfrm>
          <a:custGeom>
            <a:avLst/>
            <a:gdLst>
              <a:gd name="connsiteX0" fmla="*/ 168369 w 9517086"/>
              <a:gd name="connsiteY0" fmla="*/ 4779933 h 7291226"/>
              <a:gd name="connsiteX1" fmla="*/ 0 w 9517086"/>
              <a:gd name="connsiteY1" fmla="*/ 4409146 h 7291226"/>
              <a:gd name="connsiteX2" fmla="*/ 3332806 w 9517086"/>
              <a:gd name="connsiteY2" fmla="*/ 0 h 7291226"/>
              <a:gd name="connsiteX3" fmla="*/ 3794560 w 9517086"/>
              <a:gd name="connsiteY3" fmla="*/ 32861 h 7291226"/>
              <a:gd name="connsiteX4" fmla="*/ 488220 w 9517086"/>
              <a:gd name="connsiteY4" fmla="*/ 5484315 h 7291226"/>
              <a:gd name="connsiteX5" fmla="*/ 299082 w 9517086"/>
              <a:gd name="connsiteY5" fmla="*/ 5067791 h 7291226"/>
              <a:gd name="connsiteX6" fmla="*/ 4106456 w 9517086"/>
              <a:gd name="connsiteY6" fmla="*/ 55057 h 7291226"/>
              <a:gd name="connsiteX7" fmla="*/ 4585079 w 9517086"/>
              <a:gd name="connsiteY7" fmla="*/ 89119 h 7291226"/>
              <a:gd name="connsiteX8" fmla="*/ 779421 w 9517086"/>
              <a:gd name="connsiteY8" fmla="*/ 6125606 h 7291226"/>
              <a:gd name="connsiteX9" fmla="*/ 618065 w 9517086"/>
              <a:gd name="connsiteY9" fmla="*/ 5770263 h 7291226"/>
              <a:gd name="connsiteX10" fmla="*/ 4897528 w 9517086"/>
              <a:gd name="connsiteY10" fmla="*/ 111354 h 7291226"/>
              <a:gd name="connsiteX11" fmla="*/ 5324893 w 9517086"/>
              <a:gd name="connsiteY11" fmla="*/ 141768 h 7291226"/>
              <a:gd name="connsiteX12" fmla="*/ 1099910 w 9517086"/>
              <a:gd name="connsiteY12" fmla="*/ 6831395 h 7291226"/>
              <a:gd name="connsiteX13" fmla="*/ 919656 w 9517086"/>
              <a:gd name="connsiteY13" fmla="*/ 6434435 h 7291226"/>
              <a:gd name="connsiteX14" fmla="*/ 5668965 w 9517086"/>
              <a:gd name="connsiteY14" fmla="*/ 166254 h 7291226"/>
              <a:gd name="connsiteX15" fmla="*/ 6114044 w 9517086"/>
              <a:gd name="connsiteY15" fmla="*/ 197929 h 7291226"/>
              <a:gd name="connsiteX16" fmla="*/ 7106560 w 9517086"/>
              <a:gd name="connsiteY16" fmla="*/ 7291226 h 7291226"/>
              <a:gd name="connsiteX17" fmla="*/ 6670875 w 9517086"/>
              <a:gd name="connsiteY17" fmla="*/ 7291226 h 7291226"/>
              <a:gd name="connsiteX18" fmla="*/ 3849932 w 9517086"/>
              <a:gd name="connsiteY18" fmla="*/ 3596670 h 7291226"/>
              <a:gd name="connsiteX19" fmla="*/ 4086202 w 9517086"/>
              <a:gd name="connsiteY19" fmla="*/ 3287229 h 7291226"/>
              <a:gd name="connsiteX20" fmla="*/ 7934229 w 9517086"/>
              <a:gd name="connsiteY20" fmla="*/ 7291226 h 7291226"/>
              <a:gd name="connsiteX21" fmla="*/ 7444802 w 9517086"/>
              <a:gd name="connsiteY21" fmla="*/ 7291226 h 7291226"/>
              <a:gd name="connsiteX22" fmla="*/ 4245793 w 9517086"/>
              <a:gd name="connsiteY22" fmla="*/ 3078214 h 7291226"/>
              <a:gd name="connsiteX23" fmla="*/ 4490696 w 9517086"/>
              <a:gd name="connsiteY23" fmla="*/ 2757469 h 7291226"/>
              <a:gd name="connsiteX24" fmla="*/ 8687764 w 9517086"/>
              <a:gd name="connsiteY24" fmla="*/ 7291226 h 7291226"/>
              <a:gd name="connsiteX25" fmla="*/ 8270226 w 9517086"/>
              <a:gd name="connsiteY25" fmla="*/ 7291226 h 7291226"/>
              <a:gd name="connsiteX26" fmla="*/ 4650570 w 9517086"/>
              <a:gd name="connsiteY26" fmla="*/ 2548084 h 7291226"/>
              <a:gd name="connsiteX27" fmla="*/ 4869244 w 9517086"/>
              <a:gd name="connsiteY27" fmla="*/ 2261689 h 7291226"/>
              <a:gd name="connsiteX28" fmla="*/ 9517086 w 9517086"/>
              <a:gd name="connsiteY28" fmla="*/ 7291226 h 7291226"/>
              <a:gd name="connsiteX29" fmla="*/ 9050647 w 9517086"/>
              <a:gd name="connsiteY29" fmla="*/ 7291226 h 7291226"/>
              <a:gd name="connsiteX30" fmla="*/ 5045299 w 9517086"/>
              <a:gd name="connsiteY30" fmla="*/ 2031113 h 7291226"/>
              <a:gd name="connsiteX31" fmla="*/ 5273037 w 9517086"/>
              <a:gd name="connsiteY31" fmla="*/ 1732846 h 7291226"/>
              <a:gd name="connsiteX0-1" fmla="*/ 168369 w 9378540"/>
              <a:gd name="connsiteY0-2" fmla="*/ 4779933 h 7291226"/>
              <a:gd name="connsiteX1-3" fmla="*/ 0 w 9378540"/>
              <a:gd name="connsiteY1-4" fmla="*/ 4409146 h 7291226"/>
              <a:gd name="connsiteX2-5" fmla="*/ 3332806 w 9378540"/>
              <a:gd name="connsiteY2-6" fmla="*/ 0 h 7291226"/>
              <a:gd name="connsiteX3-7" fmla="*/ 3794560 w 9378540"/>
              <a:gd name="connsiteY3-8" fmla="*/ 32861 h 7291226"/>
              <a:gd name="connsiteX4-9" fmla="*/ 168369 w 9378540"/>
              <a:gd name="connsiteY4-10" fmla="*/ 4779933 h 7291226"/>
              <a:gd name="connsiteX5-11" fmla="*/ 488220 w 9378540"/>
              <a:gd name="connsiteY5-12" fmla="*/ 5484315 h 7291226"/>
              <a:gd name="connsiteX6-13" fmla="*/ 299082 w 9378540"/>
              <a:gd name="connsiteY6-14" fmla="*/ 5067791 h 7291226"/>
              <a:gd name="connsiteX7-15" fmla="*/ 4106456 w 9378540"/>
              <a:gd name="connsiteY7-16" fmla="*/ 55057 h 7291226"/>
              <a:gd name="connsiteX8-17" fmla="*/ 4585079 w 9378540"/>
              <a:gd name="connsiteY8-18" fmla="*/ 89119 h 7291226"/>
              <a:gd name="connsiteX9-19" fmla="*/ 488220 w 9378540"/>
              <a:gd name="connsiteY9-20" fmla="*/ 5484315 h 7291226"/>
              <a:gd name="connsiteX10-21" fmla="*/ 779421 w 9378540"/>
              <a:gd name="connsiteY10-22" fmla="*/ 6125606 h 7291226"/>
              <a:gd name="connsiteX11-23" fmla="*/ 618065 w 9378540"/>
              <a:gd name="connsiteY11-24" fmla="*/ 5770263 h 7291226"/>
              <a:gd name="connsiteX12-25" fmla="*/ 4897528 w 9378540"/>
              <a:gd name="connsiteY12-26" fmla="*/ 111354 h 7291226"/>
              <a:gd name="connsiteX13-27" fmla="*/ 5324893 w 9378540"/>
              <a:gd name="connsiteY13-28" fmla="*/ 141768 h 7291226"/>
              <a:gd name="connsiteX14-29" fmla="*/ 779421 w 9378540"/>
              <a:gd name="connsiteY14-30" fmla="*/ 6125606 h 7291226"/>
              <a:gd name="connsiteX15-31" fmla="*/ 1099910 w 9378540"/>
              <a:gd name="connsiteY15-32" fmla="*/ 6831395 h 7291226"/>
              <a:gd name="connsiteX16-33" fmla="*/ 919656 w 9378540"/>
              <a:gd name="connsiteY16-34" fmla="*/ 6434435 h 7291226"/>
              <a:gd name="connsiteX17-35" fmla="*/ 5668965 w 9378540"/>
              <a:gd name="connsiteY17-36" fmla="*/ 166254 h 7291226"/>
              <a:gd name="connsiteX18-37" fmla="*/ 6114044 w 9378540"/>
              <a:gd name="connsiteY18-38" fmla="*/ 197929 h 7291226"/>
              <a:gd name="connsiteX19-39" fmla="*/ 1099910 w 9378540"/>
              <a:gd name="connsiteY19-40" fmla="*/ 6831395 h 7291226"/>
              <a:gd name="connsiteX20-41" fmla="*/ 7106560 w 9378540"/>
              <a:gd name="connsiteY20-42" fmla="*/ 7291226 h 7291226"/>
              <a:gd name="connsiteX21-43" fmla="*/ 6670875 w 9378540"/>
              <a:gd name="connsiteY21-44" fmla="*/ 7291226 h 7291226"/>
              <a:gd name="connsiteX22-45" fmla="*/ 3849932 w 9378540"/>
              <a:gd name="connsiteY22-46" fmla="*/ 3596670 h 7291226"/>
              <a:gd name="connsiteX23-47" fmla="*/ 4086202 w 9378540"/>
              <a:gd name="connsiteY23-48" fmla="*/ 3287229 h 7291226"/>
              <a:gd name="connsiteX24-49" fmla="*/ 7106560 w 9378540"/>
              <a:gd name="connsiteY24-50" fmla="*/ 7291226 h 7291226"/>
              <a:gd name="connsiteX25-51" fmla="*/ 7934229 w 9378540"/>
              <a:gd name="connsiteY25-52" fmla="*/ 7291226 h 7291226"/>
              <a:gd name="connsiteX26-53" fmla="*/ 7444802 w 9378540"/>
              <a:gd name="connsiteY26-54" fmla="*/ 7291226 h 7291226"/>
              <a:gd name="connsiteX27-55" fmla="*/ 4245793 w 9378540"/>
              <a:gd name="connsiteY27-56" fmla="*/ 3078214 h 7291226"/>
              <a:gd name="connsiteX28-57" fmla="*/ 4490696 w 9378540"/>
              <a:gd name="connsiteY28-58" fmla="*/ 2757469 h 7291226"/>
              <a:gd name="connsiteX29-59" fmla="*/ 7934229 w 9378540"/>
              <a:gd name="connsiteY29-60" fmla="*/ 7291226 h 7291226"/>
              <a:gd name="connsiteX30-61" fmla="*/ 8687764 w 9378540"/>
              <a:gd name="connsiteY30-62" fmla="*/ 7291226 h 7291226"/>
              <a:gd name="connsiteX31-63" fmla="*/ 8270226 w 9378540"/>
              <a:gd name="connsiteY31-64" fmla="*/ 7291226 h 7291226"/>
              <a:gd name="connsiteX32" fmla="*/ 4650570 w 9378540"/>
              <a:gd name="connsiteY32" fmla="*/ 2548084 h 7291226"/>
              <a:gd name="connsiteX33" fmla="*/ 4869244 w 9378540"/>
              <a:gd name="connsiteY33" fmla="*/ 2261689 h 7291226"/>
              <a:gd name="connsiteX34" fmla="*/ 8687764 w 9378540"/>
              <a:gd name="connsiteY34" fmla="*/ 7291226 h 7291226"/>
              <a:gd name="connsiteX35" fmla="*/ 9378540 w 9378540"/>
              <a:gd name="connsiteY35" fmla="*/ 7097262 h 7291226"/>
              <a:gd name="connsiteX36" fmla="*/ 9050647 w 9378540"/>
              <a:gd name="connsiteY36" fmla="*/ 7291226 h 7291226"/>
              <a:gd name="connsiteX37" fmla="*/ 5045299 w 9378540"/>
              <a:gd name="connsiteY37" fmla="*/ 2031113 h 7291226"/>
              <a:gd name="connsiteX38" fmla="*/ 5273037 w 9378540"/>
              <a:gd name="connsiteY38" fmla="*/ 1732846 h 7291226"/>
              <a:gd name="connsiteX39" fmla="*/ 9378540 w 9378540"/>
              <a:gd name="connsiteY39" fmla="*/ 7097262 h 7291226"/>
              <a:gd name="connsiteX0-65" fmla="*/ 168369 w 9378540"/>
              <a:gd name="connsiteY0-66" fmla="*/ 4779933 h 7291226"/>
              <a:gd name="connsiteX1-67" fmla="*/ 0 w 9378540"/>
              <a:gd name="connsiteY1-68" fmla="*/ 4409146 h 7291226"/>
              <a:gd name="connsiteX2-69" fmla="*/ 3332806 w 9378540"/>
              <a:gd name="connsiteY2-70" fmla="*/ 0 h 7291226"/>
              <a:gd name="connsiteX3-71" fmla="*/ 3794560 w 9378540"/>
              <a:gd name="connsiteY3-72" fmla="*/ 32861 h 7291226"/>
              <a:gd name="connsiteX4-73" fmla="*/ 168369 w 9378540"/>
              <a:gd name="connsiteY4-74" fmla="*/ 4779933 h 7291226"/>
              <a:gd name="connsiteX5-75" fmla="*/ 488220 w 9378540"/>
              <a:gd name="connsiteY5-76" fmla="*/ 5484315 h 7291226"/>
              <a:gd name="connsiteX6-77" fmla="*/ 299082 w 9378540"/>
              <a:gd name="connsiteY6-78" fmla="*/ 5067791 h 7291226"/>
              <a:gd name="connsiteX7-79" fmla="*/ 4106456 w 9378540"/>
              <a:gd name="connsiteY7-80" fmla="*/ 55057 h 7291226"/>
              <a:gd name="connsiteX8-81" fmla="*/ 4585079 w 9378540"/>
              <a:gd name="connsiteY8-82" fmla="*/ 89119 h 7291226"/>
              <a:gd name="connsiteX9-83" fmla="*/ 488220 w 9378540"/>
              <a:gd name="connsiteY9-84" fmla="*/ 5484315 h 7291226"/>
              <a:gd name="connsiteX10-85" fmla="*/ 779421 w 9378540"/>
              <a:gd name="connsiteY10-86" fmla="*/ 6125606 h 7291226"/>
              <a:gd name="connsiteX11-87" fmla="*/ 618065 w 9378540"/>
              <a:gd name="connsiteY11-88" fmla="*/ 5770263 h 7291226"/>
              <a:gd name="connsiteX12-89" fmla="*/ 4897528 w 9378540"/>
              <a:gd name="connsiteY12-90" fmla="*/ 111354 h 7291226"/>
              <a:gd name="connsiteX13-91" fmla="*/ 5324893 w 9378540"/>
              <a:gd name="connsiteY13-92" fmla="*/ 141768 h 7291226"/>
              <a:gd name="connsiteX14-93" fmla="*/ 779421 w 9378540"/>
              <a:gd name="connsiteY14-94" fmla="*/ 6125606 h 7291226"/>
              <a:gd name="connsiteX15-95" fmla="*/ 1099910 w 9378540"/>
              <a:gd name="connsiteY15-96" fmla="*/ 6831395 h 7291226"/>
              <a:gd name="connsiteX16-97" fmla="*/ 919656 w 9378540"/>
              <a:gd name="connsiteY16-98" fmla="*/ 6434435 h 7291226"/>
              <a:gd name="connsiteX17-99" fmla="*/ 5668965 w 9378540"/>
              <a:gd name="connsiteY17-100" fmla="*/ 166254 h 7291226"/>
              <a:gd name="connsiteX18-101" fmla="*/ 6114044 w 9378540"/>
              <a:gd name="connsiteY18-102" fmla="*/ 197929 h 7291226"/>
              <a:gd name="connsiteX19-103" fmla="*/ 1099910 w 9378540"/>
              <a:gd name="connsiteY19-104" fmla="*/ 6831395 h 7291226"/>
              <a:gd name="connsiteX20-105" fmla="*/ 7106560 w 9378540"/>
              <a:gd name="connsiteY20-106" fmla="*/ 7291226 h 7291226"/>
              <a:gd name="connsiteX21-107" fmla="*/ 6670875 w 9378540"/>
              <a:gd name="connsiteY21-108" fmla="*/ 7291226 h 7291226"/>
              <a:gd name="connsiteX22-109" fmla="*/ 3849932 w 9378540"/>
              <a:gd name="connsiteY22-110" fmla="*/ 3596670 h 7291226"/>
              <a:gd name="connsiteX23-111" fmla="*/ 4086202 w 9378540"/>
              <a:gd name="connsiteY23-112" fmla="*/ 3287229 h 7291226"/>
              <a:gd name="connsiteX24-113" fmla="*/ 7106560 w 9378540"/>
              <a:gd name="connsiteY24-114" fmla="*/ 7291226 h 7291226"/>
              <a:gd name="connsiteX25-115" fmla="*/ 7934229 w 9378540"/>
              <a:gd name="connsiteY25-116" fmla="*/ 7291226 h 7291226"/>
              <a:gd name="connsiteX26-117" fmla="*/ 7444802 w 9378540"/>
              <a:gd name="connsiteY26-118" fmla="*/ 7291226 h 7291226"/>
              <a:gd name="connsiteX27-119" fmla="*/ 4245793 w 9378540"/>
              <a:gd name="connsiteY27-120" fmla="*/ 3078214 h 7291226"/>
              <a:gd name="connsiteX28-121" fmla="*/ 4490696 w 9378540"/>
              <a:gd name="connsiteY28-122" fmla="*/ 2757469 h 7291226"/>
              <a:gd name="connsiteX29-123" fmla="*/ 7934229 w 9378540"/>
              <a:gd name="connsiteY29-124" fmla="*/ 7291226 h 7291226"/>
              <a:gd name="connsiteX30-125" fmla="*/ 8687764 w 9378540"/>
              <a:gd name="connsiteY30-126" fmla="*/ 7291226 h 7291226"/>
              <a:gd name="connsiteX31-127" fmla="*/ 8270226 w 9378540"/>
              <a:gd name="connsiteY31-128" fmla="*/ 7291226 h 7291226"/>
              <a:gd name="connsiteX32-129" fmla="*/ 4650570 w 9378540"/>
              <a:gd name="connsiteY32-130" fmla="*/ 2548084 h 7291226"/>
              <a:gd name="connsiteX33-131" fmla="*/ 4869244 w 9378540"/>
              <a:gd name="connsiteY33-132" fmla="*/ 2261689 h 7291226"/>
              <a:gd name="connsiteX34-133" fmla="*/ 8687764 w 9378540"/>
              <a:gd name="connsiteY34-134" fmla="*/ 7291226 h 7291226"/>
              <a:gd name="connsiteX35-135" fmla="*/ 9378540 w 9378540"/>
              <a:gd name="connsiteY35-136" fmla="*/ 7097262 h 7291226"/>
              <a:gd name="connsiteX36-137" fmla="*/ 8921338 w 9378540"/>
              <a:gd name="connsiteY36-138" fmla="*/ 7115735 h 7291226"/>
              <a:gd name="connsiteX37-139" fmla="*/ 5045299 w 9378540"/>
              <a:gd name="connsiteY37-140" fmla="*/ 2031113 h 7291226"/>
              <a:gd name="connsiteX38-141" fmla="*/ 5273037 w 9378540"/>
              <a:gd name="connsiteY38-142" fmla="*/ 1732846 h 7291226"/>
              <a:gd name="connsiteX39-143" fmla="*/ 9378540 w 9378540"/>
              <a:gd name="connsiteY39-144" fmla="*/ 7097262 h 7291226"/>
              <a:gd name="connsiteX0-145" fmla="*/ 168369 w 9397013"/>
              <a:gd name="connsiteY0-146" fmla="*/ 4779933 h 7291226"/>
              <a:gd name="connsiteX1-147" fmla="*/ 0 w 9397013"/>
              <a:gd name="connsiteY1-148" fmla="*/ 4409146 h 7291226"/>
              <a:gd name="connsiteX2-149" fmla="*/ 3332806 w 9397013"/>
              <a:gd name="connsiteY2-150" fmla="*/ 0 h 7291226"/>
              <a:gd name="connsiteX3-151" fmla="*/ 3794560 w 9397013"/>
              <a:gd name="connsiteY3-152" fmla="*/ 32861 h 7291226"/>
              <a:gd name="connsiteX4-153" fmla="*/ 168369 w 9397013"/>
              <a:gd name="connsiteY4-154" fmla="*/ 4779933 h 7291226"/>
              <a:gd name="connsiteX5-155" fmla="*/ 488220 w 9397013"/>
              <a:gd name="connsiteY5-156" fmla="*/ 5484315 h 7291226"/>
              <a:gd name="connsiteX6-157" fmla="*/ 299082 w 9397013"/>
              <a:gd name="connsiteY6-158" fmla="*/ 5067791 h 7291226"/>
              <a:gd name="connsiteX7-159" fmla="*/ 4106456 w 9397013"/>
              <a:gd name="connsiteY7-160" fmla="*/ 55057 h 7291226"/>
              <a:gd name="connsiteX8-161" fmla="*/ 4585079 w 9397013"/>
              <a:gd name="connsiteY8-162" fmla="*/ 89119 h 7291226"/>
              <a:gd name="connsiteX9-163" fmla="*/ 488220 w 9397013"/>
              <a:gd name="connsiteY9-164" fmla="*/ 5484315 h 7291226"/>
              <a:gd name="connsiteX10-165" fmla="*/ 779421 w 9397013"/>
              <a:gd name="connsiteY10-166" fmla="*/ 6125606 h 7291226"/>
              <a:gd name="connsiteX11-167" fmla="*/ 618065 w 9397013"/>
              <a:gd name="connsiteY11-168" fmla="*/ 5770263 h 7291226"/>
              <a:gd name="connsiteX12-169" fmla="*/ 4897528 w 9397013"/>
              <a:gd name="connsiteY12-170" fmla="*/ 111354 h 7291226"/>
              <a:gd name="connsiteX13-171" fmla="*/ 5324893 w 9397013"/>
              <a:gd name="connsiteY13-172" fmla="*/ 141768 h 7291226"/>
              <a:gd name="connsiteX14-173" fmla="*/ 779421 w 9397013"/>
              <a:gd name="connsiteY14-174" fmla="*/ 6125606 h 7291226"/>
              <a:gd name="connsiteX15-175" fmla="*/ 1099910 w 9397013"/>
              <a:gd name="connsiteY15-176" fmla="*/ 6831395 h 7291226"/>
              <a:gd name="connsiteX16-177" fmla="*/ 919656 w 9397013"/>
              <a:gd name="connsiteY16-178" fmla="*/ 6434435 h 7291226"/>
              <a:gd name="connsiteX17-179" fmla="*/ 5668965 w 9397013"/>
              <a:gd name="connsiteY17-180" fmla="*/ 166254 h 7291226"/>
              <a:gd name="connsiteX18-181" fmla="*/ 6114044 w 9397013"/>
              <a:gd name="connsiteY18-182" fmla="*/ 197929 h 7291226"/>
              <a:gd name="connsiteX19-183" fmla="*/ 1099910 w 9397013"/>
              <a:gd name="connsiteY19-184" fmla="*/ 6831395 h 7291226"/>
              <a:gd name="connsiteX20-185" fmla="*/ 7106560 w 9397013"/>
              <a:gd name="connsiteY20-186" fmla="*/ 7291226 h 7291226"/>
              <a:gd name="connsiteX21-187" fmla="*/ 6670875 w 9397013"/>
              <a:gd name="connsiteY21-188" fmla="*/ 7291226 h 7291226"/>
              <a:gd name="connsiteX22-189" fmla="*/ 3849932 w 9397013"/>
              <a:gd name="connsiteY22-190" fmla="*/ 3596670 h 7291226"/>
              <a:gd name="connsiteX23-191" fmla="*/ 4086202 w 9397013"/>
              <a:gd name="connsiteY23-192" fmla="*/ 3287229 h 7291226"/>
              <a:gd name="connsiteX24-193" fmla="*/ 7106560 w 9397013"/>
              <a:gd name="connsiteY24-194" fmla="*/ 7291226 h 7291226"/>
              <a:gd name="connsiteX25-195" fmla="*/ 7934229 w 9397013"/>
              <a:gd name="connsiteY25-196" fmla="*/ 7291226 h 7291226"/>
              <a:gd name="connsiteX26-197" fmla="*/ 7444802 w 9397013"/>
              <a:gd name="connsiteY26-198" fmla="*/ 7291226 h 7291226"/>
              <a:gd name="connsiteX27-199" fmla="*/ 4245793 w 9397013"/>
              <a:gd name="connsiteY27-200" fmla="*/ 3078214 h 7291226"/>
              <a:gd name="connsiteX28-201" fmla="*/ 4490696 w 9397013"/>
              <a:gd name="connsiteY28-202" fmla="*/ 2757469 h 7291226"/>
              <a:gd name="connsiteX29-203" fmla="*/ 7934229 w 9397013"/>
              <a:gd name="connsiteY29-204" fmla="*/ 7291226 h 7291226"/>
              <a:gd name="connsiteX30-205" fmla="*/ 8687764 w 9397013"/>
              <a:gd name="connsiteY30-206" fmla="*/ 7291226 h 7291226"/>
              <a:gd name="connsiteX31-207" fmla="*/ 8270226 w 9397013"/>
              <a:gd name="connsiteY31-208" fmla="*/ 7291226 h 7291226"/>
              <a:gd name="connsiteX32-209" fmla="*/ 4650570 w 9397013"/>
              <a:gd name="connsiteY32-210" fmla="*/ 2548084 h 7291226"/>
              <a:gd name="connsiteX33-211" fmla="*/ 4869244 w 9397013"/>
              <a:gd name="connsiteY33-212" fmla="*/ 2261689 h 7291226"/>
              <a:gd name="connsiteX34-213" fmla="*/ 8687764 w 9397013"/>
              <a:gd name="connsiteY34-214" fmla="*/ 7291226 h 7291226"/>
              <a:gd name="connsiteX35-215" fmla="*/ 9397013 w 9397013"/>
              <a:gd name="connsiteY35-216" fmla="*/ 7134207 h 7291226"/>
              <a:gd name="connsiteX36-217" fmla="*/ 8921338 w 9397013"/>
              <a:gd name="connsiteY36-218" fmla="*/ 7115735 h 7291226"/>
              <a:gd name="connsiteX37-219" fmla="*/ 5045299 w 9397013"/>
              <a:gd name="connsiteY37-220" fmla="*/ 2031113 h 7291226"/>
              <a:gd name="connsiteX38-221" fmla="*/ 5273037 w 9397013"/>
              <a:gd name="connsiteY38-222" fmla="*/ 1732846 h 7291226"/>
              <a:gd name="connsiteX39-223" fmla="*/ 9397013 w 9397013"/>
              <a:gd name="connsiteY39-224" fmla="*/ 7134207 h 7291226"/>
              <a:gd name="connsiteX0-225" fmla="*/ 168369 w 9397013"/>
              <a:gd name="connsiteY0-226" fmla="*/ 4779933 h 7291226"/>
              <a:gd name="connsiteX1-227" fmla="*/ 0 w 9397013"/>
              <a:gd name="connsiteY1-228" fmla="*/ 4409146 h 7291226"/>
              <a:gd name="connsiteX2-229" fmla="*/ 3332806 w 9397013"/>
              <a:gd name="connsiteY2-230" fmla="*/ 0 h 7291226"/>
              <a:gd name="connsiteX3-231" fmla="*/ 3794560 w 9397013"/>
              <a:gd name="connsiteY3-232" fmla="*/ 32861 h 7291226"/>
              <a:gd name="connsiteX4-233" fmla="*/ 168369 w 9397013"/>
              <a:gd name="connsiteY4-234" fmla="*/ 4779933 h 7291226"/>
              <a:gd name="connsiteX5-235" fmla="*/ 488220 w 9397013"/>
              <a:gd name="connsiteY5-236" fmla="*/ 5484315 h 7291226"/>
              <a:gd name="connsiteX6-237" fmla="*/ 299082 w 9397013"/>
              <a:gd name="connsiteY6-238" fmla="*/ 5067791 h 7291226"/>
              <a:gd name="connsiteX7-239" fmla="*/ 4106456 w 9397013"/>
              <a:gd name="connsiteY7-240" fmla="*/ 55057 h 7291226"/>
              <a:gd name="connsiteX8-241" fmla="*/ 4585079 w 9397013"/>
              <a:gd name="connsiteY8-242" fmla="*/ 89119 h 7291226"/>
              <a:gd name="connsiteX9-243" fmla="*/ 488220 w 9397013"/>
              <a:gd name="connsiteY9-244" fmla="*/ 5484315 h 7291226"/>
              <a:gd name="connsiteX10-245" fmla="*/ 779421 w 9397013"/>
              <a:gd name="connsiteY10-246" fmla="*/ 6125606 h 7291226"/>
              <a:gd name="connsiteX11-247" fmla="*/ 618065 w 9397013"/>
              <a:gd name="connsiteY11-248" fmla="*/ 5770263 h 7291226"/>
              <a:gd name="connsiteX12-249" fmla="*/ 4897528 w 9397013"/>
              <a:gd name="connsiteY12-250" fmla="*/ 111354 h 7291226"/>
              <a:gd name="connsiteX13-251" fmla="*/ 5324893 w 9397013"/>
              <a:gd name="connsiteY13-252" fmla="*/ 141768 h 7291226"/>
              <a:gd name="connsiteX14-253" fmla="*/ 779421 w 9397013"/>
              <a:gd name="connsiteY14-254" fmla="*/ 6125606 h 7291226"/>
              <a:gd name="connsiteX15-255" fmla="*/ 1099910 w 9397013"/>
              <a:gd name="connsiteY15-256" fmla="*/ 6831395 h 7291226"/>
              <a:gd name="connsiteX16-257" fmla="*/ 919656 w 9397013"/>
              <a:gd name="connsiteY16-258" fmla="*/ 6434435 h 7291226"/>
              <a:gd name="connsiteX17-259" fmla="*/ 5668965 w 9397013"/>
              <a:gd name="connsiteY17-260" fmla="*/ 166254 h 7291226"/>
              <a:gd name="connsiteX18-261" fmla="*/ 6114044 w 9397013"/>
              <a:gd name="connsiteY18-262" fmla="*/ 197929 h 7291226"/>
              <a:gd name="connsiteX19-263" fmla="*/ 1099910 w 9397013"/>
              <a:gd name="connsiteY19-264" fmla="*/ 6831395 h 7291226"/>
              <a:gd name="connsiteX20-265" fmla="*/ 7106560 w 9397013"/>
              <a:gd name="connsiteY20-266" fmla="*/ 7291226 h 7291226"/>
              <a:gd name="connsiteX21-267" fmla="*/ 6670875 w 9397013"/>
              <a:gd name="connsiteY21-268" fmla="*/ 7291226 h 7291226"/>
              <a:gd name="connsiteX22-269" fmla="*/ 3849932 w 9397013"/>
              <a:gd name="connsiteY22-270" fmla="*/ 3596670 h 7291226"/>
              <a:gd name="connsiteX23-271" fmla="*/ 4086202 w 9397013"/>
              <a:gd name="connsiteY23-272" fmla="*/ 3287229 h 7291226"/>
              <a:gd name="connsiteX24-273" fmla="*/ 7106560 w 9397013"/>
              <a:gd name="connsiteY24-274" fmla="*/ 7291226 h 7291226"/>
              <a:gd name="connsiteX25-275" fmla="*/ 7934229 w 9397013"/>
              <a:gd name="connsiteY25-276" fmla="*/ 7291226 h 7291226"/>
              <a:gd name="connsiteX26-277" fmla="*/ 7444802 w 9397013"/>
              <a:gd name="connsiteY26-278" fmla="*/ 7291226 h 7291226"/>
              <a:gd name="connsiteX27-279" fmla="*/ 4245793 w 9397013"/>
              <a:gd name="connsiteY27-280" fmla="*/ 3078214 h 7291226"/>
              <a:gd name="connsiteX28-281" fmla="*/ 4490696 w 9397013"/>
              <a:gd name="connsiteY28-282" fmla="*/ 2757469 h 7291226"/>
              <a:gd name="connsiteX29-283" fmla="*/ 7934229 w 9397013"/>
              <a:gd name="connsiteY29-284" fmla="*/ 7291226 h 7291226"/>
              <a:gd name="connsiteX30-285" fmla="*/ 8530746 w 9397013"/>
              <a:gd name="connsiteY30-286" fmla="*/ 7088026 h 7291226"/>
              <a:gd name="connsiteX31-287" fmla="*/ 8270226 w 9397013"/>
              <a:gd name="connsiteY31-288" fmla="*/ 7291226 h 7291226"/>
              <a:gd name="connsiteX32-289" fmla="*/ 4650570 w 9397013"/>
              <a:gd name="connsiteY32-290" fmla="*/ 2548084 h 7291226"/>
              <a:gd name="connsiteX33-291" fmla="*/ 4869244 w 9397013"/>
              <a:gd name="connsiteY33-292" fmla="*/ 2261689 h 7291226"/>
              <a:gd name="connsiteX34-293" fmla="*/ 8530746 w 9397013"/>
              <a:gd name="connsiteY34-294" fmla="*/ 7088026 h 7291226"/>
              <a:gd name="connsiteX35-295" fmla="*/ 9397013 w 9397013"/>
              <a:gd name="connsiteY35-296" fmla="*/ 7134207 h 7291226"/>
              <a:gd name="connsiteX36-297" fmla="*/ 8921338 w 9397013"/>
              <a:gd name="connsiteY36-298" fmla="*/ 7115735 h 7291226"/>
              <a:gd name="connsiteX37-299" fmla="*/ 5045299 w 9397013"/>
              <a:gd name="connsiteY37-300" fmla="*/ 2031113 h 7291226"/>
              <a:gd name="connsiteX38-301" fmla="*/ 5273037 w 9397013"/>
              <a:gd name="connsiteY38-302" fmla="*/ 1732846 h 7291226"/>
              <a:gd name="connsiteX39-303" fmla="*/ 9397013 w 9397013"/>
              <a:gd name="connsiteY39-304" fmla="*/ 7134207 h 7291226"/>
              <a:gd name="connsiteX0-305" fmla="*/ 168369 w 9397013"/>
              <a:gd name="connsiteY0-306" fmla="*/ 4779933 h 7291226"/>
              <a:gd name="connsiteX1-307" fmla="*/ 0 w 9397013"/>
              <a:gd name="connsiteY1-308" fmla="*/ 4409146 h 7291226"/>
              <a:gd name="connsiteX2-309" fmla="*/ 3332806 w 9397013"/>
              <a:gd name="connsiteY2-310" fmla="*/ 0 h 7291226"/>
              <a:gd name="connsiteX3-311" fmla="*/ 3794560 w 9397013"/>
              <a:gd name="connsiteY3-312" fmla="*/ 32861 h 7291226"/>
              <a:gd name="connsiteX4-313" fmla="*/ 168369 w 9397013"/>
              <a:gd name="connsiteY4-314" fmla="*/ 4779933 h 7291226"/>
              <a:gd name="connsiteX5-315" fmla="*/ 488220 w 9397013"/>
              <a:gd name="connsiteY5-316" fmla="*/ 5484315 h 7291226"/>
              <a:gd name="connsiteX6-317" fmla="*/ 299082 w 9397013"/>
              <a:gd name="connsiteY6-318" fmla="*/ 5067791 h 7291226"/>
              <a:gd name="connsiteX7-319" fmla="*/ 4106456 w 9397013"/>
              <a:gd name="connsiteY7-320" fmla="*/ 55057 h 7291226"/>
              <a:gd name="connsiteX8-321" fmla="*/ 4585079 w 9397013"/>
              <a:gd name="connsiteY8-322" fmla="*/ 89119 h 7291226"/>
              <a:gd name="connsiteX9-323" fmla="*/ 488220 w 9397013"/>
              <a:gd name="connsiteY9-324" fmla="*/ 5484315 h 7291226"/>
              <a:gd name="connsiteX10-325" fmla="*/ 779421 w 9397013"/>
              <a:gd name="connsiteY10-326" fmla="*/ 6125606 h 7291226"/>
              <a:gd name="connsiteX11-327" fmla="*/ 618065 w 9397013"/>
              <a:gd name="connsiteY11-328" fmla="*/ 5770263 h 7291226"/>
              <a:gd name="connsiteX12-329" fmla="*/ 4897528 w 9397013"/>
              <a:gd name="connsiteY12-330" fmla="*/ 111354 h 7291226"/>
              <a:gd name="connsiteX13-331" fmla="*/ 5324893 w 9397013"/>
              <a:gd name="connsiteY13-332" fmla="*/ 141768 h 7291226"/>
              <a:gd name="connsiteX14-333" fmla="*/ 779421 w 9397013"/>
              <a:gd name="connsiteY14-334" fmla="*/ 6125606 h 7291226"/>
              <a:gd name="connsiteX15-335" fmla="*/ 1099910 w 9397013"/>
              <a:gd name="connsiteY15-336" fmla="*/ 6831395 h 7291226"/>
              <a:gd name="connsiteX16-337" fmla="*/ 919656 w 9397013"/>
              <a:gd name="connsiteY16-338" fmla="*/ 6434435 h 7291226"/>
              <a:gd name="connsiteX17-339" fmla="*/ 5668965 w 9397013"/>
              <a:gd name="connsiteY17-340" fmla="*/ 166254 h 7291226"/>
              <a:gd name="connsiteX18-341" fmla="*/ 6114044 w 9397013"/>
              <a:gd name="connsiteY18-342" fmla="*/ 197929 h 7291226"/>
              <a:gd name="connsiteX19-343" fmla="*/ 1099910 w 9397013"/>
              <a:gd name="connsiteY19-344" fmla="*/ 6831395 h 7291226"/>
              <a:gd name="connsiteX20-345" fmla="*/ 7106560 w 9397013"/>
              <a:gd name="connsiteY20-346" fmla="*/ 7291226 h 7291226"/>
              <a:gd name="connsiteX21-347" fmla="*/ 6670875 w 9397013"/>
              <a:gd name="connsiteY21-348" fmla="*/ 7291226 h 7291226"/>
              <a:gd name="connsiteX22-349" fmla="*/ 3849932 w 9397013"/>
              <a:gd name="connsiteY22-350" fmla="*/ 3596670 h 7291226"/>
              <a:gd name="connsiteX23-351" fmla="*/ 4086202 w 9397013"/>
              <a:gd name="connsiteY23-352" fmla="*/ 3287229 h 7291226"/>
              <a:gd name="connsiteX24-353" fmla="*/ 7106560 w 9397013"/>
              <a:gd name="connsiteY24-354" fmla="*/ 7291226 h 7291226"/>
              <a:gd name="connsiteX25-355" fmla="*/ 7934229 w 9397013"/>
              <a:gd name="connsiteY25-356" fmla="*/ 7291226 h 7291226"/>
              <a:gd name="connsiteX26-357" fmla="*/ 7444802 w 9397013"/>
              <a:gd name="connsiteY26-358" fmla="*/ 7291226 h 7291226"/>
              <a:gd name="connsiteX27-359" fmla="*/ 4245793 w 9397013"/>
              <a:gd name="connsiteY27-360" fmla="*/ 3078214 h 7291226"/>
              <a:gd name="connsiteX28-361" fmla="*/ 4490696 w 9397013"/>
              <a:gd name="connsiteY28-362" fmla="*/ 2757469 h 7291226"/>
              <a:gd name="connsiteX29-363" fmla="*/ 7934229 w 9397013"/>
              <a:gd name="connsiteY29-364" fmla="*/ 7291226 h 7291226"/>
              <a:gd name="connsiteX30-365" fmla="*/ 8530746 w 9397013"/>
              <a:gd name="connsiteY30-366" fmla="*/ 7088026 h 7291226"/>
              <a:gd name="connsiteX31-367" fmla="*/ 8150153 w 9397013"/>
              <a:gd name="connsiteY31-368" fmla="*/ 7097262 h 7291226"/>
              <a:gd name="connsiteX32-369" fmla="*/ 4650570 w 9397013"/>
              <a:gd name="connsiteY32-370" fmla="*/ 2548084 h 7291226"/>
              <a:gd name="connsiteX33-371" fmla="*/ 4869244 w 9397013"/>
              <a:gd name="connsiteY33-372" fmla="*/ 2261689 h 7291226"/>
              <a:gd name="connsiteX34-373" fmla="*/ 8530746 w 9397013"/>
              <a:gd name="connsiteY34-374" fmla="*/ 7088026 h 7291226"/>
              <a:gd name="connsiteX35-375" fmla="*/ 9397013 w 9397013"/>
              <a:gd name="connsiteY35-376" fmla="*/ 7134207 h 7291226"/>
              <a:gd name="connsiteX36-377" fmla="*/ 8921338 w 9397013"/>
              <a:gd name="connsiteY36-378" fmla="*/ 7115735 h 7291226"/>
              <a:gd name="connsiteX37-379" fmla="*/ 5045299 w 9397013"/>
              <a:gd name="connsiteY37-380" fmla="*/ 2031113 h 7291226"/>
              <a:gd name="connsiteX38-381" fmla="*/ 5273037 w 9397013"/>
              <a:gd name="connsiteY38-382" fmla="*/ 1732846 h 7291226"/>
              <a:gd name="connsiteX39-383" fmla="*/ 9397013 w 9397013"/>
              <a:gd name="connsiteY39-384" fmla="*/ 7134207 h 7291226"/>
              <a:gd name="connsiteX0-385" fmla="*/ 168369 w 9397013"/>
              <a:gd name="connsiteY0-386" fmla="*/ 4779933 h 7291226"/>
              <a:gd name="connsiteX1-387" fmla="*/ 0 w 9397013"/>
              <a:gd name="connsiteY1-388" fmla="*/ 4409146 h 7291226"/>
              <a:gd name="connsiteX2-389" fmla="*/ 3332806 w 9397013"/>
              <a:gd name="connsiteY2-390" fmla="*/ 0 h 7291226"/>
              <a:gd name="connsiteX3-391" fmla="*/ 3794560 w 9397013"/>
              <a:gd name="connsiteY3-392" fmla="*/ 32861 h 7291226"/>
              <a:gd name="connsiteX4-393" fmla="*/ 168369 w 9397013"/>
              <a:gd name="connsiteY4-394" fmla="*/ 4779933 h 7291226"/>
              <a:gd name="connsiteX5-395" fmla="*/ 488220 w 9397013"/>
              <a:gd name="connsiteY5-396" fmla="*/ 5484315 h 7291226"/>
              <a:gd name="connsiteX6-397" fmla="*/ 299082 w 9397013"/>
              <a:gd name="connsiteY6-398" fmla="*/ 5067791 h 7291226"/>
              <a:gd name="connsiteX7-399" fmla="*/ 4106456 w 9397013"/>
              <a:gd name="connsiteY7-400" fmla="*/ 55057 h 7291226"/>
              <a:gd name="connsiteX8-401" fmla="*/ 4585079 w 9397013"/>
              <a:gd name="connsiteY8-402" fmla="*/ 89119 h 7291226"/>
              <a:gd name="connsiteX9-403" fmla="*/ 488220 w 9397013"/>
              <a:gd name="connsiteY9-404" fmla="*/ 5484315 h 7291226"/>
              <a:gd name="connsiteX10-405" fmla="*/ 779421 w 9397013"/>
              <a:gd name="connsiteY10-406" fmla="*/ 6125606 h 7291226"/>
              <a:gd name="connsiteX11-407" fmla="*/ 618065 w 9397013"/>
              <a:gd name="connsiteY11-408" fmla="*/ 5770263 h 7291226"/>
              <a:gd name="connsiteX12-409" fmla="*/ 4897528 w 9397013"/>
              <a:gd name="connsiteY12-410" fmla="*/ 111354 h 7291226"/>
              <a:gd name="connsiteX13-411" fmla="*/ 5324893 w 9397013"/>
              <a:gd name="connsiteY13-412" fmla="*/ 141768 h 7291226"/>
              <a:gd name="connsiteX14-413" fmla="*/ 779421 w 9397013"/>
              <a:gd name="connsiteY14-414" fmla="*/ 6125606 h 7291226"/>
              <a:gd name="connsiteX15-415" fmla="*/ 1099910 w 9397013"/>
              <a:gd name="connsiteY15-416" fmla="*/ 6831395 h 7291226"/>
              <a:gd name="connsiteX16-417" fmla="*/ 919656 w 9397013"/>
              <a:gd name="connsiteY16-418" fmla="*/ 6434435 h 7291226"/>
              <a:gd name="connsiteX17-419" fmla="*/ 5668965 w 9397013"/>
              <a:gd name="connsiteY17-420" fmla="*/ 166254 h 7291226"/>
              <a:gd name="connsiteX18-421" fmla="*/ 6114044 w 9397013"/>
              <a:gd name="connsiteY18-422" fmla="*/ 197929 h 7291226"/>
              <a:gd name="connsiteX19-423" fmla="*/ 1099910 w 9397013"/>
              <a:gd name="connsiteY19-424" fmla="*/ 6831395 h 7291226"/>
              <a:gd name="connsiteX20-425" fmla="*/ 7106560 w 9397013"/>
              <a:gd name="connsiteY20-426" fmla="*/ 7291226 h 7291226"/>
              <a:gd name="connsiteX21-427" fmla="*/ 6670875 w 9397013"/>
              <a:gd name="connsiteY21-428" fmla="*/ 7291226 h 7291226"/>
              <a:gd name="connsiteX22-429" fmla="*/ 3849932 w 9397013"/>
              <a:gd name="connsiteY22-430" fmla="*/ 3596670 h 7291226"/>
              <a:gd name="connsiteX23-431" fmla="*/ 4086202 w 9397013"/>
              <a:gd name="connsiteY23-432" fmla="*/ 3287229 h 7291226"/>
              <a:gd name="connsiteX24-433" fmla="*/ 7106560 w 9397013"/>
              <a:gd name="connsiteY24-434" fmla="*/ 7291226 h 7291226"/>
              <a:gd name="connsiteX25-435" fmla="*/ 7934229 w 9397013"/>
              <a:gd name="connsiteY25-436" fmla="*/ 7291226 h 7291226"/>
              <a:gd name="connsiteX26-437" fmla="*/ 7444802 w 9397013"/>
              <a:gd name="connsiteY26-438" fmla="*/ 7291226 h 7291226"/>
              <a:gd name="connsiteX27-439" fmla="*/ 4245793 w 9397013"/>
              <a:gd name="connsiteY27-440" fmla="*/ 3078214 h 7291226"/>
              <a:gd name="connsiteX28-441" fmla="*/ 4490696 w 9397013"/>
              <a:gd name="connsiteY28-442" fmla="*/ 2757469 h 7291226"/>
              <a:gd name="connsiteX29-443" fmla="*/ 7934229 w 9397013"/>
              <a:gd name="connsiteY29-444" fmla="*/ 7291226 h 7291226"/>
              <a:gd name="connsiteX30-445" fmla="*/ 8567691 w 9397013"/>
              <a:gd name="connsiteY30-446" fmla="*/ 7124971 h 7291226"/>
              <a:gd name="connsiteX31-447" fmla="*/ 8150153 w 9397013"/>
              <a:gd name="connsiteY31-448" fmla="*/ 7097262 h 7291226"/>
              <a:gd name="connsiteX32-449" fmla="*/ 4650570 w 9397013"/>
              <a:gd name="connsiteY32-450" fmla="*/ 2548084 h 7291226"/>
              <a:gd name="connsiteX33-451" fmla="*/ 4869244 w 9397013"/>
              <a:gd name="connsiteY33-452" fmla="*/ 2261689 h 7291226"/>
              <a:gd name="connsiteX34-453" fmla="*/ 8567691 w 9397013"/>
              <a:gd name="connsiteY34-454" fmla="*/ 7124971 h 7291226"/>
              <a:gd name="connsiteX35-455" fmla="*/ 9397013 w 9397013"/>
              <a:gd name="connsiteY35-456" fmla="*/ 7134207 h 7291226"/>
              <a:gd name="connsiteX36-457" fmla="*/ 8921338 w 9397013"/>
              <a:gd name="connsiteY36-458" fmla="*/ 7115735 h 7291226"/>
              <a:gd name="connsiteX37-459" fmla="*/ 5045299 w 9397013"/>
              <a:gd name="connsiteY37-460" fmla="*/ 2031113 h 7291226"/>
              <a:gd name="connsiteX38-461" fmla="*/ 5273037 w 9397013"/>
              <a:gd name="connsiteY38-462" fmla="*/ 1732846 h 7291226"/>
              <a:gd name="connsiteX39-463" fmla="*/ 9397013 w 9397013"/>
              <a:gd name="connsiteY39-464" fmla="*/ 7134207 h 7291226"/>
              <a:gd name="connsiteX0-465" fmla="*/ 168369 w 9397013"/>
              <a:gd name="connsiteY0-466" fmla="*/ 4779933 h 7291226"/>
              <a:gd name="connsiteX1-467" fmla="*/ 0 w 9397013"/>
              <a:gd name="connsiteY1-468" fmla="*/ 4409146 h 7291226"/>
              <a:gd name="connsiteX2-469" fmla="*/ 3332806 w 9397013"/>
              <a:gd name="connsiteY2-470" fmla="*/ 0 h 7291226"/>
              <a:gd name="connsiteX3-471" fmla="*/ 3794560 w 9397013"/>
              <a:gd name="connsiteY3-472" fmla="*/ 32861 h 7291226"/>
              <a:gd name="connsiteX4-473" fmla="*/ 168369 w 9397013"/>
              <a:gd name="connsiteY4-474" fmla="*/ 4779933 h 7291226"/>
              <a:gd name="connsiteX5-475" fmla="*/ 488220 w 9397013"/>
              <a:gd name="connsiteY5-476" fmla="*/ 5484315 h 7291226"/>
              <a:gd name="connsiteX6-477" fmla="*/ 299082 w 9397013"/>
              <a:gd name="connsiteY6-478" fmla="*/ 5067791 h 7291226"/>
              <a:gd name="connsiteX7-479" fmla="*/ 4106456 w 9397013"/>
              <a:gd name="connsiteY7-480" fmla="*/ 55057 h 7291226"/>
              <a:gd name="connsiteX8-481" fmla="*/ 4585079 w 9397013"/>
              <a:gd name="connsiteY8-482" fmla="*/ 89119 h 7291226"/>
              <a:gd name="connsiteX9-483" fmla="*/ 488220 w 9397013"/>
              <a:gd name="connsiteY9-484" fmla="*/ 5484315 h 7291226"/>
              <a:gd name="connsiteX10-485" fmla="*/ 779421 w 9397013"/>
              <a:gd name="connsiteY10-486" fmla="*/ 6125606 h 7291226"/>
              <a:gd name="connsiteX11-487" fmla="*/ 618065 w 9397013"/>
              <a:gd name="connsiteY11-488" fmla="*/ 5770263 h 7291226"/>
              <a:gd name="connsiteX12-489" fmla="*/ 4897528 w 9397013"/>
              <a:gd name="connsiteY12-490" fmla="*/ 111354 h 7291226"/>
              <a:gd name="connsiteX13-491" fmla="*/ 5324893 w 9397013"/>
              <a:gd name="connsiteY13-492" fmla="*/ 141768 h 7291226"/>
              <a:gd name="connsiteX14-493" fmla="*/ 779421 w 9397013"/>
              <a:gd name="connsiteY14-494" fmla="*/ 6125606 h 7291226"/>
              <a:gd name="connsiteX15-495" fmla="*/ 1099910 w 9397013"/>
              <a:gd name="connsiteY15-496" fmla="*/ 6831395 h 7291226"/>
              <a:gd name="connsiteX16-497" fmla="*/ 919656 w 9397013"/>
              <a:gd name="connsiteY16-498" fmla="*/ 6434435 h 7291226"/>
              <a:gd name="connsiteX17-499" fmla="*/ 5668965 w 9397013"/>
              <a:gd name="connsiteY17-500" fmla="*/ 166254 h 7291226"/>
              <a:gd name="connsiteX18-501" fmla="*/ 6114044 w 9397013"/>
              <a:gd name="connsiteY18-502" fmla="*/ 197929 h 7291226"/>
              <a:gd name="connsiteX19-503" fmla="*/ 1099910 w 9397013"/>
              <a:gd name="connsiteY19-504" fmla="*/ 6831395 h 7291226"/>
              <a:gd name="connsiteX20-505" fmla="*/ 7106560 w 9397013"/>
              <a:gd name="connsiteY20-506" fmla="*/ 7291226 h 7291226"/>
              <a:gd name="connsiteX21-507" fmla="*/ 6670875 w 9397013"/>
              <a:gd name="connsiteY21-508" fmla="*/ 7291226 h 7291226"/>
              <a:gd name="connsiteX22-509" fmla="*/ 3849932 w 9397013"/>
              <a:gd name="connsiteY22-510" fmla="*/ 3596670 h 7291226"/>
              <a:gd name="connsiteX23-511" fmla="*/ 4086202 w 9397013"/>
              <a:gd name="connsiteY23-512" fmla="*/ 3287229 h 7291226"/>
              <a:gd name="connsiteX24-513" fmla="*/ 7106560 w 9397013"/>
              <a:gd name="connsiteY24-514" fmla="*/ 7291226 h 7291226"/>
              <a:gd name="connsiteX25-515" fmla="*/ 7934229 w 9397013"/>
              <a:gd name="connsiteY25-516" fmla="*/ 7291226 h 7291226"/>
              <a:gd name="connsiteX26-517" fmla="*/ 7444802 w 9397013"/>
              <a:gd name="connsiteY26-518" fmla="*/ 7291226 h 7291226"/>
              <a:gd name="connsiteX27-519" fmla="*/ 4245793 w 9397013"/>
              <a:gd name="connsiteY27-520" fmla="*/ 3078214 h 7291226"/>
              <a:gd name="connsiteX28-521" fmla="*/ 4490696 w 9397013"/>
              <a:gd name="connsiteY28-522" fmla="*/ 2757469 h 7291226"/>
              <a:gd name="connsiteX29-523" fmla="*/ 7934229 w 9397013"/>
              <a:gd name="connsiteY29-524" fmla="*/ 7291226 h 7291226"/>
              <a:gd name="connsiteX30-525" fmla="*/ 8567691 w 9397013"/>
              <a:gd name="connsiteY30-526" fmla="*/ 7124971 h 7291226"/>
              <a:gd name="connsiteX31-527" fmla="*/ 8159389 w 9397013"/>
              <a:gd name="connsiteY31-528" fmla="*/ 7134208 h 7291226"/>
              <a:gd name="connsiteX32-529" fmla="*/ 4650570 w 9397013"/>
              <a:gd name="connsiteY32-530" fmla="*/ 2548084 h 7291226"/>
              <a:gd name="connsiteX33-531" fmla="*/ 4869244 w 9397013"/>
              <a:gd name="connsiteY33-532" fmla="*/ 2261689 h 7291226"/>
              <a:gd name="connsiteX34-533" fmla="*/ 8567691 w 9397013"/>
              <a:gd name="connsiteY34-534" fmla="*/ 7124971 h 7291226"/>
              <a:gd name="connsiteX35-535" fmla="*/ 9397013 w 9397013"/>
              <a:gd name="connsiteY35-536" fmla="*/ 7134207 h 7291226"/>
              <a:gd name="connsiteX36-537" fmla="*/ 8921338 w 9397013"/>
              <a:gd name="connsiteY36-538" fmla="*/ 7115735 h 7291226"/>
              <a:gd name="connsiteX37-539" fmla="*/ 5045299 w 9397013"/>
              <a:gd name="connsiteY37-540" fmla="*/ 2031113 h 7291226"/>
              <a:gd name="connsiteX38-541" fmla="*/ 5273037 w 9397013"/>
              <a:gd name="connsiteY38-542" fmla="*/ 1732846 h 7291226"/>
              <a:gd name="connsiteX39-543" fmla="*/ 9397013 w 9397013"/>
              <a:gd name="connsiteY39-544" fmla="*/ 7134207 h 7291226"/>
              <a:gd name="connsiteX0-545" fmla="*/ 168369 w 9397013"/>
              <a:gd name="connsiteY0-546" fmla="*/ 4779933 h 7291226"/>
              <a:gd name="connsiteX1-547" fmla="*/ 0 w 9397013"/>
              <a:gd name="connsiteY1-548" fmla="*/ 4409146 h 7291226"/>
              <a:gd name="connsiteX2-549" fmla="*/ 3332806 w 9397013"/>
              <a:gd name="connsiteY2-550" fmla="*/ 0 h 7291226"/>
              <a:gd name="connsiteX3-551" fmla="*/ 3794560 w 9397013"/>
              <a:gd name="connsiteY3-552" fmla="*/ 32861 h 7291226"/>
              <a:gd name="connsiteX4-553" fmla="*/ 168369 w 9397013"/>
              <a:gd name="connsiteY4-554" fmla="*/ 4779933 h 7291226"/>
              <a:gd name="connsiteX5-555" fmla="*/ 488220 w 9397013"/>
              <a:gd name="connsiteY5-556" fmla="*/ 5484315 h 7291226"/>
              <a:gd name="connsiteX6-557" fmla="*/ 299082 w 9397013"/>
              <a:gd name="connsiteY6-558" fmla="*/ 5067791 h 7291226"/>
              <a:gd name="connsiteX7-559" fmla="*/ 4106456 w 9397013"/>
              <a:gd name="connsiteY7-560" fmla="*/ 55057 h 7291226"/>
              <a:gd name="connsiteX8-561" fmla="*/ 4585079 w 9397013"/>
              <a:gd name="connsiteY8-562" fmla="*/ 89119 h 7291226"/>
              <a:gd name="connsiteX9-563" fmla="*/ 488220 w 9397013"/>
              <a:gd name="connsiteY9-564" fmla="*/ 5484315 h 7291226"/>
              <a:gd name="connsiteX10-565" fmla="*/ 779421 w 9397013"/>
              <a:gd name="connsiteY10-566" fmla="*/ 6125606 h 7291226"/>
              <a:gd name="connsiteX11-567" fmla="*/ 618065 w 9397013"/>
              <a:gd name="connsiteY11-568" fmla="*/ 5770263 h 7291226"/>
              <a:gd name="connsiteX12-569" fmla="*/ 4897528 w 9397013"/>
              <a:gd name="connsiteY12-570" fmla="*/ 111354 h 7291226"/>
              <a:gd name="connsiteX13-571" fmla="*/ 5324893 w 9397013"/>
              <a:gd name="connsiteY13-572" fmla="*/ 141768 h 7291226"/>
              <a:gd name="connsiteX14-573" fmla="*/ 779421 w 9397013"/>
              <a:gd name="connsiteY14-574" fmla="*/ 6125606 h 7291226"/>
              <a:gd name="connsiteX15-575" fmla="*/ 1099910 w 9397013"/>
              <a:gd name="connsiteY15-576" fmla="*/ 6831395 h 7291226"/>
              <a:gd name="connsiteX16-577" fmla="*/ 919656 w 9397013"/>
              <a:gd name="connsiteY16-578" fmla="*/ 6434435 h 7291226"/>
              <a:gd name="connsiteX17-579" fmla="*/ 5668965 w 9397013"/>
              <a:gd name="connsiteY17-580" fmla="*/ 166254 h 7291226"/>
              <a:gd name="connsiteX18-581" fmla="*/ 6114044 w 9397013"/>
              <a:gd name="connsiteY18-582" fmla="*/ 197929 h 7291226"/>
              <a:gd name="connsiteX19-583" fmla="*/ 1099910 w 9397013"/>
              <a:gd name="connsiteY19-584" fmla="*/ 6831395 h 7291226"/>
              <a:gd name="connsiteX20-585" fmla="*/ 7106560 w 9397013"/>
              <a:gd name="connsiteY20-586" fmla="*/ 7291226 h 7291226"/>
              <a:gd name="connsiteX21-587" fmla="*/ 6670875 w 9397013"/>
              <a:gd name="connsiteY21-588" fmla="*/ 7291226 h 7291226"/>
              <a:gd name="connsiteX22-589" fmla="*/ 3849932 w 9397013"/>
              <a:gd name="connsiteY22-590" fmla="*/ 3596670 h 7291226"/>
              <a:gd name="connsiteX23-591" fmla="*/ 4086202 w 9397013"/>
              <a:gd name="connsiteY23-592" fmla="*/ 3287229 h 7291226"/>
              <a:gd name="connsiteX24-593" fmla="*/ 7106560 w 9397013"/>
              <a:gd name="connsiteY24-594" fmla="*/ 7291226 h 7291226"/>
              <a:gd name="connsiteX25-595" fmla="*/ 7777211 w 9397013"/>
              <a:gd name="connsiteY25-596" fmla="*/ 7124972 h 7291226"/>
              <a:gd name="connsiteX26-597" fmla="*/ 7444802 w 9397013"/>
              <a:gd name="connsiteY26-598" fmla="*/ 7291226 h 7291226"/>
              <a:gd name="connsiteX27-599" fmla="*/ 4245793 w 9397013"/>
              <a:gd name="connsiteY27-600" fmla="*/ 3078214 h 7291226"/>
              <a:gd name="connsiteX28-601" fmla="*/ 4490696 w 9397013"/>
              <a:gd name="connsiteY28-602" fmla="*/ 2757469 h 7291226"/>
              <a:gd name="connsiteX29-603" fmla="*/ 7777211 w 9397013"/>
              <a:gd name="connsiteY29-604" fmla="*/ 7124972 h 7291226"/>
              <a:gd name="connsiteX30-605" fmla="*/ 8567691 w 9397013"/>
              <a:gd name="connsiteY30-606" fmla="*/ 7124971 h 7291226"/>
              <a:gd name="connsiteX31-607" fmla="*/ 8159389 w 9397013"/>
              <a:gd name="connsiteY31-608" fmla="*/ 7134208 h 7291226"/>
              <a:gd name="connsiteX32-609" fmla="*/ 4650570 w 9397013"/>
              <a:gd name="connsiteY32-610" fmla="*/ 2548084 h 7291226"/>
              <a:gd name="connsiteX33-611" fmla="*/ 4869244 w 9397013"/>
              <a:gd name="connsiteY33-612" fmla="*/ 2261689 h 7291226"/>
              <a:gd name="connsiteX34-613" fmla="*/ 8567691 w 9397013"/>
              <a:gd name="connsiteY34-614" fmla="*/ 7124971 h 7291226"/>
              <a:gd name="connsiteX35-615" fmla="*/ 9397013 w 9397013"/>
              <a:gd name="connsiteY35-616" fmla="*/ 7134207 h 7291226"/>
              <a:gd name="connsiteX36-617" fmla="*/ 8921338 w 9397013"/>
              <a:gd name="connsiteY36-618" fmla="*/ 7115735 h 7291226"/>
              <a:gd name="connsiteX37-619" fmla="*/ 5045299 w 9397013"/>
              <a:gd name="connsiteY37-620" fmla="*/ 2031113 h 7291226"/>
              <a:gd name="connsiteX38-621" fmla="*/ 5273037 w 9397013"/>
              <a:gd name="connsiteY38-622" fmla="*/ 1732846 h 7291226"/>
              <a:gd name="connsiteX39-623" fmla="*/ 9397013 w 9397013"/>
              <a:gd name="connsiteY39-624" fmla="*/ 7134207 h 7291226"/>
              <a:gd name="connsiteX0-625" fmla="*/ 168369 w 9397013"/>
              <a:gd name="connsiteY0-626" fmla="*/ 4779933 h 7291226"/>
              <a:gd name="connsiteX1-627" fmla="*/ 0 w 9397013"/>
              <a:gd name="connsiteY1-628" fmla="*/ 4409146 h 7291226"/>
              <a:gd name="connsiteX2-629" fmla="*/ 3332806 w 9397013"/>
              <a:gd name="connsiteY2-630" fmla="*/ 0 h 7291226"/>
              <a:gd name="connsiteX3-631" fmla="*/ 3794560 w 9397013"/>
              <a:gd name="connsiteY3-632" fmla="*/ 32861 h 7291226"/>
              <a:gd name="connsiteX4-633" fmla="*/ 168369 w 9397013"/>
              <a:gd name="connsiteY4-634" fmla="*/ 4779933 h 7291226"/>
              <a:gd name="connsiteX5-635" fmla="*/ 488220 w 9397013"/>
              <a:gd name="connsiteY5-636" fmla="*/ 5484315 h 7291226"/>
              <a:gd name="connsiteX6-637" fmla="*/ 299082 w 9397013"/>
              <a:gd name="connsiteY6-638" fmla="*/ 5067791 h 7291226"/>
              <a:gd name="connsiteX7-639" fmla="*/ 4106456 w 9397013"/>
              <a:gd name="connsiteY7-640" fmla="*/ 55057 h 7291226"/>
              <a:gd name="connsiteX8-641" fmla="*/ 4585079 w 9397013"/>
              <a:gd name="connsiteY8-642" fmla="*/ 89119 h 7291226"/>
              <a:gd name="connsiteX9-643" fmla="*/ 488220 w 9397013"/>
              <a:gd name="connsiteY9-644" fmla="*/ 5484315 h 7291226"/>
              <a:gd name="connsiteX10-645" fmla="*/ 779421 w 9397013"/>
              <a:gd name="connsiteY10-646" fmla="*/ 6125606 h 7291226"/>
              <a:gd name="connsiteX11-647" fmla="*/ 618065 w 9397013"/>
              <a:gd name="connsiteY11-648" fmla="*/ 5770263 h 7291226"/>
              <a:gd name="connsiteX12-649" fmla="*/ 4897528 w 9397013"/>
              <a:gd name="connsiteY12-650" fmla="*/ 111354 h 7291226"/>
              <a:gd name="connsiteX13-651" fmla="*/ 5324893 w 9397013"/>
              <a:gd name="connsiteY13-652" fmla="*/ 141768 h 7291226"/>
              <a:gd name="connsiteX14-653" fmla="*/ 779421 w 9397013"/>
              <a:gd name="connsiteY14-654" fmla="*/ 6125606 h 7291226"/>
              <a:gd name="connsiteX15-655" fmla="*/ 1099910 w 9397013"/>
              <a:gd name="connsiteY15-656" fmla="*/ 6831395 h 7291226"/>
              <a:gd name="connsiteX16-657" fmla="*/ 919656 w 9397013"/>
              <a:gd name="connsiteY16-658" fmla="*/ 6434435 h 7291226"/>
              <a:gd name="connsiteX17-659" fmla="*/ 5668965 w 9397013"/>
              <a:gd name="connsiteY17-660" fmla="*/ 166254 h 7291226"/>
              <a:gd name="connsiteX18-661" fmla="*/ 6114044 w 9397013"/>
              <a:gd name="connsiteY18-662" fmla="*/ 197929 h 7291226"/>
              <a:gd name="connsiteX19-663" fmla="*/ 1099910 w 9397013"/>
              <a:gd name="connsiteY19-664" fmla="*/ 6831395 h 7291226"/>
              <a:gd name="connsiteX20-665" fmla="*/ 7106560 w 9397013"/>
              <a:gd name="connsiteY20-666" fmla="*/ 7291226 h 7291226"/>
              <a:gd name="connsiteX21-667" fmla="*/ 6670875 w 9397013"/>
              <a:gd name="connsiteY21-668" fmla="*/ 7291226 h 7291226"/>
              <a:gd name="connsiteX22-669" fmla="*/ 3849932 w 9397013"/>
              <a:gd name="connsiteY22-670" fmla="*/ 3596670 h 7291226"/>
              <a:gd name="connsiteX23-671" fmla="*/ 4086202 w 9397013"/>
              <a:gd name="connsiteY23-672" fmla="*/ 3287229 h 7291226"/>
              <a:gd name="connsiteX24-673" fmla="*/ 7106560 w 9397013"/>
              <a:gd name="connsiteY24-674" fmla="*/ 7291226 h 7291226"/>
              <a:gd name="connsiteX25-675" fmla="*/ 7777211 w 9397013"/>
              <a:gd name="connsiteY25-676" fmla="*/ 7124972 h 7291226"/>
              <a:gd name="connsiteX26-677" fmla="*/ 7324729 w 9397013"/>
              <a:gd name="connsiteY26-678" fmla="*/ 7124972 h 7291226"/>
              <a:gd name="connsiteX27-679" fmla="*/ 4245793 w 9397013"/>
              <a:gd name="connsiteY27-680" fmla="*/ 3078214 h 7291226"/>
              <a:gd name="connsiteX28-681" fmla="*/ 4490696 w 9397013"/>
              <a:gd name="connsiteY28-682" fmla="*/ 2757469 h 7291226"/>
              <a:gd name="connsiteX29-683" fmla="*/ 7777211 w 9397013"/>
              <a:gd name="connsiteY29-684" fmla="*/ 7124972 h 7291226"/>
              <a:gd name="connsiteX30-685" fmla="*/ 8567691 w 9397013"/>
              <a:gd name="connsiteY30-686" fmla="*/ 7124971 h 7291226"/>
              <a:gd name="connsiteX31-687" fmla="*/ 8159389 w 9397013"/>
              <a:gd name="connsiteY31-688" fmla="*/ 7134208 h 7291226"/>
              <a:gd name="connsiteX32-689" fmla="*/ 4650570 w 9397013"/>
              <a:gd name="connsiteY32-690" fmla="*/ 2548084 h 7291226"/>
              <a:gd name="connsiteX33-691" fmla="*/ 4869244 w 9397013"/>
              <a:gd name="connsiteY33-692" fmla="*/ 2261689 h 7291226"/>
              <a:gd name="connsiteX34-693" fmla="*/ 8567691 w 9397013"/>
              <a:gd name="connsiteY34-694" fmla="*/ 7124971 h 7291226"/>
              <a:gd name="connsiteX35-695" fmla="*/ 9397013 w 9397013"/>
              <a:gd name="connsiteY35-696" fmla="*/ 7134207 h 7291226"/>
              <a:gd name="connsiteX36-697" fmla="*/ 8921338 w 9397013"/>
              <a:gd name="connsiteY36-698" fmla="*/ 7115735 h 7291226"/>
              <a:gd name="connsiteX37-699" fmla="*/ 5045299 w 9397013"/>
              <a:gd name="connsiteY37-700" fmla="*/ 2031113 h 7291226"/>
              <a:gd name="connsiteX38-701" fmla="*/ 5273037 w 9397013"/>
              <a:gd name="connsiteY38-702" fmla="*/ 1732846 h 7291226"/>
              <a:gd name="connsiteX39-703" fmla="*/ 9397013 w 9397013"/>
              <a:gd name="connsiteY39-704" fmla="*/ 7134207 h 7291226"/>
              <a:gd name="connsiteX0-705" fmla="*/ 168369 w 9397013"/>
              <a:gd name="connsiteY0-706" fmla="*/ 4779933 h 7291226"/>
              <a:gd name="connsiteX1-707" fmla="*/ 0 w 9397013"/>
              <a:gd name="connsiteY1-708" fmla="*/ 4409146 h 7291226"/>
              <a:gd name="connsiteX2-709" fmla="*/ 3332806 w 9397013"/>
              <a:gd name="connsiteY2-710" fmla="*/ 0 h 7291226"/>
              <a:gd name="connsiteX3-711" fmla="*/ 3794560 w 9397013"/>
              <a:gd name="connsiteY3-712" fmla="*/ 32861 h 7291226"/>
              <a:gd name="connsiteX4-713" fmla="*/ 168369 w 9397013"/>
              <a:gd name="connsiteY4-714" fmla="*/ 4779933 h 7291226"/>
              <a:gd name="connsiteX5-715" fmla="*/ 488220 w 9397013"/>
              <a:gd name="connsiteY5-716" fmla="*/ 5484315 h 7291226"/>
              <a:gd name="connsiteX6-717" fmla="*/ 299082 w 9397013"/>
              <a:gd name="connsiteY6-718" fmla="*/ 5067791 h 7291226"/>
              <a:gd name="connsiteX7-719" fmla="*/ 4106456 w 9397013"/>
              <a:gd name="connsiteY7-720" fmla="*/ 55057 h 7291226"/>
              <a:gd name="connsiteX8-721" fmla="*/ 4585079 w 9397013"/>
              <a:gd name="connsiteY8-722" fmla="*/ 89119 h 7291226"/>
              <a:gd name="connsiteX9-723" fmla="*/ 488220 w 9397013"/>
              <a:gd name="connsiteY9-724" fmla="*/ 5484315 h 7291226"/>
              <a:gd name="connsiteX10-725" fmla="*/ 779421 w 9397013"/>
              <a:gd name="connsiteY10-726" fmla="*/ 6125606 h 7291226"/>
              <a:gd name="connsiteX11-727" fmla="*/ 618065 w 9397013"/>
              <a:gd name="connsiteY11-728" fmla="*/ 5770263 h 7291226"/>
              <a:gd name="connsiteX12-729" fmla="*/ 4897528 w 9397013"/>
              <a:gd name="connsiteY12-730" fmla="*/ 111354 h 7291226"/>
              <a:gd name="connsiteX13-731" fmla="*/ 5324893 w 9397013"/>
              <a:gd name="connsiteY13-732" fmla="*/ 141768 h 7291226"/>
              <a:gd name="connsiteX14-733" fmla="*/ 779421 w 9397013"/>
              <a:gd name="connsiteY14-734" fmla="*/ 6125606 h 7291226"/>
              <a:gd name="connsiteX15-735" fmla="*/ 1099910 w 9397013"/>
              <a:gd name="connsiteY15-736" fmla="*/ 6831395 h 7291226"/>
              <a:gd name="connsiteX16-737" fmla="*/ 919656 w 9397013"/>
              <a:gd name="connsiteY16-738" fmla="*/ 6434435 h 7291226"/>
              <a:gd name="connsiteX17-739" fmla="*/ 5668965 w 9397013"/>
              <a:gd name="connsiteY17-740" fmla="*/ 166254 h 7291226"/>
              <a:gd name="connsiteX18-741" fmla="*/ 6114044 w 9397013"/>
              <a:gd name="connsiteY18-742" fmla="*/ 197929 h 7291226"/>
              <a:gd name="connsiteX19-743" fmla="*/ 1099910 w 9397013"/>
              <a:gd name="connsiteY19-744" fmla="*/ 6831395 h 7291226"/>
              <a:gd name="connsiteX20-745" fmla="*/ 6968015 w 9397013"/>
              <a:gd name="connsiteY20-746" fmla="*/ 7143444 h 7291226"/>
              <a:gd name="connsiteX21-747" fmla="*/ 6670875 w 9397013"/>
              <a:gd name="connsiteY21-748" fmla="*/ 7291226 h 7291226"/>
              <a:gd name="connsiteX22-749" fmla="*/ 3849932 w 9397013"/>
              <a:gd name="connsiteY22-750" fmla="*/ 3596670 h 7291226"/>
              <a:gd name="connsiteX23-751" fmla="*/ 4086202 w 9397013"/>
              <a:gd name="connsiteY23-752" fmla="*/ 3287229 h 7291226"/>
              <a:gd name="connsiteX24-753" fmla="*/ 6968015 w 9397013"/>
              <a:gd name="connsiteY24-754" fmla="*/ 7143444 h 7291226"/>
              <a:gd name="connsiteX25-755" fmla="*/ 7777211 w 9397013"/>
              <a:gd name="connsiteY25-756" fmla="*/ 7124972 h 7291226"/>
              <a:gd name="connsiteX26-757" fmla="*/ 7324729 w 9397013"/>
              <a:gd name="connsiteY26-758" fmla="*/ 7124972 h 7291226"/>
              <a:gd name="connsiteX27-759" fmla="*/ 4245793 w 9397013"/>
              <a:gd name="connsiteY27-760" fmla="*/ 3078214 h 7291226"/>
              <a:gd name="connsiteX28-761" fmla="*/ 4490696 w 9397013"/>
              <a:gd name="connsiteY28-762" fmla="*/ 2757469 h 7291226"/>
              <a:gd name="connsiteX29-763" fmla="*/ 7777211 w 9397013"/>
              <a:gd name="connsiteY29-764" fmla="*/ 7124972 h 7291226"/>
              <a:gd name="connsiteX30-765" fmla="*/ 8567691 w 9397013"/>
              <a:gd name="connsiteY30-766" fmla="*/ 7124971 h 7291226"/>
              <a:gd name="connsiteX31-767" fmla="*/ 8159389 w 9397013"/>
              <a:gd name="connsiteY31-768" fmla="*/ 7134208 h 7291226"/>
              <a:gd name="connsiteX32-769" fmla="*/ 4650570 w 9397013"/>
              <a:gd name="connsiteY32-770" fmla="*/ 2548084 h 7291226"/>
              <a:gd name="connsiteX33-771" fmla="*/ 4869244 w 9397013"/>
              <a:gd name="connsiteY33-772" fmla="*/ 2261689 h 7291226"/>
              <a:gd name="connsiteX34-773" fmla="*/ 8567691 w 9397013"/>
              <a:gd name="connsiteY34-774" fmla="*/ 7124971 h 7291226"/>
              <a:gd name="connsiteX35-775" fmla="*/ 9397013 w 9397013"/>
              <a:gd name="connsiteY35-776" fmla="*/ 7134207 h 7291226"/>
              <a:gd name="connsiteX36-777" fmla="*/ 8921338 w 9397013"/>
              <a:gd name="connsiteY36-778" fmla="*/ 7115735 h 7291226"/>
              <a:gd name="connsiteX37-779" fmla="*/ 5045299 w 9397013"/>
              <a:gd name="connsiteY37-780" fmla="*/ 2031113 h 7291226"/>
              <a:gd name="connsiteX38-781" fmla="*/ 5273037 w 9397013"/>
              <a:gd name="connsiteY38-782" fmla="*/ 1732846 h 7291226"/>
              <a:gd name="connsiteX39-783" fmla="*/ 9397013 w 9397013"/>
              <a:gd name="connsiteY39-784" fmla="*/ 7134207 h 7291226"/>
              <a:gd name="connsiteX0-785" fmla="*/ 168369 w 9397013"/>
              <a:gd name="connsiteY0-786" fmla="*/ 4779933 h 7143444"/>
              <a:gd name="connsiteX1-787" fmla="*/ 0 w 9397013"/>
              <a:gd name="connsiteY1-788" fmla="*/ 4409146 h 7143444"/>
              <a:gd name="connsiteX2-789" fmla="*/ 3332806 w 9397013"/>
              <a:gd name="connsiteY2-790" fmla="*/ 0 h 7143444"/>
              <a:gd name="connsiteX3-791" fmla="*/ 3794560 w 9397013"/>
              <a:gd name="connsiteY3-792" fmla="*/ 32861 h 7143444"/>
              <a:gd name="connsiteX4-793" fmla="*/ 168369 w 9397013"/>
              <a:gd name="connsiteY4-794" fmla="*/ 4779933 h 7143444"/>
              <a:gd name="connsiteX5-795" fmla="*/ 488220 w 9397013"/>
              <a:gd name="connsiteY5-796" fmla="*/ 5484315 h 7143444"/>
              <a:gd name="connsiteX6-797" fmla="*/ 299082 w 9397013"/>
              <a:gd name="connsiteY6-798" fmla="*/ 5067791 h 7143444"/>
              <a:gd name="connsiteX7-799" fmla="*/ 4106456 w 9397013"/>
              <a:gd name="connsiteY7-800" fmla="*/ 55057 h 7143444"/>
              <a:gd name="connsiteX8-801" fmla="*/ 4585079 w 9397013"/>
              <a:gd name="connsiteY8-802" fmla="*/ 89119 h 7143444"/>
              <a:gd name="connsiteX9-803" fmla="*/ 488220 w 9397013"/>
              <a:gd name="connsiteY9-804" fmla="*/ 5484315 h 7143444"/>
              <a:gd name="connsiteX10-805" fmla="*/ 779421 w 9397013"/>
              <a:gd name="connsiteY10-806" fmla="*/ 6125606 h 7143444"/>
              <a:gd name="connsiteX11-807" fmla="*/ 618065 w 9397013"/>
              <a:gd name="connsiteY11-808" fmla="*/ 5770263 h 7143444"/>
              <a:gd name="connsiteX12-809" fmla="*/ 4897528 w 9397013"/>
              <a:gd name="connsiteY12-810" fmla="*/ 111354 h 7143444"/>
              <a:gd name="connsiteX13-811" fmla="*/ 5324893 w 9397013"/>
              <a:gd name="connsiteY13-812" fmla="*/ 141768 h 7143444"/>
              <a:gd name="connsiteX14-813" fmla="*/ 779421 w 9397013"/>
              <a:gd name="connsiteY14-814" fmla="*/ 6125606 h 7143444"/>
              <a:gd name="connsiteX15-815" fmla="*/ 1099910 w 9397013"/>
              <a:gd name="connsiteY15-816" fmla="*/ 6831395 h 7143444"/>
              <a:gd name="connsiteX16-817" fmla="*/ 919656 w 9397013"/>
              <a:gd name="connsiteY16-818" fmla="*/ 6434435 h 7143444"/>
              <a:gd name="connsiteX17-819" fmla="*/ 5668965 w 9397013"/>
              <a:gd name="connsiteY17-820" fmla="*/ 166254 h 7143444"/>
              <a:gd name="connsiteX18-821" fmla="*/ 6114044 w 9397013"/>
              <a:gd name="connsiteY18-822" fmla="*/ 197929 h 7143444"/>
              <a:gd name="connsiteX19-823" fmla="*/ 1099910 w 9397013"/>
              <a:gd name="connsiteY19-824" fmla="*/ 6831395 h 7143444"/>
              <a:gd name="connsiteX20-825" fmla="*/ 6968015 w 9397013"/>
              <a:gd name="connsiteY20-826" fmla="*/ 7143444 h 7143444"/>
              <a:gd name="connsiteX21-827" fmla="*/ 6550802 w 9397013"/>
              <a:gd name="connsiteY21-828" fmla="*/ 7143444 h 7143444"/>
              <a:gd name="connsiteX22-829" fmla="*/ 3849932 w 9397013"/>
              <a:gd name="connsiteY22-830" fmla="*/ 3596670 h 7143444"/>
              <a:gd name="connsiteX23-831" fmla="*/ 4086202 w 9397013"/>
              <a:gd name="connsiteY23-832" fmla="*/ 3287229 h 7143444"/>
              <a:gd name="connsiteX24-833" fmla="*/ 6968015 w 9397013"/>
              <a:gd name="connsiteY24-834" fmla="*/ 7143444 h 7143444"/>
              <a:gd name="connsiteX25-835" fmla="*/ 7777211 w 9397013"/>
              <a:gd name="connsiteY25-836" fmla="*/ 7124972 h 7143444"/>
              <a:gd name="connsiteX26-837" fmla="*/ 7324729 w 9397013"/>
              <a:gd name="connsiteY26-838" fmla="*/ 7124972 h 7143444"/>
              <a:gd name="connsiteX27-839" fmla="*/ 4245793 w 9397013"/>
              <a:gd name="connsiteY27-840" fmla="*/ 3078214 h 7143444"/>
              <a:gd name="connsiteX28-841" fmla="*/ 4490696 w 9397013"/>
              <a:gd name="connsiteY28-842" fmla="*/ 2757469 h 7143444"/>
              <a:gd name="connsiteX29-843" fmla="*/ 7777211 w 9397013"/>
              <a:gd name="connsiteY29-844" fmla="*/ 7124972 h 7143444"/>
              <a:gd name="connsiteX30-845" fmla="*/ 8567691 w 9397013"/>
              <a:gd name="connsiteY30-846" fmla="*/ 7124971 h 7143444"/>
              <a:gd name="connsiteX31-847" fmla="*/ 8159389 w 9397013"/>
              <a:gd name="connsiteY31-848" fmla="*/ 7134208 h 7143444"/>
              <a:gd name="connsiteX32-849" fmla="*/ 4650570 w 9397013"/>
              <a:gd name="connsiteY32-850" fmla="*/ 2548084 h 7143444"/>
              <a:gd name="connsiteX33-851" fmla="*/ 4869244 w 9397013"/>
              <a:gd name="connsiteY33-852" fmla="*/ 2261689 h 7143444"/>
              <a:gd name="connsiteX34-853" fmla="*/ 8567691 w 9397013"/>
              <a:gd name="connsiteY34-854" fmla="*/ 7124971 h 7143444"/>
              <a:gd name="connsiteX35-855" fmla="*/ 9397013 w 9397013"/>
              <a:gd name="connsiteY35-856" fmla="*/ 7134207 h 7143444"/>
              <a:gd name="connsiteX36-857" fmla="*/ 8921338 w 9397013"/>
              <a:gd name="connsiteY36-858" fmla="*/ 7115735 h 7143444"/>
              <a:gd name="connsiteX37-859" fmla="*/ 5045299 w 9397013"/>
              <a:gd name="connsiteY37-860" fmla="*/ 2031113 h 7143444"/>
              <a:gd name="connsiteX38-861" fmla="*/ 5273037 w 9397013"/>
              <a:gd name="connsiteY38-862" fmla="*/ 1732846 h 7143444"/>
              <a:gd name="connsiteX39-863" fmla="*/ 9397013 w 9397013"/>
              <a:gd name="connsiteY39-864" fmla="*/ 7134207 h 7143444"/>
              <a:gd name="connsiteX0-865" fmla="*/ 168369 w 9397013"/>
              <a:gd name="connsiteY0-866" fmla="*/ 4779933 h 7143444"/>
              <a:gd name="connsiteX1-867" fmla="*/ 0 w 9397013"/>
              <a:gd name="connsiteY1-868" fmla="*/ 4409146 h 7143444"/>
              <a:gd name="connsiteX2-869" fmla="*/ 3332806 w 9397013"/>
              <a:gd name="connsiteY2-870" fmla="*/ 0 h 7143444"/>
              <a:gd name="connsiteX3-871" fmla="*/ 3794560 w 9397013"/>
              <a:gd name="connsiteY3-872" fmla="*/ 32861 h 7143444"/>
              <a:gd name="connsiteX4-873" fmla="*/ 168369 w 9397013"/>
              <a:gd name="connsiteY4-874" fmla="*/ 4779933 h 7143444"/>
              <a:gd name="connsiteX5-875" fmla="*/ 488220 w 9397013"/>
              <a:gd name="connsiteY5-876" fmla="*/ 5484315 h 7143444"/>
              <a:gd name="connsiteX6-877" fmla="*/ 299082 w 9397013"/>
              <a:gd name="connsiteY6-878" fmla="*/ 5067791 h 7143444"/>
              <a:gd name="connsiteX7-879" fmla="*/ 4106456 w 9397013"/>
              <a:gd name="connsiteY7-880" fmla="*/ 55057 h 7143444"/>
              <a:gd name="connsiteX8-881" fmla="*/ 4585079 w 9397013"/>
              <a:gd name="connsiteY8-882" fmla="*/ 89119 h 7143444"/>
              <a:gd name="connsiteX9-883" fmla="*/ 488220 w 9397013"/>
              <a:gd name="connsiteY9-884" fmla="*/ 5484315 h 7143444"/>
              <a:gd name="connsiteX10-885" fmla="*/ 779421 w 9397013"/>
              <a:gd name="connsiteY10-886" fmla="*/ 6125606 h 7143444"/>
              <a:gd name="connsiteX11-887" fmla="*/ 618065 w 9397013"/>
              <a:gd name="connsiteY11-888" fmla="*/ 5770263 h 7143444"/>
              <a:gd name="connsiteX12-889" fmla="*/ 4897528 w 9397013"/>
              <a:gd name="connsiteY12-890" fmla="*/ 111354 h 7143444"/>
              <a:gd name="connsiteX13-891" fmla="*/ 5324893 w 9397013"/>
              <a:gd name="connsiteY13-892" fmla="*/ 141768 h 7143444"/>
              <a:gd name="connsiteX14-893" fmla="*/ 779421 w 9397013"/>
              <a:gd name="connsiteY14-894" fmla="*/ 6125606 h 7143444"/>
              <a:gd name="connsiteX15-895" fmla="*/ 1099910 w 9397013"/>
              <a:gd name="connsiteY15-896" fmla="*/ 6831395 h 7143444"/>
              <a:gd name="connsiteX16-897" fmla="*/ 919656 w 9397013"/>
              <a:gd name="connsiteY16-898" fmla="*/ 6434435 h 7143444"/>
              <a:gd name="connsiteX17-899" fmla="*/ 5668965 w 9397013"/>
              <a:gd name="connsiteY17-900" fmla="*/ 166254 h 7143444"/>
              <a:gd name="connsiteX18-901" fmla="*/ 6114044 w 9397013"/>
              <a:gd name="connsiteY18-902" fmla="*/ 197929 h 7143444"/>
              <a:gd name="connsiteX19-903" fmla="*/ 1099910 w 9397013"/>
              <a:gd name="connsiteY19-904" fmla="*/ 6831395 h 7143444"/>
              <a:gd name="connsiteX20-905" fmla="*/ 6958778 w 9397013"/>
              <a:gd name="connsiteY20-906" fmla="*/ 7124971 h 7143444"/>
              <a:gd name="connsiteX21-907" fmla="*/ 6550802 w 9397013"/>
              <a:gd name="connsiteY21-908" fmla="*/ 7143444 h 7143444"/>
              <a:gd name="connsiteX22-909" fmla="*/ 3849932 w 9397013"/>
              <a:gd name="connsiteY22-910" fmla="*/ 3596670 h 7143444"/>
              <a:gd name="connsiteX23-911" fmla="*/ 4086202 w 9397013"/>
              <a:gd name="connsiteY23-912" fmla="*/ 3287229 h 7143444"/>
              <a:gd name="connsiteX24-913" fmla="*/ 6958778 w 9397013"/>
              <a:gd name="connsiteY24-914" fmla="*/ 7124971 h 7143444"/>
              <a:gd name="connsiteX25-915" fmla="*/ 7777211 w 9397013"/>
              <a:gd name="connsiteY25-916" fmla="*/ 7124972 h 7143444"/>
              <a:gd name="connsiteX26-917" fmla="*/ 7324729 w 9397013"/>
              <a:gd name="connsiteY26-918" fmla="*/ 7124972 h 7143444"/>
              <a:gd name="connsiteX27-919" fmla="*/ 4245793 w 9397013"/>
              <a:gd name="connsiteY27-920" fmla="*/ 3078214 h 7143444"/>
              <a:gd name="connsiteX28-921" fmla="*/ 4490696 w 9397013"/>
              <a:gd name="connsiteY28-922" fmla="*/ 2757469 h 7143444"/>
              <a:gd name="connsiteX29-923" fmla="*/ 7777211 w 9397013"/>
              <a:gd name="connsiteY29-924" fmla="*/ 7124972 h 7143444"/>
              <a:gd name="connsiteX30-925" fmla="*/ 8567691 w 9397013"/>
              <a:gd name="connsiteY30-926" fmla="*/ 7124971 h 7143444"/>
              <a:gd name="connsiteX31-927" fmla="*/ 8159389 w 9397013"/>
              <a:gd name="connsiteY31-928" fmla="*/ 7134208 h 7143444"/>
              <a:gd name="connsiteX32-929" fmla="*/ 4650570 w 9397013"/>
              <a:gd name="connsiteY32-930" fmla="*/ 2548084 h 7143444"/>
              <a:gd name="connsiteX33-931" fmla="*/ 4869244 w 9397013"/>
              <a:gd name="connsiteY33-932" fmla="*/ 2261689 h 7143444"/>
              <a:gd name="connsiteX34-933" fmla="*/ 8567691 w 9397013"/>
              <a:gd name="connsiteY34-934" fmla="*/ 7124971 h 7143444"/>
              <a:gd name="connsiteX35-935" fmla="*/ 9397013 w 9397013"/>
              <a:gd name="connsiteY35-936" fmla="*/ 7134207 h 7143444"/>
              <a:gd name="connsiteX36-937" fmla="*/ 8921338 w 9397013"/>
              <a:gd name="connsiteY36-938" fmla="*/ 7115735 h 7143444"/>
              <a:gd name="connsiteX37-939" fmla="*/ 5045299 w 9397013"/>
              <a:gd name="connsiteY37-940" fmla="*/ 2031113 h 7143444"/>
              <a:gd name="connsiteX38-941" fmla="*/ 5273037 w 9397013"/>
              <a:gd name="connsiteY38-942" fmla="*/ 1732846 h 7143444"/>
              <a:gd name="connsiteX39-943" fmla="*/ 9397013 w 9397013"/>
              <a:gd name="connsiteY39-944" fmla="*/ 7134207 h 7143444"/>
              <a:gd name="connsiteX0-945" fmla="*/ 168369 w 9397013"/>
              <a:gd name="connsiteY0-946" fmla="*/ 4779933 h 7134208"/>
              <a:gd name="connsiteX1-947" fmla="*/ 0 w 9397013"/>
              <a:gd name="connsiteY1-948" fmla="*/ 4409146 h 7134208"/>
              <a:gd name="connsiteX2-949" fmla="*/ 3332806 w 9397013"/>
              <a:gd name="connsiteY2-950" fmla="*/ 0 h 7134208"/>
              <a:gd name="connsiteX3-951" fmla="*/ 3794560 w 9397013"/>
              <a:gd name="connsiteY3-952" fmla="*/ 32861 h 7134208"/>
              <a:gd name="connsiteX4-953" fmla="*/ 168369 w 9397013"/>
              <a:gd name="connsiteY4-954" fmla="*/ 4779933 h 7134208"/>
              <a:gd name="connsiteX5-955" fmla="*/ 488220 w 9397013"/>
              <a:gd name="connsiteY5-956" fmla="*/ 5484315 h 7134208"/>
              <a:gd name="connsiteX6-957" fmla="*/ 299082 w 9397013"/>
              <a:gd name="connsiteY6-958" fmla="*/ 5067791 h 7134208"/>
              <a:gd name="connsiteX7-959" fmla="*/ 4106456 w 9397013"/>
              <a:gd name="connsiteY7-960" fmla="*/ 55057 h 7134208"/>
              <a:gd name="connsiteX8-961" fmla="*/ 4585079 w 9397013"/>
              <a:gd name="connsiteY8-962" fmla="*/ 89119 h 7134208"/>
              <a:gd name="connsiteX9-963" fmla="*/ 488220 w 9397013"/>
              <a:gd name="connsiteY9-964" fmla="*/ 5484315 h 7134208"/>
              <a:gd name="connsiteX10-965" fmla="*/ 779421 w 9397013"/>
              <a:gd name="connsiteY10-966" fmla="*/ 6125606 h 7134208"/>
              <a:gd name="connsiteX11-967" fmla="*/ 618065 w 9397013"/>
              <a:gd name="connsiteY11-968" fmla="*/ 5770263 h 7134208"/>
              <a:gd name="connsiteX12-969" fmla="*/ 4897528 w 9397013"/>
              <a:gd name="connsiteY12-970" fmla="*/ 111354 h 7134208"/>
              <a:gd name="connsiteX13-971" fmla="*/ 5324893 w 9397013"/>
              <a:gd name="connsiteY13-972" fmla="*/ 141768 h 7134208"/>
              <a:gd name="connsiteX14-973" fmla="*/ 779421 w 9397013"/>
              <a:gd name="connsiteY14-974" fmla="*/ 6125606 h 7134208"/>
              <a:gd name="connsiteX15-975" fmla="*/ 1099910 w 9397013"/>
              <a:gd name="connsiteY15-976" fmla="*/ 6831395 h 7134208"/>
              <a:gd name="connsiteX16-977" fmla="*/ 919656 w 9397013"/>
              <a:gd name="connsiteY16-978" fmla="*/ 6434435 h 7134208"/>
              <a:gd name="connsiteX17-979" fmla="*/ 5668965 w 9397013"/>
              <a:gd name="connsiteY17-980" fmla="*/ 166254 h 7134208"/>
              <a:gd name="connsiteX18-981" fmla="*/ 6114044 w 9397013"/>
              <a:gd name="connsiteY18-982" fmla="*/ 197929 h 7134208"/>
              <a:gd name="connsiteX19-983" fmla="*/ 1099910 w 9397013"/>
              <a:gd name="connsiteY19-984" fmla="*/ 6831395 h 7134208"/>
              <a:gd name="connsiteX20-985" fmla="*/ 6958778 w 9397013"/>
              <a:gd name="connsiteY20-986" fmla="*/ 7124971 h 7134208"/>
              <a:gd name="connsiteX21-987" fmla="*/ 6541566 w 9397013"/>
              <a:gd name="connsiteY21-988" fmla="*/ 7115735 h 7134208"/>
              <a:gd name="connsiteX22-989" fmla="*/ 3849932 w 9397013"/>
              <a:gd name="connsiteY22-990" fmla="*/ 3596670 h 7134208"/>
              <a:gd name="connsiteX23-991" fmla="*/ 4086202 w 9397013"/>
              <a:gd name="connsiteY23-992" fmla="*/ 3287229 h 7134208"/>
              <a:gd name="connsiteX24-993" fmla="*/ 6958778 w 9397013"/>
              <a:gd name="connsiteY24-994" fmla="*/ 7124971 h 7134208"/>
              <a:gd name="connsiteX25-995" fmla="*/ 7777211 w 9397013"/>
              <a:gd name="connsiteY25-996" fmla="*/ 7124972 h 7134208"/>
              <a:gd name="connsiteX26-997" fmla="*/ 7324729 w 9397013"/>
              <a:gd name="connsiteY26-998" fmla="*/ 7124972 h 7134208"/>
              <a:gd name="connsiteX27-999" fmla="*/ 4245793 w 9397013"/>
              <a:gd name="connsiteY27-1000" fmla="*/ 3078214 h 7134208"/>
              <a:gd name="connsiteX28-1001" fmla="*/ 4490696 w 9397013"/>
              <a:gd name="connsiteY28-1002" fmla="*/ 2757469 h 7134208"/>
              <a:gd name="connsiteX29-1003" fmla="*/ 7777211 w 9397013"/>
              <a:gd name="connsiteY29-1004" fmla="*/ 7124972 h 7134208"/>
              <a:gd name="connsiteX30-1005" fmla="*/ 8567691 w 9397013"/>
              <a:gd name="connsiteY30-1006" fmla="*/ 7124971 h 7134208"/>
              <a:gd name="connsiteX31-1007" fmla="*/ 8159389 w 9397013"/>
              <a:gd name="connsiteY31-1008" fmla="*/ 7134208 h 7134208"/>
              <a:gd name="connsiteX32-1009" fmla="*/ 4650570 w 9397013"/>
              <a:gd name="connsiteY32-1010" fmla="*/ 2548084 h 7134208"/>
              <a:gd name="connsiteX33-1011" fmla="*/ 4869244 w 9397013"/>
              <a:gd name="connsiteY33-1012" fmla="*/ 2261689 h 7134208"/>
              <a:gd name="connsiteX34-1013" fmla="*/ 8567691 w 9397013"/>
              <a:gd name="connsiteY34-1014" fmla="*/ 7124971 h 7134208"/>
              <a:gd name="connsiteX35-1015" fmla="*/ 9397013 w 9397013"/>
              <a:gd name="connsiteY35-1016" fmla="*/ 7134207 h 7134208"/>
              <a:gd name="connsiteX36-1017" fmla="*/ 8921338 w 9397013"/>
              <a:gd name="connsiteY36-1018" fmla="*/ 7115735 h 7134208"/>
              <a:gd name="connsiteX37-1019" fmla="*/ 5045299 w 9397013"/>
              <a:gd name="connsiteY37-1020" fmla="*/ 2031113 h 7134208"/>
              <a:gd name="connsiteX38-1021" fmla="*/ 5273037 w 9397013"/>
              <a:gd name="connsiteY38-1022" fmla="*/ 1732846 h 7134208"/>
              <a:gd name="connsiteX39-1023" fmla="*/ 9397013 w 9397013"/>
              <a:gd name="connsiteY39-1024" fmla="*/ 7134207 h 7134208"/>
              <a:gd name="connsiteX0-1025" fmla="*/ 168369 w 9397013"/>
              <a:gd name="connsiteY0-1026" fmla="*/ 4779933 h 7134208"/>
              <a:gd name="connsiteX1-1027" fmla="*/ 0 w 9397013"/>
              <a:gd name="connsiteY1-1028" fmla="*/ 4409146 h 7134208"/>
              <a:gd name="connsiteX2-1029" fmla="*/ 3332806 w 9397013"/>
              <a:gd name="connsiteY2-1030" fmla="*/ 0 h 7134208"/>
              <a:gd name="connsiteX3-1031" fmla="*/ 3794560 w 9397013"/>
              <a:gd name="connsiteY3-1032" fmla="*/ 32861 h 7134208"/>
              <a:gd name="connsiteX4-1033" fmla="*/ 168369 w 9397013"/>
              <a:gd name="connsiteY4-1034" fmla="*/ 4779933 h 7134208"/>
              <a:gd name="connsiteX5-1035" fmla="*/ 488220 w 9397013"/>
              <a:gd name="connsiteY5-1036" fmla="*/ 5484315 h 7134208"/>
              <a:gd name="connsiteX6-1037" fmla="*/ 299082 w 9397013"/>
              <a:gd name="connsiteY6-1038" fmla="*/ 5067791 h 7134208"/>
              <a:gd name="connsiteX7-1039" fmla="*/ 4106456 w 9397013"/>
              <a:gd name="connsiteY7-1040" fmla="*/ 55057 h 7134208"/>
              <a:gd name="connsiteX8-1041" fmla="*/ 4585079 w 9397013"/>
              <a:gd name="connsiteY8-1042" fmla="*/ 89119 h 7134208"/>
              <a:gd name="connsiteX9-1043" fmla="*/ 488220 w 9397013"/>
              <a:gd name="connsiteY9-1044" fmla="*/ 5484315 h 7134208"/>
              <a:gd name="connsiteX10-1045" fmla="*/ 779421 w 9397013"/>
              <a:gd name="connsiteY10-1046" fmla="*/ 6125606 h 7134208"/>
              <a:gd name="connsiteX11-1047" fmla="*/ 618065 w 9397013"/>
              <a:gd name="connsiteY11-1048" fmla="*/ 5770263 h 7134208"/>
              <a:gd name="connsiteX12-1049" fmla="*/ 4897528 w 9397013"/>
              <a:gd name="connsiteY12-1050" fmla="*/ 111354 h 7134208"/>
              <a:gd name="connsiteX13-1051" fmla="*/ 5324893 w 9397013"/>
              <a:gd name="connsiteY13-1052" fmla="*/ 141768 h 7134208"/>
              <a:gd name="connsiteX14-1053" fmla="*/ 779421 w 9397013"/>
              <a:gd name="connsiteY14-1054" fmla="*/ 6125606 h 7134208"/>
              <a:gd name="connsiteX15-1055" fmla="*/ 1099910 w 9397013"/>
              <a:gd name="connsiteY15-1056" fmla="*/ 6831395 h 7134208"/>
              <a:gd name="connsiteX16-1057" fmla="*/ 919656 w 9397013"/>
              <a:gd name="connsiteY16-1058" fmla="*/ 6434435 h 7134208"/>
              <a:gd name="connsiteX17-1059" fmla="*/ 5668965 w 9397013"/>
              <a:gd name="connsiteY17-1060" fmla="*/ 166254 h 7134208"/>
              <a:gd name="connsiteX18-1061" fmla="*/ 6114044 w 9397013"/>
              <a:gd name="connsiteY18-1062" fmla="*/ 197929 h 7134208"/>
              <a:gd name="connsiteX19-1063" fmla="*/ 1099910 w 9397013"/>
              <a:gd name="connsiteY19-1064" fmla="*/ 6831395 h 7134208"/>
              <a:gd name="connsiteX20-1065" fmla="*/ 6958778 w 9397013"/>
              <a:gd name="connsiteY20-1066" fmla="*/ 7124971 h 7134208"/>
              <a:gd name="connsiteX21-1067" fmla="*/ 6560038 w 9397013"/>
              <a:gd name="connsiteY21-1068" fmla="*/ 7134207 h 7134208"/>
              <a:gd name="connsiteX22-1069" fmla="*/ 3849932 w 9397013"/>
              <a:gd name="connsiteY22-1070" fmla="*/ 3596670 h 7134208"/>
              <a:gd name="connsiteX23-1071" fmla="*/ 4086202 w 9397013"/>
              <a:gd name="connsiteY23-1072" fmla="*/ 3287229 h 7134208"/>
              <a:gd name="connsiteX24-1073" fmla="*/ 6958778 w 9397013"/>
              <a:gd name="connsiteY24-1074" fmla="*/ 7124971 h 7134208"/>
              <a:gd name="connsiteX25-1075" fmla="*/ 7777211 w 9397013"/>
              <a:gd name="connsiteY25-1076" fmla="*/ 7124972 h 7134208"/>
              <a:gd name="connsiteX26-1077" fmla="*/ 7324729 w 9397013"/>
              <a:gd name="connsiteY26-1078" fmla="*/ 7124972 h 7134208"/>
              <a:gd name="connsiteX27-1079" fmla="*/ 4245793 w 9397013"/>
              <a:gd name="connsiteY27-1080" fmla="*/ 3078214 h 7134208"/>
              <a:gd name="connsiteX28-1081" fmla="*/ 4490696 w 9397013"/>
              <a:gd name="connsiteY28-1082" fmla="*/ 2757469 h 7134208"/>
              <a:gd name="connsiteX29-1083" fmla="*/ 7777211 w 9397013"/>
              <a:gd name="connsiteY29-1084" fmla="*/ 7124972 h 7134208"/>
              <a:gd name="connsiteX30-1085" fmla="*/ 8567691 w 9397013"/>
              <a:gd name="connsiteY30-1086" fmla="*/ 7124971 h 7134208"/>
              <a:gd name="connsiteX31-1087" fmla="*/ 8159389 w 9397013"/>
              <a:gd name="connsiteY31-1088" fmla="*/ 7134208 h 7134208"/>
              <a:gd name="connsiteX32-1089" fmla="*/ 4650570 w 9397013"/>
              <a:gd name="connsiteY32-1090" fmla="*/ 2548084 h 7134208"/>
              <a:gd name="connsiteX33-1091" fmla="*/ 4869244 w 9397013"/>
              <a:gd name="connsiteY33-1092" fmla="*/ 2261689 h 7134208"/>
              <a:gd name="connsiteX34-1093" fmla="*/ 8567691 w 9397013"/>
              <a:gd name="connsiteY34-1094" fmla="*/ 7124971 h 7134208"/>
              <a:gd name="connsiteX35-1095" fmla="*/ 9397013 w 9397013"/>
              <a:gd name="connsiteY35-1096" fmla="*/ 7134207 h 7134208"/>
              <a:gd name="connsiteX36-1097" fmla="*/ 8921338 w 9397013"/>
              <a:gd name="connsiteY36-1098" fmla="*/ 7115735 h 7134208"/>
              <a:gd name="connsiteX37-1099" fmla="*/ 5045299 w 9397013"/>
              <a:gd name="connsiteY37-1100" fmla="*/ 2031113 h 7134208"/>
              <a:gd name="connsiteX38-1101" fmla="*/ 5273037 w 9397013"/>
              <a:gd name="connsiteY38-1102" fmla="*/ 1732846 h 7134208"/>
              <a:gd name="connsiteX39-1103" fmla="*/ 9397013 w 9397013"/>
              <a:gd name="connsiteY39-1104" fmla="*/ 7134207 h 7134208"/>
              <a:gd name="connsiteX0-1105" fmla="*/ 168369 w 9397013"/>
              <a:gd name="connsiteY0-1106" fmla="*/ 4779933 h 7134208"/>
              <a:gd name="connsiteX1-1107" fmla="*/ 0 w 9397013"/>
              <a:gd name="connsiteY1-1108" fmla="*/ 4409146 h 7134208"/>
              <a:gd name="connsiteX2-1109" fmla="*/ 3332806 w 9397013"/>
              <a:gd name="connsiteY2-1110" fmla="*/ 0 h 7134208"/>
              <a:gd name="connsiteX3-1111" fmla="*/ 3794560 w 9397013"/>
              <a:gd name="connsiteY3-1112" fmla="*/ 32861 h 7134208"/>
              <a:gd name="connsiteX4-1113" fmla="*/ 168369 w 9397013"/>
              <a:gd name="connsiteY4-1114" fmla="*/ 4779933 h 7134208"/>
              <a:gd name="connsiteX5-1115" fmla="*/ 488220 w 9397013"/>
              <a:gd name="connsiteY5-1116" fmla="*/ 5484315 h 7134208"/>
              <a:gd name="connsiteX6-1117" fmla="*/ 299082 w 9397013"/>
              <a:gd name="connsiteY6-1118" fmla="*/ 5067791 h 7134208"/>
              <a:gd name="connsiteX7-1119" fmla="*/ 4106456 w 9397013"/>
              <a:gd name="connsiteY7-1120" fmla="*/ 55057 h 7134208"/>
              <a:gd name="connsiteX8-1121" fmla="*/ 4585079 w 9397013"/>
              <a:gd name="connsiteY8-1122" fmla="*/ 89119 h 7134208"/>
              <a:gd name="connsiteX9-1123" fmla="*/ 488220 w 9397013"/>
              <a:gd name="connsiteY9-1124" fmla="*/ 5484315 h 7134208"/>
              <a:gd name="connsiteX10-1125" fmla="*/ 779421 w 9397013"/>
              <a:gd name="connsiteY10-1126" fmla="*/ 6125606 h 7134208"/>
              <a:gd name="connsiteX11-1127" fmla="*/ 618065 w 9397013"/>
              <a:gd name="connsiteY11-1128" fmla="*/ 5770263 h 7134208"/>
              <a:gd name="connsiteX12-1129" fmla="*/ 4897528 w 9397013"/>
              <a:gd name="connsiteY12-1130" fmla="*/ 111354 h 7134208"/>
              <a:gd name="connsiteX13-1131" fmla="*/ 5324893 w 9397013"/>
              <a:gd name="connsiteY13-1132" fmla="*/ 141768 h 7134208"/>
              <a:gd name="connsiteX14-1133" fmla="*/ 779421 w 9397013"/>
              <a:gd name="connsiteY14-1134" fmla="*/ 6125606 h 7134208"/>
              <a:gd name="connsiteX15-1135" fmla="*/ 1099910 w 9397013"/>
              <a:gd name="connsiteY15-1136" fmla="*/ 6831395 h 7134208"/>
              <a:gd name="connsiteX16-1137" fmla="*/ 919656 w 9397013"/>
              <a:gd name="connsiteY16-1138" fmla="*/ 6434435 h 7134208"/>
              <a:gd name="connsiteX17-1139" fmla="*/ 5668965 w 9397013"/>
              <a:gd name="connsiteY17-1140" fmla="*/ 166254 h 7134208"/>
              <a:gd name="connsiteX18-1141" fmla="*/ 6077099 w 9397013"/>
              <a:gd name="connsiteY18-1142" fmla="*/ 225638 h 7134208"/>
              <a:gd name="connsiteX19-1143" fmla="*/ 1099910 w 9397013"/>
              <a:gd name="connsiteY19-1144" fmla="*/ 6831395 h 7134208"/>
              <a:gd name="connsiteX20-1145" fmla="*/ 6958778 w 9397013"/>
              <a:gd name="connsiteY20-1146" fmla="*/ 7124971 h 7134208"/>
              <a:gd name="connsiteX21-1147" fmla="*/ 6560038 w 9397013"/>
              <a:gd name="connsiteY21-1148" fmla="*/ 7134207 h 7134208"/>
              <a:gd name="connsiteX22-1149" fmla="*/ 3849932 w 9397013"/>
              <a:gd name="connsiteY22-1150" fmla="*/ 3596670 h 7134208"/>
              <a:gd name="connsiteX23-1151" fmla="*/ 4086202 w 9397013"/>
              <a:gd name="connsiteY23-1152" fmla="*/ 3287229 h 7134208"/>
              <a:gd name="connsiteX24-1153" fmla="*/ 6958778 w 9397013"/>
              <a:gd name="connsiteY24-1154" fmla="*/ 7124971 h 7134208"/>
              <a:gd name="connsiteX25-1155" fmla="*/ 7777211 w 9397013"/>
              <a:gd name="connsiteY25-1156" fmla="*/ 7124972 h 7134208"/>
              <a:gd name="connsiteX26-1157" fmla="*/ 7324729 w 9397013"/>
              <a:gd name="connsiteY26-1158" fmla="*/ 7124972 h 7134208"/>
              <a:gd name="connsiteX27-1159" fmla="*/ 4245793 w 9397013"/>
              <a:gd name="connsiteY27-1160" fmla="*/ 3078214 h 7134208"/>
              <a:gd name="connsiteX28-1161" fmla="*/ 4490696 w 9397013"/>
              <a:gd name="connsiteY28-1162" fmla="*/ 2757469 h 7134208"/>
              <a:gd name="connsiteX29-1163" fmla="*/ 7777211 w 9397013"/>
              <a:gd name="connsiteY29-1164" fmla="*/ 7124972 h 7134208"/>
              <a:gd name="connsiteX30-1165" fmla="*/ 8567691 w 9397013"/>
              <a:gd name="connsiteY30-1166" fmla="*/ 7124971 h 7134208"/>
              <a:gd name="connsiteX31-1167" fmla="*/ 8159389 w 9397013"/>
              <a:gd name="connsiteY31-1168" fmla="*/ 7134208 h 7134208"/>
              <a:gd name="connsiteX32-1169" fmla="*/ 4650570 w 9397013"/>
              <a:gd name="connsiteY32-1170" fmla="*/ 2548084 h 7134208"/>
              <a:gd name="connsiteX33-1171" fmla="*/ 4869244 w 9397013"/>
              <a:gd name="connsiteY33-1172" fmla="*/ 2261689 h 7134208"/>
              <a:gd name="connsiteX34-1173" fmla="*/ 8567691 w 9397013"/>
              <a:gd name="connsiteY34-1174" fmla="*/ 7124971 h 7134208"/>
              <a:gd name="connsiteX35-1175" fmla="*/ 9397013 w 9397013"/>
              <a:gd name="connsiteY35-1176" fmla="*/ 7134207 h 7134208"/>
              <a:gd name="connsiteX36-1177" fmla="*/ 8921338 w 9397013"/>
              <a:gd name="connsiteY36-1178" fmla="*/ 7115735 h 7134208"/>
              <a:gd name="connsiteX37-1179" fmla="*/ 5045299 w 9397013"/>
              <a:gd name="connsiteY37-1180" fmla="*/ 2031113 h 7134208"/>
              <a:gd name="connsiteX38-1181" fmla="*/ 5273037 w 9397013"/>
              <a:gd name="connsiteY38-1182" fmla="*/ 1732846 h 7134208"/>
              <a:gd name="connsiteX39-1183" fmla="*/ 9397013 w 9397013"/>
              <a:gd name="connsiteY39-1184" fmla="*/ 7134207 h 7134208"/>
              <a:gd name="connsiteX0-1185" fmla="*/ 168369 w 9397013"/>
              <a:gd name="connsiteY0-1186" fmla="*/ 4779933 h 7134208"/>
              <a:gd name="connsiteX1-1187" fmla="*/ 0 w 9397013"/>
              <a:gd name="connsiteY1-1188" fmla="*/ 4409146 h 7134208"/>
              <a:gd name="connsiteX2-1189" fmla="*/ 3332806 w 9397013"/>
              <a:gd name="connsiteY2-1190" fmla="*/ 0 h 7134208"/>
              <a:gd name="connsiteX3-1191" fmla="*/ 3794560 w 9397013"/>
              <a:gd name="connsiteY3-1192" fmla="*/ 32861 h 7134208"/>
              <a:gd name="connsiteX4-1193" fmla="*/ 168369 w 9397013"/>
              <a:gd name="connsiteY4-1194" fmla="*/ 4779933 h 7134208"/>
              <a:gd name="connsiteX5-1195" fmla="*/ 488220 w 9397013"/>
              <a:gd name="connsiteY5-1196" fmla="*/ 5484315 h 7134208"/>
              <a:gd name="connsiteX6-1197" fmla="*/ 299082 w 9397013"/>
              <a:gd name="connsiteY6-1198" fmla="*/ 5067791 h 7134208"/>
              <a:gd name="connsiteX7-1199" fmla="*/ 4106456 w 9397013"/>
              <a:gd name="connsiteY7-1200" fmla="*/ 55057 h 7134208"/>
              <a:gd name="connsiteX8-1201" fmla="*/ 4585079 w 9397013"/>
              <a:gd name="connsiteY8-1202" fmla="*/ 89119 h 7134208"/>
              <a:gd name="connsiteX9-1203" fmla="*/ 488220 w 9397013"/>
              <a:gd name="connsiteY9-1204" fmla="*/ 5484315 h 7134208"/>
              <a:gd name="connsiteX10-1205" fmla="*/ 779421 w 9397013"/>
              <a:gd name="connsiteY10-1206" fmla="*/ 6125606 h 7134208"/>
              <a:gd name="connsiteX11-1207" fmla="*/ 618065 w 9397013"/>
              <a:gd name="connsiteY11-1208" fmla="*/ 5770263 h 7134208"/>
              <a:gd name="connsiteX12-1209" fmla="*/ 4897528 w 9397013"/>
              <a:gd name="connsiteY12-1210" fmla="*/ 111354 h 7134208"/>
              <a:gd name="connsiteX13-1211" fmla="*/ 5324893 w 9397013"/>
              <a:gd name="connsiteY13-1212" fmla="*/ 141768 h 7134208"/>
              <a:gd name="connsiteX14-1213" fmla="*/ 779421 w 9397013"/>
              <a:gd name="connsiteY14-1214" fmla="*/ 6125606 h 7134208"/>
              <a:gd name="connsiteX15-1215" fmla="*/ 1099910 w 9397013"/>
              <a:gd name="connsiteY15-1216" fmla="*/ 6831395 h 7134208"/>
              <a:gd name="connsiteX16-1217" fmla="*/ 919656 w 9397013"/>
              <a:gd name="connsiteY16-1218" fmla="*/ 6434435 h 7134208"/>
              <a:gd name="connsiteX17-1219" fmla="*/ 5613547 w 9397013"/>
              <a:gd name="connsiteY17-1220" fmla="*/ 240145 h 7134208"/>
              <a:gd name="connsiteX18-1221" fmla="*/ 6077099 w 9397013"/>
              <a:gd name="connsiteY18-1222" fmla="*/ 225638 h 7134208"/>
              <a:gd name="connsiteX19-1223" fmla="*/ 1099910 w 9397013"/>
              <a:gd name="connsiteY19-1224" fmla="*/ 6831395 h 7134208"/>
              <a:gd name="connsiteX20-1225" fmla="*/ 6958778 w 9397013"/>
              <a:gd name="connsiteY20-1226" fmla="*/ 7124971 h 7134208"/>
              <a:gd name="connsiteX21-1227" fmla="*/ 6560038 w 9397013"/>
              <a:gd name="connsiteY21-1228" fmla="*/ 7134207 h 7134208"/>
              <a:gd name="connsiteX22-1229" fmla="*/ 3849932 w 9397013"/>
              <a:gd name="connsiteY22-1230" fmla="*/ 3596670 h 7134208"/>
              <a:gd name="connsiteX23-1231" fmla="*/ 4086202 w 9397013"/>
              <a:gd name="connsiteY23-1232" fmla="*/ 3287229 h 7134208"/>
              <a:gd name="connsiteX24-1233" fmla="*/ 6958778 w 9397013"/>
              <a:gd name="connsiteY24-1234" fmla="*/ 7124971 h 7134208"/>
              <a:gd name="connsiteX25-1235" fmla="*/ 7777211 w 9397013"/>
              <a:gd name="connsiteY25-1236" fmla="*/ 7124972 h 7134208"/>
              <a:gd name="connsiteX26-1237" fmla="*/ 7324729 w 9397013"/>
              <a:gd name="connsiteY26-1238" fmla="*/ 7124972 h 7134208"/>
              <a:gd name="connsiteX27-1239" fmla="*/ 4245793 w 9397013"/>
              <a:gd name="connsiteY27-1240" fmla="*/ 3078214 h 7134208"/>
              <a:gd name="connsiteX28-1241" fmla="*/ 4490696 w 9397013"/>
              <a:gd name="connsiteY28-1242" fmla="*/ 2757469 h 7134208"/>
              <a:gd name="connsiteX29-1243" fmla="*/ 7777211 w 9397013"/>
              <a:gd name="connsiteY29-1244" fmla="*/ 7124972 h 7134208"/>
              <a:gd name="connsiteX30-1245" fmla="*/ 8567691 w 9397013"/>
              <a:gd name="connsiteY30-1246" fmla="*/ 7124971 h 7134208"/>
              <a:gd name="connsiteX31-1247" fmla="*/ 8159389 w 9397013"/>
              <a:gd name="connsiteY31-1248" fmla="*/ 7134208 h 7134208"/>
              <a:gd name="connsiteX32-1249" fmla="*/ 4650570 w 9397013"/>
              <a:gd name="connsiteY32-1250" fmla="*/ 2548084 h 7134208"/>
              <a:gd name="connsiteX33-1251" fmla="*/ 4869244 w 9397013"/>
              <a:gd name="connsiteY33-1252" fmla="*/ 2261689 h 7134208"/>
              <a:gd name="connsiteX34-1253" fmla="*/ 8567691 w 9397013"/>
              <a:gd name="connsiteY34-1254" fmla="*/ 7124971 h 7134208"/>
              <a:gd name="connsiteX35-1255" fmla="*/ 9397013 w 9397013"/>
              <a:gd name="connsiteY35-1256" fmla="*/ 7134207 h 7134208"/>
              <a:gd name="connsiteX36-1257" fmla="*/ 8921338 w 9397013"/>
              <a:gd name="connsiteY36-1258" fmla="*/ 7115735 h 7134208"/>
              <a:gd name="connsiteX37-1259" fmla="*/ 5045299 w 9397013"/>
              <a:gd name="connsiteY37-1260" fmla="*/ 2031113 h 7134208"/>
              <a:gd name="connsiteX38-1261" fmla="*/ 5273037 w 9397013"/>
              <a:gd name="connsiteY38-1262" fmla="*/ 1732846 h 7134208"/>
              <a:gd name="connsiteX39-1263" fmla="*/ 9397013 w 9397013"/>
              <a:gd name="connsiteY39-1264" fmla="*/ 7134207 h 7134208"/>
              <a:gd name="connsiteX0-1265" fmla="*/ 168369 w 9397013"/>
              <a:gd name="connsiteY0-1266" fmla="*/ 4779933 h 7134208"/>
              <a:gd name="connsiteX1-1267" fmla="*/ 0 w 9397013"/>
              <a:gd name="connsiteY1-1268" fmla="*/ 4409146 h 7134208"/>
              <a:gd name="connsiteX2-1269" fmla="*/ 3332806 w 9397013"/>
              <a:gd name="connsiteY2-1270" fmla="*/ 0 h 7134208"/>
              <a:gd name="connsiteX3-1271" fmla="*/ 3794560 w 9397013"/>
              <a:gd name="connsiteY3-1272" fmla="*/ 32861 h 7134208"/>
              <a:gd name="connsiteX4-1273" fmla="*/ 168369 w 9397013"/>
              <a:gd name="connsiteY4-1274" fmla="*/ 4779933 h 7134208"/>
              <a:gd name="connsiteX5-1275" fmla="*/ 488220 w 9397013"/>
              <a:gd name="connsiteY5-1276" fmla="*/ 5484315 h 7134208"/>
              <a:gd name="connsiteX6-1277" fmla="*/ 299082 w 9397013"/>
              <a:gd name="connsiteY6-1278" fmla="*/ 5067791 h 7134208"/>
              <a:gd name="connsiteX7-1279" fmla="*/ 4106456 w 9397013"/>
              <a:gd name="connsiteY7-1280" fmla="*/ 55057 h 7134208"/>
              <a:gd name="connsiteX8-1281" fmla="*/ 4585079 w 9397013"/>
              <a:gd name="connsiteY8-1282" fmla="*/ 89119 h 7134208"/>
              <a:gd name="connsiteX9-1283" fmla="*/ 488220 w 9397013"/>
              <a:gd name="connsiteY9-1284" fmla="*/ 5484315 h 7134208"/>
              <a:gd name="connsiteX10-1285" fmla="*/ 779421 w 9397013"/>
              <a:gd name="connsiteY10-1286" fmla="*/ 6125606 h 7134208"/>
              <a:gd name="connsiteX11-1287" fmla="*/ 618065 w 9397013"/>
              <a:gd name="connsiteY11-1288" fmla="*/ 5770263 h 7134208"/>
              <a:gd name="connsiteX12-1289" fmla="*/ 4897528 w 9397013"/>
              <a:gd name="connsiteY12-1290" fmla="*/ 111354 h 7134208"/>
              <a:gd name="connsiteX13-1291" fmla="*/ 5324893 w 9397013"/>
              <a:gd name="connsiteY13-1292" fmla="*/ 141768 h 7134208"/>
              <a:gd name="connsiteX14-1293" fmla="*/ 779421 w 9397013"/>
              <a:gd name="connsiteY14-1294" fmla="*/ 6125606 h 7134208"/>
              <a:gd name="connsiteX15-1295" fmla="*/ 1099910 w 9397013"/>
              <a:gd name="connsiteY15-1296" fmla="*/ 6831395 h 7134208"/>
              <a:gd name="connsiteX16-1297" fmla="*/ 919656 w 9397013"/>
              <a:gd name="connsiteY16-1298" fmla="*/ 6434435 h 7134208"/>
              <a:gd name="connsiteX17-1299" fmla="*/ 5641256 w 9397013"/>
              <a:gd name="connsiteY17-1300" fmla="*/ 212436 h 7134208"/>
              <a:gd name="connsiteX18-1301" fmla="*/ 6077099 w 9397013"/>
              <a:gd name="connsiteY18-1302" fmla="*/ 225638 h 7134208"/>
              <a:gd name="connsiteX19-1303" fmla="*/ 1099910 w 9397013"/>
              <a:gd name="connsiteY19-1304" fmla="*/ 6831395 h 7134208"/>
              <a:gd name="connsiteX20-1305" fmla="*/ 6958778 w 9397013"/>
              <a:gd name="connsiteY20-1306" fmla="*/ 7124971 h 7134208"/>
              <a:gd name="connsiteX21-1307" fmla="*/ 6560038 w 9397013"/>
              <a:gd name="connsiteY21-1308" fmla="*/ 7134207 h 7134208"/>
              <a:gd name="connsiteX22-1309" fmla="*/ 3849932 w 9397013"/>
              <a:gd name="connsiteY22-1310" fmla="*/ 3596670 h 7134208"/>
              <a:gd name="connsiteX23-1311" fmla="*/ 4086202 w 9397013"/>
              <a:gd name="connsiteY23-1312" fmla="*/ 3287229 h 7134208"/>
              <a:gd name="connsiteX24-1313" fmla="*/ 6958778 w 9397013"/>
              <a:gd name="connsiteY24-1314" fmla="*/ 7124971 h 7134208"/>
              <a:gd name="connsiteX25-1315" fmla="*/ 7777211 w 9397013"/>
              <a:gd name="connsiteY25-1316" fmla="*/ 7124972 h 7134208"/>
              <a:gd name="connsiteX26-1317" fmla="*/ 7324729 w 9397013"/>
              <a:gd name="connsiteY26-1318" fmla="*/ 7124972 h 7134208"/>
              <a:gd name="connsiteX27-1319" fmla="*/ 4245793 w 9397013"/>
              <a:gd name="connsiteY27-1320" fmla="*/ 3078214 h 7134208"/>
              <a:gd name="connsiteX28-1321" fmla="*/ 4490696 w 9397013"/>
              <a:gd name="connsiteY28-1322" fmla="*/ 2757469 h 7134208"/>
              <a:gd name="connsiteX29-1323" fmla="*/ 7777211 w 9397013"/>
              <a:gd name="connsiteY29-1324" fmla="*/ 7124972 h 7134208"/>
              <a:gd name="connsiteX30-1325" fmla="*/ 8567691 w 9397013"/>
              <a:gd name="connsiteY30-1326" fmla="*/ 7124971 h 7134208"/>
              <a:gd name="connsiteX31-1327" fmla="*/ 8159389 w 9397013"/>
              <a:gd name="connsiteY31-1328" fmla="*/ 7134208 h 7134208"/>
              <a:gd name="connsiteX32-1329" fmla="*/ 4650570 w 9397013"/>
              <a:gd name="connsiteY32-1330" fmla="*/ 2548084 h 7134208"/>
              <a:gd name="connsiteX33-1331" fmla="*/ 4869244 w 9397013"/>
              <a:gd name="connsiteY33-1332" fmla="*/ 2261689 h 7134208"/>
              <a:gd name="connsiteX34-1333" fmla="*/ 8567691 w 9397013"/>
              <a:gd name="connsiteY34-1334" fmla="*/ 7124971 h 7134208"/>
              <a:gd name="connsiteX35-1335" fmla="*/ 9397013 w 9397013"/>
              <a:gd name="connsiteY35-1336" fmla="*/ 7134207 h 7134208"/>
              <a:gd name="connsiteX36-1337" fmla="*/ 8921338 w 9397013"/>
              <a:gd name="connsiteY36-1338" fmla="*/ 7115735 h 7134208"/>
              <a:gd name="connsiteX37-1339" fmla="*/ 5045299 w 9397013"/>
              <a:gd name="connsiteY37-1340" fmla="*/ 2031113 h 7134208"/>
              <a:gd name="connsiteX38-1341" fmla="*/ 5273037 w 9397013"/>
              <a:gd name="connsiteY38-1342" fmla="*/ 1732846 h 7134208"/>
              <a:gd name="connsiteX39-1343" fmla="*/ 9397013 w 9397013"/>
              <a:gd name="connsiteY39-1344" fmla="*/ 7134207 h 7134208"/>
              <a:gd name="connsiteX0-1345" fmla="*/ 168369 w 9397013"/>
              <a:gd name="connsiteY0-1346" fmla="*/ 4779933 h 7134208"/>
              <a:gd name="connsiteX1-1347" fmla="*/ 0 w 9397013"/>
              <a:gd name="connsiteY1-1348" fmla="*/ 4409146 h 7134208"/>
              <a:gd name="connsiteX2-1349" fmla="*/ 3332806 w 9397013"/>
              <a:gd name="connsiteY2-1350" fmla="*/ 0 h 7134208"/>
              <a:gd name="connsiteX3-1351" fmla="*/ 3794560 w 9397013"/>
              <a:gd name="connsiteY3-1352" fmla="*/ 32861 h 7134208"/>
              <a:gd name="connsiteX4-1353" fmla="*/ 168369 w 9397013"/>
              <a:gd name="connsiteY4-1354" fmla="*/ 4779933 h 7134208"/>
              <a:gd name="connsiteX5-1355" fmla="*/ 488220 w 9397013"/>
              <a:gd name="connsiteY5-1356" fmla="*/ 5484315 h 7134208"/>
              <a:gd name="connsiteX6-1357" fmla="*/ 299082 w 9397013"/>
              <a:gd name="connsiteY6-1358" fmla="*/ 5067791 h 7134208"/>
              <a:gd name="connsiteX7-1359" fmla="*/ 4106456 w 9397013"/>
              <a:gd name="connsiteY7-1360" fmla="*/ 55057 h 7134208"/>
              <a:gd name="connsiteX8-1361" fmla="*/ 4585079 w 9397013"/>
              <a:gd name="connsiteY8-1362" fmla="*/ 89119 h 7134208"/>
              <a:gd name="connsiteX9-1363" fmla="*/ 488220 w 9397013"/>
              <a:gd name="connsiteY9-1364" fmla="*/ 5484315 h 7134208"/>
              <a:gd name="connsiteX10-1365" fmla="*/ 779421 w 9397013"/>
              <a:gd name="connsiteY10-1366" fmla="*/ 6125606 h 7134208"/>
              <a:gd name="connsiteX11-1367" fmla="*/ 618065 w 9397013"/>
              <a:gd name="connsiteY11-1368" fmla="*/ 5770263 h 7134208"/>
              <a:gd name="connsiteX12-1369" fmla="*/ 4897528 w 9397013"/>
              <a:gd name="connsiteY12-1370" fmla="*/ 111354 h 7134208"/>
              <a:gd name="connsiteX13-1371" fmla="*/ 5260238 w 9397013"/>
              <a:gd name="connsiteY13-1372" fmla="*/ 234131 h 7134208"/>
              <a:gd name="connsiteX14-1373" fmla="*/ 779421 w 9397013"/>
              <a:gd name="connsiteY14-1374" fmla="*/ 6125606 h 7134208"/>
              <a:gd name="connsiteX15-1375" fmla="*/ 1099910 w 9397013"/>
              <a:gd name="connsiteY15-1376" fmla="*/ 6831395 h 7134208"/>
              <a:gd name="connsiteX16-1377" fmla="*/ 919656 w 9397013"/>
              <a:gd name="connsiteY16-1378" fmla="*/ 6434435 h 7134208"/>
              <a:gd name="connsiteX17-1379" fmla="*/ 5641256 w 9397013"/>
              <a:gd name="connsiteY17-1380" fmla="*/ 212436 h 7134208"/>
              <a:gd name="connsiteX18-1381" fmla="*/ 6077099 w 9397013"/>
              <a:gd name="connsiteY18-1382" fmla="*/ 225638 h 7134208"/>
              <a:gd name="connsiteX19-1383" fmla="*/ 1099910 w 9397013"/>
              <a:gd name="connsiteY19-1384" fmla="*/ 6831395 h 7134208"/>
              <a:gd name="connsiteX20-1385" fmla="*/ 6958778 w 9397013"/>
              <a:gd name="connsiteY20-1386" fmla="*/ 7124971 h 7134208"/>
              <a:gd name="connsiteX21-1387" fmla="*/ 6560038 w 9397013"/>
              <a:gd name="connsiteY21-1388" fmla="*/ 7134207 h 7134208"/>
              <a:gd name="connsiteX22-1389" fmla="*/ 3849932 w 9397013"/>
              <a:gd name="connsiteY22-1390" fmla="*/ 3596670 h 7134208"/>
              <a:gd name="connsiteX23-1391" fmla="*/ 4086202 w 9397013"/>
              <a:gd name="connsiteY23-1392" fmla="*/ 3287229 h 7134208"/>
              <a:gd name="connsiteX24-1393" fmla="*/ 6958778 w 9397013"/>
              <a:gd name="connsiteY24-1394" fmla="*/ 7124971 h 7134208"/>
              <a:gd name="connsiteX25-1395" fmla="*/ 7777211 w 9397013"/>
              <a:gd name="connsiteY25-1396" fmla="*/ 7124972 h 7134208"/>
              <a:gd name="connsiteX26-1397" fmla="*/ 7324729 w 9397013"/>
              <a:gd name="connsiteY26-1398" fmla="*/ 7124972 h 7134208"/>
              <a:gd name="connsiteX27-1399" fmla="*/ 4245793 w 9397013"/>
              <a:gd name="connsiteY27-1400" fmla="*/ 3078214 h 7134208"/>
              <a:gd name="connsiteX28-1401" fmla="*/ 4490696 w 9397013"/>
              <a:gd name="connsiteY28-1402" fmla="*/ 2757469 h 7134208"/>
              <a:gd name="connsiteX29-1403" fmla="*/ 7777211 w 9397013"/>
              <a:gd name="connsiteY29-1404" fmla="*/ 7124972 h 7134208"/>
              <a:gd name="connsiteX30-1405" fmla="*/ 8567691 w 9397013"/>
              <a:gd name="connsiteY30-1406" fmla="*/ 7124971 h 7134208"/>
              <a:gd name="connsiteX31-1407" fmla="*/ 8159389 w 9397013"/>
              <a:gd name="connsiteY31-1408" fmla="*/ 7134208 h 7134208"/>
              <a:gd name="connsiteX32-1409" fmla="*/ 4650570 w 9397013"/>
              <a:gd name="connsiteY32-1410" fmla="*/ 2548084 h 7134208"/>
              <a:gd name="connsiteX33-1411" fmla="*/ 4869244 w 9397013"/>
              <a:gd name="connsiteY33-1412" fmla="*/ 2261689 h 7134208"/>
              <a:gd name="connsiteX34-1413" fmla="*/ 8567691 w 9397013"/>
              <a:gd name="connsiteY34-1414" fmla="*/ 7124971 h 7134208"/>
              <a:gd name="connsiteX35-1415" fmla="*/ 9397013 w 9397013"/>
              <a:gd name="connsiteY35-1416" fmla="*/ 7134207 h 7134208"/>
              <a:gd name="connsiteX36-1417" fmla="*/ 8921338 w 9397013"/>
              <a:gd name="connsiteY36-1418" fmla="*/ 7115735 h 7134208"/>
              <a:gd name="connsiteX37-1419" fmla="*/ 5045299 w 9397013"/>
              <a:gd name="connsiteY37-1420" fmla="*/ 2031113 h 7134208"/>
              <a:gd name="connsiteX38-1421" fmla="*/ 5273037 w 9397013"/>
              <a:gd name="connsiteY38-1422" fmla="*/ 1732846 h 7134208"/>
              <a:gd name="connsiteX39-1423" fmla="*/ 9397013 w 9397013"/>
              <a:gd name="connsiteY39-1424" fmla="*/ 7134207 h 7134208"/>
              <a:gd name="connsiteX0-1425" fmla="*/ 168369 w 9397013"/>
              <a:gd name="connsiteY0-1426" fmla="*/ 4779933 h 7134208"/>
              <a:gd name="connsiteX1-1427" fmla="*/ 0 w 9397013"/>
              <a:gd name="connsiteY1-1428" fmla="*/ 4409146 h 7134208"/>
              <a:gd name="connsiteX2-1429" fmla="*/ 3332806 w 9397013"/>
              <a:gd name="connsiteY2-1430" fmla="*/ 0 h 7134208"/>
              <a:gd name="connsiteX3-1431" fmla="*/ 3794560 w 9397013"/>
              <a:gd name="connsiteY3-1432" fmla="*/ 32861 h 7134208"/>
              <a:gd name="connsiteX4-1433" fmla="*/ 168369 w 9397013"/>
              <a:gd name="connsiteY4-1434" fmla="*/ 4779933 h 7134208"/>
              <a:gd name="connsiteX5-1435" fmla="*/ 488220 w 9397013"/>
              <a:gd name="connsiteY5-1436" fmla="*/ 5484315 h 7134208"/>
              <a:gd name="connsiteX6-1437" fmla="*/ 299082 w 9397013"/>
              <a:gd name="connsiteY6-1438" fmla="*/ 5067791 h 7134208"/>
              <a:gd name="connsiteX7-1439" fmla="*/ 4106456 w 9397013"/>
              <a:gd name="connsiteY7-1440" fmla="*/ 55057 h 7134208"/>
              <a:gd name="connsiteX8-1441" fmla="*/ 4585079 w 9397013"/>
              <a:gd name="connsiteY8-1442" fmla="*/ 89119 h 7134208"/>
              <a:gd name="connsiteX9-1443" fmla="*/ 488220 w 9397013"/>
              <a:gd name="connsiteY9-1444" fmla="*/ 5484315 h 7134208"/>
              <a:gd name="connsiteX10-1445" fmla="*/ 779421 w 9397013"/>
              <a:gd name="connsiteY10-1446" fmla="*/ 6125606 h 7134208"/>
              <a:gd name="connsiteX11-1447" fmla="*/ 618065 w 9397013"/>
              <a:gd name="connsiteY11-1448" fmla="*/ 5770263 h 7134208"/>
              <a:gd name="connsiteX12-1449" fmla="*/ 4805164 w 9397013"/>
              <a:gd name="connsiteY12-1450" fmla="*/ 212954 h 7134208"/>
              <a:gd name="connsiteX13-1451" fmla="*/ 5260238 w 9397013"/>
              <a:gd name="connsiteY13-1452" fmla="*/ 234131 h 7134208"/>
              <a:gd name="connsiteX14-1453" fmla="*/ 779421 w 9397013"/>
              <a:gd name="connsiteY14-1454" fmla="*/ 6125606 h 7134208"/>
              <a:gd name="connsiteX15-1455" fmla="*/ 1099910 w 9397013"/>
              <a:gd name="connsiteY15-1456" fmla="*/ 6831395 h 7134208"/>
              <a:gd name="connsiteX16-1457" fmla="*/ 919656 w 9397013"/>
              <a:gd name="connsiteY16-1458" fmla="*/ 6434435 h 7134208"/>
              <a:gd name="connsiteX17-1459" fmla="*/ 5641256 w 9397013"/>
              <a:gd name="connsiteY17-1460" fmla="*/ 212436 h 7134208"/>
              <a:gd name="connsiteX18-1461" fmla="*/ 6077099 w 9397013"/>
              <a:gd name="connsiteY18-1462" fmla="*/ 225638 h 7134208"/>
              <a:gd name="connsiteX19-1463" fmla="*/ 1099910 w 9397013"/>
              <a:gd name="connsiteY19-1464" fmla="*/ 6831395 h 7134208"/>
              <a:gd name="connsiteX20-1465" fmla="*/ 6958778 w 9397013"/>
              <a:gd name="connsiteY20-1466" fmla="*/ 7124971 h 7134208"/>
              <a:gd name="connsiteX21-1467" fmla="*/ 6560038 w 9397013"/>
              <a:gd name="connsiteY21-1468" fmla="*/ 7134207 h 7134208"/>
              <a:gd name="connsiteX22-1469" fmla="*/ 3849932 w 9397013"/>
              <a:gd name="connsiteY22-1470" fmla="*/ 3596670 h 7134208"/>
              <a:gd name="connsiteX23-1471" fmla="*/ 4086202 w 9397013"/>
              <a:gd name="connsiteY23-1472" fmla="*/ 3287229 h 7134208"/>
              <a:gd name="connsiteX24-1473" fmla="*/ 6958778 w 9397013"/>
              <a:gd name="connsiteY24-1474" fmla="*/ 7124971 h 7134208"/>
              <a:gd name="connsiteX25-1475" fmla="*/ 7777211 w 9397013"/>
              <a:gd name="connsiteY25-1476" fmla="*/ 7124972 h 7134208"/>
              <a:gd name="connsiteX26-1477" fmla="*/ 7324729 w 9397013"/>
              <a:gd name="connsiteY26-1478" fmla="*/ 7124972 h 7134208"/>
              <a:gd name="connsiteX27-1479" fmla="*/ 4245793 w 9397013"/>
              <a:gd name="connsiteY27-1480" fmla="*/ 3078214 h 7134208"/>
              <a:gd name="connsiteX28-1481" fmla="*/ 4490696 w 9397013"/>
              <a:gd name="connsiteY28-1482" fmla="*/ 2757469 h 7134208"/>
              <a:gd name="connsiteX29-1483" fmla="*/ 7777211 w 9397013"/>
              <a:gd name="connsiteY29-1484" fmla="*/ 7124972 h 7134208"/>
              <a:gd name="connsiteX30-1485" fmla="*/ 8567691 w 9397013"/>
              <a:gd name="connsiteY30-1486" fmla="*/ 7124971 h 7134208"/>
              <a:gd name="connsiteX31-1487" fmla="*/ 8159389 w 9397013"/>
              <a:gd name="connsiteY31-1488" fmla="*/ 7134208 h 7134208"/>
              <a:gd name="connsiteX32-1489" fmla="*/ 4650570 w 9397013"/>
              <a:gd name="connsiteY32-1490" fmla="*/ 2548084 h 7134208"/>
              <a:gd name="connsiteX33-1491" fmla="*/ 4869244 w 9397013"/>
              <a:gd name="connsiteY33-1492" fmla="*/ 2261689 h 7134208"/>
              <a:gd name="connsiteX34-1493" fmla="*/ 8567691 w 9397013"/>
              <a:gd name="connsiteY34-1494" fmla="*/ 7124971 h 7134208"/>
              <a:gd name="connsiteX35-1495" fmla="*/ 9397013 w 9397013"/>
              <a:gd name="connsiteY35-1496" fmla="*/ 7134207 h 7134208"/>
              <a:gd name="connsiteX36-1497" fmla="*/ 8921338 w 9397013"/>
              <a:gd name="connsiteY36-1498" fmla="*/ 7115735 h 7134208"/>
              <a:gd name="connsiteX37-1499" fmla="*/ 5045299 w 9397013"/>
              <a:gd name="connsiteY37-1500" fmla="*/ 2031113 h 7134208"/>
              <a:gd name="connsiteX38-1501" fmla="*/ 5273037 w 9397013"/>
              <a:gd name="connsiteY38-1502" fmla="*/ 1732846 h 7134208"/>
              <a:gd name="connsiteX39-1503" fmla="*/ 9397013 w 9397013"/>
              <a:gd name="connsiteY39-1504" fmla="*/ 7134207 h 7134208"/>
              <a:gd name="connsiteX0-1505" fmla="*/ 168369 w 9397013"/>
              <a:gd name="connsiteY0-1506" fmla="*/ 4779933 h 7134208"/>
              <a:gd name="connsiteX1-1507" fmla="*/ 0 w 9397013"/>
              <a:gd name="connsiteY1-1508" fmla="*/ 4409146 h 7134208"/>
              <a:gd name="connsiteX2-1509" fmla="*/ 3332806 w 9397013"/>
              <a:gd name="connsiteY2-1510" fmla="*/ 0 h 7134208"/>
              <a:gd name="connsiteX3-1511" fmla="*/ 3794560 w 9397013"/>
              <a:gd name="connsiteY3-1512" fmla="*/ 32861 h 7134208"/>
              <a:gd name="connsiteX4-1513" fmla="*/ 168369 w 9397013"/>
              <a:gd name="connsiteY4-1514" fmla="*/ 4779933 h 7134208"/>
              <a:gd name="connsiteX5-1515" fmla="*/ 488220 w 9397013"/>
              <a:gd name="connsiteY5-1516" fmla="*/ 5484315 h 7134208"/>
              <a:gd name="connsiteX6-1517" fmla="*/ 299082 w 9397013"/>
              <a:gd name="connsiteY6-1518" fmla="*/ 5067791 h 7134208"/>
              <a:gd name="connsiteX7-1519" fmla="*/ 4106456 w 9397013"/>
              <a:gd name="connsiteY7-1520" fmla="*/ 55057 h 7134208"/>
              <a:gd name="connsiteX8-1521" fmla="*/ 4465006 w 9397013"/>
              <a:gd name="connsiteY8-1522" fmla="*/ 209192 h 7134208"/>
              <a:gd name="connsiteX9-1523" fmla="*/ 488220 w 9397013"/>
              <a:gd name="connsiteY9-1524" fmla="*/ 5484315 h 7134208"/>
              <a:gd name="connsiteX10-1525" fmla="*/ 779421 w 9397013"/>
              <a:gd name="connsiteY10-1526" fmla="*/ 6125606 h 7134208"/>
              <a:gd name="connsiteX11-1527" fmla="*/ 618065 w 9397013"/>
              <a:gd name="connsiteY11-1528" fmla="*/ 5770263 h 7134208"/>
              <a:gd name="connsiteX12-1529" fmla="*/ 4805164 w 9397013"/>
              <a:gd name="connsiteY12-1530" fmla="*/ 212954 h 7134208"/>
              <a:gd name="connsiteX13-1531" fmla="*/ 5260238 w 9397013"/>
              <a:gd name="connsiteY13-1532" fmla="*/ 234131 h 7134208"/>
              <a:gd name="connsiteX14-1533" fmla="*/ 779421 w 9397013"/>
              <a:gd name="connsiteY14-1534" fmla="*/ 6125606 h 7134208"/>
              <a:gd name="connsiteX15-1535" fmla="*/ 1099910 w 9397013"/>
              <a:gd name="connsiteY15-1536" fmla="*/ 6831395 h 7134208"/>
              <a:gd name="connsiteX16-1537" fmla="*/ 919656 w 9397013"/>
              <a:gd name="connsiteY16-1538" fmla="*/ 6434435 h 7134208"/>
              <a:gd name="connsiteX17-1539" fmla="*/ 5641256 w 9397013"/>
              <a:gd name="connsiteY17-1540" fmla="*/ 212436 h 7134208"/>
              <a:gd name="connsiteX18-1541" fmla="*/ 6077099 w 9397013"/>
              <a:gd name="connsiteY18-1542" fmla="*/ 225638 h 7134208"/>
              <a:gd name="connsiteX19-1543" fmla="*/ 1099910 w 9397013"/>
              <a:gd name="connsiteY19-1544" fmla="*/ 6831395 h 7134208"/>
              <a:gd name="connsiteX20-1545" fmla="*/ 6958778 w 9397013"/>
              <a:gd name="connsiteY20-1546" fmla="*/ 7124971 h 7134208"/>
              <a:gd name="connsiteX21-1547" fmla="*/ 6560038 w 9397013"/>
              <a:gd name="connsiteY21-1548" fmla="*/ 7134207 h 7134208"/>
              <a:gd name="connsiteX22-1549" fmla="*/ 3849932 w 9397013"/>
              <a:gd name="connsiteY22-1550" fmla="*/ 3596670 h 7134208"/>
              <a:gd name="connsiteX23-1551" fmla="*/ 4086202 w 9397013"/>
              <a:gd name="connsiteY23-1552" fmla="*/ 3287229 h 7134208"/>
              <a:gd name="connsiteX24-1553" fmla="*/ 6958778 w 9397013"/>
              <a:gd name="connsiteY24-1554" fmla="*/ 7124971 h 7134208"/>
              <a:gd name="connsiteX25-1555" fmla="*/ 7777211 w 9397013"/>
              <a:gd name="connsiteY25-1556" fmla="*/ 7124972 h 7134208"/>
              <a:gd name="connsiteX26-1557" fmla="*/ 7324729 w 9397013"/>
              <a:gd name="connsiteY26-1558" fmla="*/ 7124972 h 7134208"/>
              <a:gd name="connsiteX27-1559" fmla="*/ 4245793 w 9397013"/>
              <a:gd name="connsiteY27-1560" fmla="*/ 3078214 h 7134208"/>
              <a:gd name="connsiteX28-1561" fmla="*/ 4490696 w 9397013"/>
              <a:gd name="connsiteY28-1562" fmla="*/ 2757469 h 7134208"/>
              <a:gd name="connsiteX29-1563" fmla="*/ 7777211 w 9397013"/>
              <a:gd name="connsiteY29-1564" fmla="*/ 7124972 h 7134208"/>
              <a:gd name="connsiteX30-1565" fmla="*/ 8567691 w 9397013"/>
              <a:gd name="connsiteY30-1566" fmla="*/ 7124971 h 7134208"/>
              <a:gd name="connsiteX31-1567" fmla="*/ 8159389 w 9397013"/>
              <a:gd name="connsiteY31-1568" fmla="*/ 7134208 h 7134208"/>
              <a:gd name="connsiteX32-1569" fmla="*/ 4650570 w 9397013"/>
              <a:gd name="connsiteY32-1570" fmla="*/ 2548084 h 7134208"/>
              <a:gd name="connsiteX33-1571" fmla="*/ 4869244 w 9397013"/>
              <a:gd name="connsiteY33-1572" fmla="*/ 2261689 h 7134208"/>
              <a:gd name="connsiteX34-1573" fmla="*/ 8567691 w 9397013"/>
              <a:gd name="connsiteY34-1574" fmla="*/ 7124971 h 7134208"/>
              <a:gd name="connsiteX35-1575" fmla="*/ 9397013 w 9397013"/>
              <a:gd name="connsiteY35-1576" fmla="*/ 7134207 h 7134208"/>
              <a:gd name="connsiteX36-1577" fmla="*/ 8921338 w 9397013"/>
              <a:gd name="connsiteY36-1578" fmla="*/ 7115735 h 7134208"/>
              <a:gd name="connsiteX37-1579" fmla="*/ 5045299 w 9397013"/>
              <a:gd name="connsiteY37-1580" fmla="*/ 2031113 h 7134208"/>
              <a:gd name="connsiteX38-1581" fmla="*/ 5273037 w 9397013"/>
              <a:gd name="connsiteY38-1582" fmla="*/ 1732846 h 7134208"/>
              <a:gd name="connsiteX39-1583" fmla="*/ 9397013 w 9397013"/>
              <a:gd name="connsiteY39-1584" fmla="*/ 7134207 h 7134208"/>
              <a:gd name="connsiteX0-1585" fmla="*/ 168369 w 9397013"/>
              <a:gd name="connsiteY0-1586" fmla="*/ 4779933 h 7134208"/>
              <a:gd name="connsiteX1-1587" fmla="*/ 0 w 9397013"/>
              <a:gd name="connsiteY1-1588" fmla="*/ 4409146 h 7134208"/>
              <a:gd name="connsiteX2-1589" fmla="*/ 3332806 w 9397013"/>
              <a:gd name="connsiteY2-1590" fmla="*/ 0 h 7134208"/>
              <a:gd name="connsiteX3-1591" fmla="*/ 3794560 w 9397013"/>
              <a:gd name="connsiteY3-1592" fmla="*/ 32861 h 7134208"/>
              <a:gd name="connsiteX4-1593" fmla="*/ 168369 w 9397013"/>
              <a:gd name="connsiteY4-1594" fmla="*/ 4779933 h 7134208"/>
              <a:gd name="connsiteX5-1595" fmla="*/ 488220 w 9397013"/>
              <a:gd name="connsiteY5-1596" fmla="*/ 5484315 h 7134208"/>
              <a:gd name="connsiteX6-1597" fmla="*/ 299082 w 9397013"/>
              <a:gd name="connsiteY6-1598" fmla="*/ 5067791 h 7134208"/>
              <a:gd name="connsiteX7-1599" fmla="*/ 3977147 w 9397013"/>
              <a:gd name="connsiteY7-1600" fmla="*/ 212075 h 7134208"/>
              <a:gd name="connsiteX8-1601" fmla="*/ 4465006 w 9397013"/>
              <a:gd name="connsiteY8-1602" fmla="*/ 209192 h 7134208"/>
              <a:gd name="connsiteX9-1603" fmla="*/ 488220 w 9397013"/>
              <a:gd name="connsiteY9-1604" fmla="*/ 5484315 h 7134208"/>
              <a:gd name="connsiteX10-1605" fmla="*/ 779421 w 9397013"/>
              <a:gd name="connsiteY10-1606" fmla="*/ 6125606 h 7134208"/>
              <a:gd name="connsiteX11-1607" fmla="*/ 618065 w 9397013"/>
              <a:gd name="connsiteY11-1608" fmla="*/ 5770263 h 7134208"/>
              <a:gd name="connsiteX12-1609" fmla="*/ 4805164 w 9397013"/>
              <a:gd name="connsiteY12-1610" fmla="*/ 212954 h 7134208"/>
              <a:gd name="connsiteX13-1611" fmla="*/ 5260238 w 9397013"/>
              <a:gd name="connsiteY13-1612" fmla="*/ 234131 h 7134208"/>
              <a:gd name="connsiteX14-1613" fmla="*/ 779421 w 9397013"/>
              <a:gd name="connsiteY14-1614" fmla="*/ 6125606 h 7134208"/>
              <a:gd name="connsiteX15-1615" fmla="*/ 1099910 w 9397013"/>
              <a:gd name="connsiteY15-1616" fmla="*/ 6831395 h 7134208"/>
              <a:gd name="connsiteX16-1617" fmla="*/ 919656 w 9397013"/>
              <a:gd name="connsiteY16-1618" fmla="*/ 6434435 h 7134208"/>
              <a:gd name="connsiteX17-1619" fmla="*/ 5641256 w 9397013"/>
              <a:gd name="connsiteY17-1620" fmla="*/ 212436 h 7134208"/>
              <a:gd name="connsiteX18-1621" fmla="*/ 6077099 w 9397013"/>
              <a:gd name="connsiteY18-1622" fmla="*/ 225638 h 7134208"/>
              <a:gd name="connsiteX19-1623" fmla="*/ 1099910 w 9397013"/>
              <a:gd name="connsiteY19-1624" fmla="*/ 6831395 h 7134208"/>
              <a:gd name="connsiteX20-1625" fmla="*/ 6958778 w 9397013"/>
              <a:gd name="connsiteY20-1626" fmla="*/ 7124971 h 7134208"/>
              <a:gd name="connsiteX21-1627" fmla="*/ 6560038 w 9397013"/>
              <a:gd name="connsiteY21-1628" fmla="*/ 7134207 h 7134208"/>
              <a:gd name="connsiteX22-1629" fmla="*/ 3849932 w 9397013"/>
              <a:gd name="connsiteY22-1630" fmla="*/ 3596670 h 7134208"/>
              <a:gd name="connsiteX23-1631" fmla="*/ 4086202 w 9397013"/>
              <a:gd name="connsiteY23-1632" fmla="*/ 3287229 h 7134208"/>
              <a:gd name="connsiteX24-1633" fmla="*/ 6958778 w 9397013"/>
              <a:gd name="connsiteY24-1634" fmla="*/ 7124971 h 7134208"/>
              <a:gd name="connsiteX25-1635" fmla="*/ 7777211 w 9397013"/>
              <a:gd name="connsiteY25-1636" fmla="*/ 7124972 h 7134208"/>
              <a:gd name="connsiteX26-1637" fmla="*/ 7324729 w 9397013"/>
              <a:gd name="connsiteY26-1638" fmla="*/ 7124972 h 7134208"/>
              <a:gd name="connsiteX27-1639" fmla="*/ 4245793 w 9397013"/>
              <a:gd name="connsiteY27-1640" fmla="*/ 3078214 h 7134208"/>
              <a:gd name="connsiteX28-1641" fmla="*/ 4490696 w 9397013"/>
              <a:gd name="connsiteY28-1642" fmla="*/ 2757469 h 7134208"/>
              <a:gd name="connsiteX29-1643" fmla="*/ 7777211 w 9397013"/>
              <a:gd name="connsiteY29-1644" fmla="*/ 7124972 h 7134208"/>
              <a:gd name="connsiteX30-1645" fmla="*/ 8567691 w 9397013"/>
              <a:gd name="connsiteY30-1646" fmla="*/ 7124971 h 7134208"/>
              <a:gd name="connsiteX31-1647" fmla="*/ 8159389 w 9397013"/>
              <a:gd name="connsiteY31-1648" fmla="*/ 7134208 h 7134208"/>
              <a:gd name="connsiteX32-1649" fmla="*/ 4650570 w 9397013"/>
              <a:gd name="connsiteY32-1650" fmla="*/ 2548084 h 7134208"/>
              <a:gd name="connsiteX33-1651" fmla="*/ 4869244 w 9397013"/>
              <a:gd name="connsiteY33-1652" fmla="*/ 2261689 h 7134208"/>
              <a:gd name="connsiteX34-1653" fmla="*/ 8567691 w 9397013"/>
              <a:gd name="connsiteY34-1654" fmla="*/ 7124971 h 7134208"/>
              <a:gd name="connsiteX35-1655" fmla="*/ 9397013 w 9397013"/>
              <a:gd name="connsiteY35-1656" fmla="*/ 7134207 h 7134208"/>
              <a:gd name="connsiteX36-1657" fmla="*/ 8921338 w 9397013"/>
              <a:gd name="connsiteY36-1658" fmla="*/ 7115735 h 7134208"/>
              <a:gd name="connsiteX37-1659" fmla="*/ 5045299 w 9397013"/>
              <a:gd name="connsiteY37-1660" fmla="*/ 2031113 h 7134208"/>
              <a:gd name="connsiteX38-1661" fmla="*/ 5273037 w 9397013"/>
              <a:gd name="connsiteY38-1662" fmla="*/ 1732846 h 7134208"/>
              <a:gd name="connsiteX39-1663" fmla="*/ 9397013 w 9397013"/>
              <a:gd name="connsiteY39-1664" fmla="*/ 7134207 h 7134208"/>
              <a:gd name="connsiteX0-1665" fmla="*/ 168369 w 9397013"/>
              <a:gd name="connsiteY0-1666" fmla="*/ 4779933 h 7134208"/>
              <a:gd name="connsiteX1-1667" fmla="*/ 0 w 9397013"/>
              <a:gd name="connsiteY1-1668" fmla="*/ 4409146 h 7134208"/>
              <a:gd name="connsiteX2-1669" fmla="*/ 3332806 w 9397013"/>
              <a:gd name="connsiteY2-1670" fmla="*/ 0 h 7134208"/>
              <a:gd name="connsiteX3-1671" fmla="*/ 3628305 w 9397013"/>
              <a:gd name="connsiteY3-1672" fmla="*/ 208352 h 7134208"/>
              <a:gd name="connsiteX4-1673" fmla="*/ 168369 w 9397013"/>
              <a:gd name="connsiteY4-1674" fmla="*/ 4779933 h 7134208"/>
              <a:gd name="connsiteX5-1675" fmla="*/ 488220 w 9397013"/>
              <a:gd name="connsiteY5-1676" fmla="*/ 5484315 h 7134208"/>
              <a:gd name="connsiteX6-1677" fmla="*/ 299082 w 9397013"/>
              <a:gd name="connsiteY6-1678" fmla="*/ 5067791 h 7134208"/>
              <a:gd name="connsiteX7-1679" fmla="*/ 3977147 w 9397013"/>
              <a:gd name="connsiteY7-1680" fmla="*/ 212075 h 7134208"/>
              <a:gd name="connsiteX8-1681" fmla="*/ 4465006 w 9397013"/>
              <a:gd name="connsiteY8-1682" fmla="*/ 209192 h 7134208"/>
              <a:gd name="connsiteX9-1683" fmla="*/ 488220 w 9397013"/>
              <a:gd name="connsiteY9-1684" fmla="*/ 5484315 h 7134208"/>
              <a:gd name="connsiteX10-1685" fmla="*/ 779421 w 9397013"/>
              <a:gd name="connsiteY10-1686" fmla="*/ 6125606 h 7134208"/>
              <a:gd name="connsiteX11-1687" fmla="*/ 618065 w 9397013"/>
              <a:gd name="connsiteY11-1688" fmla="*/ 5770263 h 7134208"/>
              <a:gd name="connsiteX12-1689" fmla="*/ 4805164 w 9397013"/>
              <a:gd name="connsiteY12-1690" fmla="*/ 212954 h 7134208"/>
              <a:gd name="connsiteX13-1691" fmla="*/ 5260238 w 9397013"/>
              <a:gd name="connsiteY13-1692" fmla="*/ 234131 h 7134208"/>
              <a:gd name="connsiteX14-1693" fmla="*/ 779421 w 9397013"/>
              <a:gd name="connsiteY14-1694" fmla="*/ 6125606 h 7134208"/>
              <a:gd name="connsiteX15-1695" fmla="*/ 1099910 w 9397013"/>
              <a:gd name="connsiteY15-1696" fmla="*/ 6831395 h 7134208"/>
              <a:gd name="connsiteX16-1697" fmla="*/ 919656 w 9397013"/>
              <a:gd name="connsiteY16-1698" fmla="*/ 6434435 h 7134208"/>
              <a:gd name="connsiteX17-1699" fmla="*/ 5641256 w 9397013"/>
              <a:gd name="connsiteY17-1700" fmla="*/ 212436 h 7134208"/>
              <a:gd name="connsiteX18-1701" fmla="*/ 6077099 w 9397013"/>
              <a:gd name="connsiteY18-1702" fmla="*/ 225638 h 7134208"/>
              <a:gd name="connsiteX19-1703" fmla="*/ 1099910 w 9397013"/>
              <a:gd name="connsiteY19-1704" fmla="*/ 6831395 h 7134208"/>
              <a:gd name="connsiteX20-1705" fmla="*/ 6958778 w 9397013"/>
              <a:gd name="connsiteY20-1706" fmla="*/ 7124971 h 7134208"/>
              <a:gd name="connsiteX21-1707" fmla="*/ 6560038 w 9397013"/>
              <a:gd name="connsiteY21-1708" fmla="*/ 7134207 h 7134208"/>
              <a:gd name="connsiteX22-1709" fmla="*/ 3849932 w 9397013"/>
              <a:gd name="connsiteY22-1710" fmla="*/ 3596670 h 7134208"/>
              <a:gd name="connsiteX23-1711" fmla="*/ 4086202 w 9397013"/>
              <a:gd name="connsiteY23-1712" fmla="*/ 3287229 h 7134208"/>
              <a:gd name="connsiteX24-1713" fmla="*/ 6958778 w 9397013"/>
              <a:gd name="connsiteY24-1714" fmla="*/ 7124971 h 7134208"/>
              <a:gd name="connsiteX25-1715" fmla="*/ 7777211 w 9397013"/>
              <a:gd name="connsiteY25-1716" fmla="*/ 7124972 h 7134208"/>
              <a:gd name="connsiteX26-1717" fmla="*/ 7324729 w 9397013"/>
              <a:gd name="connsiteY26-1718" fmla="*/ 7124972 h 7134208"/>
              <a:gd name="connsiteX27-1719" fmla="*/ 4245793 w 9397013"/>
              <a:gd name="connsiteY27-1720" fmla="*/ 3078214 h 7134208"/>
              <a:gd name="connsiteX28-1721" fmla="*/ 4490696 w 9397013"/>
              <a:gd name="connsiteY28-1722" fmla="*/ 2757469 h 7134208"/>
              <a:gd name="connsiteX29-1723" fmla="*/ 7777211 w 9397013"/>
              <a:gd name="connsiteY29-1724" fmla="*/ 7124972 h 7134208"/>
              <a:gd name="connsiteX30-1725" fmla="*/ 8567691 w 9397013"/>
              <a:gd name="connsiteY30-1726" fmla="*/ 7124971 h 7134208"/>
              <a:gd name="connsiteX31-1727" fmla="*/ 8159389 w 9397013"/>
              <a:gd name="connsiteY31-1728" fmla="*/ 7134208 h 7134208"/>
              <a:gd name="connsiteX32-1729" fmla="*/ 4650570 w 9397013"/>
              <a:gd name="connsiteY32-1730" fmla="*/ 2548084 h 7134208"/>
              <a:gd name="connsiteX33-1731" fmla="*/ 4869244 w 9397013"/>
              <a:gd name="connsiteY33-1732" fmla="*/ 2261689 h 7134208"/>
              <a:gd name="connsiteX34-1733" fmla="*/ 8567691 w 9397013"/>
              <a:gd name="connsiteY34-1734" fmla="*/ 7124971 h 7134208"/>
              <a:gd name="connsiteX35-1735" fmla="*/ 9397013 w 9397013"/>
              <a:gd name="connsiteY35-1736" fmla="*/ 7134207 h 7134208"/>
              <a:gd name="connsiteX36-1737" fmla="*/ 8921338 w 9397013"/>
              <a:gd name="connsiteY36-1738" fmla="*/ 7115735 h 7134208"/>
              <a:gd name="connsiteX37-1739" fmla="*/ 5045299 w 9397013"/>
              <a:gd name="connsiteY37-1740" fmla="*/ 2031113 h 7134208"/>
              <a:gd name="connsiteX38-1741" fmla="*/ 5273037 w 9397013"/>
              <a:gd name="connsiteY38-1742" fmla="*/ 1732846 h 7134208"/>
              <a:gd name="connsiteX39-1743" fmla="*/ 9397013 w 9397013"/>
              <a:gd name="connsiteY39-1744" fmla="*/ 7134207 h 7134208"/>
              <a:gd name="connsiteX0-1745" fmla="*/ 168369 w 9397013"/>
              <a:gd name="connsiteY0-1746" fmla="*/ 4571581 h 6925856"/>
              <a:gd name="connsiteX1-1747" fmla="*/ 0 w 9397013"/>
              <a:gd name="connsiteY1-1748" fmla="*/ 4200794 h 6925856"/>
              <a:gd name="connsiteX2-1749" fmla="*/ 3175788 w 9397013"/>
              <a:gd name="connsiteY2-1750" fmla="*/ 4084 h 6925856"/>
              <a:gd name="connsiteX3-1751" fmla="*/ 3628305 w 9397013"/>
              <a:gd name="connsiteY3-1752" fmla="*/ 0 h 6925856"/>
              <a:gd name="connsiteX4-1753" fmla="*/ 168369 w 9397013"/>
              <a:gd name="connsiteY4-1754" fmla="*/ 4571581 h 6925856"/>
              <a:gd name="connsiteX5-1755" fmla="*/ 488220 w 9397013"/>
              <a:gd name="connsiteY5-1756" fmla="*/ 5275963 h 6925856"/>
              <a:gd name="connsiteX6-1757" fmla="*/ 299082 w 9397013"/>
              <a:gd name="connsiteY6-1758" fmla="*/ 4859439 h 6925856"/>
              <a:gd name="connsiteX7-1759" fmla="*/ 3977147 w 9397013"/>
              <a:gd name="connsiteY7-1760" fmla="*/ 3723 h 6925856"/>
              <a:gd name="connsiteX8-1761" fmla="*/ 4465006 w 9397013"/>
              <a:gd name="connsiteY8-1762" fmla="*/ 840 h 6925856"/>
              <a:gd name="connsiteX9-1763" fmla="*/ 488220 w 9397013"/>
              <a:gd name="connsiteY9-1764" fmla="*/ 5275963 h 6925856"/>
              <a:gd name="connsiteX10-1765" fmla="*/ 779421 w 9397013"/>
              <a:gd name="connsiteY10-1766" fmla="*/ 5917254 h 6925856"/>
              <a:gd name="connsiteX11-1767" fmla="*/ 618065 w 9397013"/>
              <a:gd name="connsiteY11-1768" fmla="*/ 5561911 h 6925856"/>
              <a:gd name="connsiteX12-1769" fmla="*/ 4805164 w 9397013"/>
              <a:gd name="connsiteY12-1770" fmla="*/ 4602 h 6925856"/>
              <a:gd name="connsiteX13-1771" fmla="*/ 5260238 w 9397013"/>
              <a:gd name="connsiteY13-1772" fmla="*/ 25779 h 6925856"/>
              <a:gd name="connsiteX14-1773" fmla="*/ 779421 w 9397013"/>
              <a:gd name="connsiteY14-1774" fmla="*/ 5917254 h 6925856"/>
              <a:gd name="connsiteX15-1775" fmla="*/ 1099910 w 9397013"/>
              <a:gd name="connsiteY15-1776" fmla="*/ 6623043 h 6925856"/>
              <a:gd name="connsiteX16-1777" fmla="*/ 919656 w 9397013"/>
              <a:gd name="connsiteY16-1778" fmla="*/ 6226083 h 6925856"/>
              <a:gd name="connsiteX17-1779" fmla="*/ 5641256 w 9397013"/>
              <a:gd name="connsiteY17-1780" fmla="*/ 4084 h 6925856"/>
              <a:gd name="connsiteX18-1781" fmla="*/ 6077099 w 9397013"/>
              <a:gd name="connsiteY18-1782" fmla="*/ 17286 h 6925856"/>
              <a:gd name="connsiteX19-1783" fmla="*/ 1099910 w 9397013"/>
              <a:gd name="connsiteY19-1784" fmla="*/ 6623043 h 6925856"/>
              <a:gd name="connsiteX20-1785" fmla="*/ 6958778 w 9397013"/>
              <a:gd name="connsiteY20-1786" fmla="*/ 6916619 h 6925856"/>
              <a:gd name="connsiteX21-1787" fmla="*/ 6560038 w 9397013"/>
              <a:gd name="connsiteY21-1788" fmla="*/ 6925855 h 6925856"/>
              <a:gd name="connsiteX22-1789" fmla="*/ 3849932 w 9397013"/>
              <a:gd name="connsiteY22-1790" fmla="*/ 3388318 h 6925856"/>
              <a:gd name="connsiteX23-1791" fmla="*/ 4086202 w 9397013"/>
              <a:gd name="connsiteY23-1792" fmla="*/ 3078877 h 6925856"/>
              <a:gd name="connsiteX24-1793" fmla="*/ 6958778 w 9397013"/>
              <a:gd name="connsiteY24-1794" fmla="*/ 6916619 h 6925856"/>
              <a:gd name="connsiteX25-1795" fmla="*/ 7777211 w 9397013"/>
              <a:gd name="connsiteY25-1796" fmla="*/ 6916620 h 6925856"/>
              <a:gd name="connsiteX26-1797" fmla="*/ 7324729 w 9397013"/>
              <a:gd name="connsiteY26-1798" fmla="*/ 6916620 h 6925856"/>
              <a:gd name="connsiteX27-1799" fmla="*/ 4245793 w 9397013"/>
              <a:gd name="connsiteY27-1800" fmla="*/ 2869862 h 6925856"/>
              <a:gd name="connsiteX28-1801" fmla="*/ 4490696 w 9397013"/>
              <a:gd name="connsiteY28-1802" fmla="*/ 2549117 h 6925856"/>
              <a:gd name="connsiteX29-1803" fmla="*/ 7777211 w 9397013"/>
              <a:gd name="connsiteY29-1804" fmla="*/ 6916620 h 6925856"/>
              <a:gd name="connsiteX30-1805" fmla="*/ 8567691 w 9397013"/>
              <a:gd name="connsiteY30-1806" fmla="*/ 6916619 h 6925856"/>
              <a:gd name="connsiteX31-1807" fmla="*/ 8159389 w 9397013"/>
              <a:gd name="connsiteY31-1808" fmla="*/ 6925856 h 6925856"/>
              <a:gd name="connsiteX32-1809" fmla="*/ 4650570 w 9397013"/>
              <a:gd name="connsiteY32-1810" fmla="*/ 2339732 h 6925856"/>
              <a:gd name="connsiteX33-1811" fmla="*/ 4869244 w 9397013"/>
              <a:gd name="connsiteY33-1812" fmla="*/ 2053337 h 6925856"/>
              <a:gd name="connsiteX34-1813" fmla="*/ 8567691 w 9397013"/>
              <a:gd name="connsiteY34-1814" fmla="*/ 6916619 h 6925856"/>
              <a:gd name="connsiteX35-1815" fmla="*/ 9397013 w 9397013"/>
              <a:gd name="connsiteY35-1816" fmla="*/ 6925855 h 6925856"/>
              <a:gd name="connsiteX36-1817" fmla="*/ 8921338 w 9397013"/>
              <a:gd name="connsiteY36-1818" fmla="*/ 6907383 h 6925856"/>
              <a:gd name="connsiteX37-1819" fmla="*/ 5045299 w 9397013"/>
              <a:gd name="connsiteY37-1820" fmla="*/ 1822761 h 6925856"/>
              <a:gd name="connsiteX38-1821" fmla="*/ 5273037 w 9397013"/>
              <a:gd name="connsiteY38-1822" fmla="*/ 1524494 h 6925856"/>
              <a:gd name="connsiteX39-1823" fmla="*/ 9397013 w 9397013"/>
              <a:gd name="connsiteY39-1824" fmla="*/ 6925855 h 6925856"/>
              <a:gd name="connsiteX0-1825" fmla="*/ 168369 w 9397013"/>
              <a:gd name="connsiteY0-1826" fmla="*/ 4571581 h 6925856"/>
              <a:gd name="connsiteX1-1827" fmla="*/ 0 w 9397013"/>
              <a:gd name="connsiteY1-1828" fmla="*/ 4200794 h 6925856"/>
              <a:gd name="connsiteX2-1829" fmla="*/ 3175788 w 9397013"/>
              <a:gd name="connsiteY2-1830" fmla="*/ 4084 h 6925856"/>
              <a:gd name="connsiteX3-1831" fmla="*/ 3628305 w 9397013"/>
              <a:gd name="connsiteY3-1832" fmla="*/ 0 h 6925856"/>
              <a:gd name="connsiteX4-1833" fmla="*/ 168369 w 9397013"/>
              <a:gd name="connsiteY4-1834" fmla="*/ 4571581 h 6925856"/>
              <a:gd name="connsiteX5-1835" fmla="*/ 488220 w 9397013"/>
              <a:gd name="connsiteY5-1836" fmla="*/ 5275963 h 6925856"/>
              <a:gd name="connsiteX6-1837" fmla="*/ 299082 w 9397013"/>
              <a:gd name="connsiteY6-1838" fmla="*/ 4859439 h 6925856"/>
              <a:gd name="connsiteX7-1839" fmla="*/ 3977147 w 9397013"/>
              <a:gd name="connsiteY7-1840" fmla="*/ 3723 h 6925856"/>
              <a:gd name="connsiteX8-1841" fmla="*/ 4465006 w 9397013"/>
              <a:gd name="connsiteY8-1842" fmla="*/ 840 h 6925856"/>
              <a:gd name="connsiteX9-1843" fmla="*/ 488220 w 9397013"/>
              <a:gd name="connsiteY9-1844" fmla="*/ 5275963 h 6925856"/>
              <a:gd name="connsiteX10-1845" fmla="*/ 779421 w 9397013"/>
              <a:gd name="connsiteY10-1846" fmla="*/ 5917254 h 6925856"/>
              <a:gd name="connsiteX11-1847" fmla="*/ 618065 w 9397013"/>
              <a:gd name="connsiteY11-1848" fmla="*/ 5561911 h 6925856"/>
              <a:gd name="connsiteX12-1849" fmla="*/ 4805164 w 9397013"/>
              <a:gd name="connsiteY12-1850" fmla="*/ 4602 h 6925856"/>
              <a:gd name="connsiteX13-1851" fmla="*/ 5260238 w 9397013"/>
              <a:gd name="connsiteY13-1852" fmla="*/ 25779 h 6925856"/>
              <a:gd name="connsiteX14-1853" fmla="*/ 779421 w 9397013"/>
              <a:gd name="connsiteY14-1854" fmla="*/ 5917254 h 6925856"/>
              <a:gd name="connsiteX15-1855" fmla="*/ 1598673 w 9397013"/>
              <a:gd name="connsiteY15-1856" fmla="*/ 5976498 h 6925856"/>
              <a:gd name="connsiteX16-1857" fmla="*/ 919656 w 9397013"/>
              <a:gd name="connsiteY16-1858" fmla="*/ 6226083 h 6925856"/>
              <a:gd name="connsiteX17-1859" fmla="*/ 5641256 w 9397013"/>
              <a:gd name="connsiteY17-1860" fmla="*/ 4084 h 6925856"/>
              <a:gd name="connsiteX18-1861" fmla="*/ 6077099 w 9397013"/>
              <a:gd name="connsiteY18-1862" fmla="*/ 17286 h 6925856"/>
              <a:gd name="connsiteX19-1863" fmla="*/ 1598673 w 9397013"/>
              <a:gd name="connsiteY19-1864" fmla="*/ 5976498 h 6925856"/>
              <a:gd name="connsiteX20-1865" fmla="*/ 6958778 w 9397013"/>
              <a:gd name="connsiteY20-1866" fmla="*/ 6916619 h 6925856"/>
              <a:gd name="connsiteX21-1867" fmla="*/ 6560038 w 9397013"/>
              <a:gd name="connsiteY21-1868" fmla="*/ 6925855 h 6925856"/>
              <a:gd name="connsiteX22-1869" fmla="*/ 3849932 w 9397013"/>
              <a:gd name="connsiteY22-1870" fmla="*/ 3388318 h 6925856"/>
              <a:gd name="connsiteX23-1871" fmla="*/ 4086202 w 9397013"/>
              <a:gd name="connsiteY23-1872" fmla="*/ 3078877 h 6925856"/>
              <a:gd name="connsiteX24-1873" fmla="*/ 6958778 w 9397013"/>
              <a:gd name="connsiteY24-1874" fmla="*/ 6916619 h 6925856"/>
              <a:gd name="connsiteX25-1875" fmla="*/ 7777211 w 9397013"/>
              <a:gd name="connsiteY25-1876" fmla="*/ 6916620 h 6925856"/>
              <a:gd name="connsiteX26-1877" fmla="*/ 7324729 w 9397013"/>
              <a:gd name="connsiteY26-1878" fmla="*/ 6916620 h 6925856"/>
              <a:gd name="connsiteX27-1879" fmla="*/ 4245793 w 9397013"/>
              <a:gd name="connsiteY27-1880" fmla="*/ 2869862 h 6925856"/>
              <a:gd name="connsiteX28-1881" fmla="*/ 4490696 w 9397013"/>
              <a:gd name="connsiteY28-1882" fmla="*/ 2549117 h 6925856"/>
              <a:gd name="connsiteX29-1883" fmla="*/ 7777211 w 9397013"/>
              <a:gd name="connsiteY29-1884" fmla="*/ 6916620 h 6925856"/>
              <a:gd name="connsiteX30-1885" fmla="*/ 8567691 w 9397013"/>
              <a:gd name="connsiteY30-1886" fmla="*/ 6916619 h 6925856"/>
              <a:gd name="connsiteX31-1887" fmla="*/ 8159389 w 9397013"/>
              <a:gd name="connsiteY31-1888" fmla="*/ 6925856 h 6925856"/>
              <a:gd name="connsiteX32-1889" fmla="*/ 4650570 w 9397013"/>
              <a:gd name="connsiteY32-1890" fmla="*/ 2339732 h 6925856"/>
              <a:gd name="connsiteX33-1891" fmla="*/ 4869244 w 9397013"/>
              <a:gd name="connsiteY33-1892" fmla="*/ 2053337 h 6925856"/>
              <a:gd name="connsiteX34-1893" fmla="*/ 8567691 w 9397013"/>
              <a:gd name="connsiteY34-1894" fmla="*/ 6916619 h 6925856"/>
              <a:gd name="connsiteX35-1895" fmla="*/ 9397013 w 9397013"/>
              <a:gd name="connsiteY35-1896" fmla="*/ 6925855 h 6925856"/>
              <a:gd name="connsiteX36-1897" fmla="*/ 8921338 w 9397013"/>
              <a:gd name="connsiteY36-1898" fmla="*/ 6907383 h 6925856"/>
              <a:gd name="connsiteX37-1899" fmla="*/ 5045299 w 9397013"/>
              <a:gd name="connsiteY37-1900" fmla="*/ 1822761 h 6925856"/>
              <a:gd name="connsiteX38-1901" fmla="*/ 5273037 w 9397013"/>
              <a:gd name="connsiteY38-1902" fmla="*/ 1524494 h 6925856"/>
              <a:gd name="connsiteX39-1903" fmla="*/ 9397013 w 9397013"/>
              <a:gd name="connsiteY39-1904" fmla="*/ 6925855 h 6925856"/>
              <a:gd name="connsiteX0-1905" fmla="*/ 168369 w 9397013"/>
              <a:gd name="connsiteY0-1906" fmla="*/ 4571581 h 6925856"/>
              <a:gd name="connsiteX1-1907" fmla="*/ 0 w 9397013"/>
              <a:gd name="connsiteY1-1908" fmla="*/ 4200794 h 6925856"/>
              <a:gd name="connsiteX2-1909" fmla="*/ 3175788 w 9397013"/>
              <a:gd name="connsiteY2-1910" fmla="*/ 4084 h 6925856"/>
              <a:gd name="connsiteX3-1911" fmla="*/ 3628305 w 9397013"/>
              <a:gd name="connsiteY3-1912" fmla="*/ 0 h 6925856"/>
              <a:gd name="connsiteX4-1913" fmla="*/ 168369 w 9397013"/>
              <a:gd name="connsiteY4-1914" fmla="*/ 4571581 h 6925856"/>
              <a:gd name="connsiteX5-1915" fmla="*/ 488220 w 9397013"/>
              <a:gd name="connsiteY5-1916" fmla="*/ 5275963 h 6925856"/>
              <a:gd name="connsiteX6-1917" fmla="*/ 299082 w 9397013"/>
              <a:gd name="connsiteY6-1918" fmla="*/ 4859439 h 6925856"/>
              <a:gd name="connsiteX7-1919" fmla="*/ 3977147 w 9397013"/>
              <a:gd name="connsiteY7-1920" fmla="*/ 3723 h 6925856"/>
              <a:gd name="connsiteX8-1921" fmla="*/ 4465006 w 9397013"/>
              <a:gd name="connsiteY8-1922" fmla="*/ 840 h 6925856"/>
              <a:gd name="connsiteX9-1923" fmla="*/ 488220 w 9397013"/>
              <a:gd name="connsiteY9-1924" fmla="*/ 5275963 h 6925856"/>
              <a:gd name="connsiteX10-1925" fmla="*/ 779421 w 9397013"/>
              <a:gd name="connsiteY10-1926" fmla="*/ 5917254 h 6925856"/>
              <a:gd name="connsiteX11-1927" fmla="*/ 618065 w 9397013"/>
              <a:gd name="connsiteY11-1928" fmla="*/ 5561911 h 6925856"/>
              <a:gd name="connsiteX12-1929" fmla="*/ 4805164 w 9397013"/>
              <a:gd name="connsiteY12-1930" fmla="*/ 4602 h 6925856"/>
              <a:gd name="connsiteX13-1931" fmla="*/ 5260238 w 9397013"/>
              <a:gd name="connsiteY13-1932" fmla="*/ 25779 h 6925856"/>
              <a:gd name="connsiteX14-1933" fmla="*/ 779421 w 9397013"/>
              <a:gd name="connsiteY14-1934" fmla="*/ 5917254 h 6925856"/>
              <a:gd name="connsiteX15-1935" fmla="*/ 1598673 w 9397013"/>
              <a:gd name="connsiteY15-1936" fmla="*/ 5976498 h 6925856"/>
              <a:gd name="connsiteX16-1937" fmla="*/ 1566201 w 9397013"/>
              <a:gd name="connsiteY16-1938" fmla="*/ 5394811 h 6925856"/>
              <a:gd name="connsiteX17-1939" fmla="*/ 5641256 w 9397013"/>
              <a:gd name="connsiteY17-1940" fmla="*/ 4084 h 6925856"/>
              <a:gd name="connsiteX18-1941" fmla="*/ 6077099 w 9397013"/>
              <a:gd name="connsiteY18-1942" fmla="*/ 17286 h 6925856"/>
              <a:gd name="connsiteX19-1943" fmla="*/ 1598673 w 9397013"/>
              <a:gd name="connsiteY19-1944" fmla="*/ 5976498 h 6925856"/>
              <a:gd name="connsiteX20-1945" fmla="*/ 6958778 w 9397013"/>
              <a:gd name="connsiteY20-1946" fmla="*/ 6916619 h 6925856"/>
              <a:gd name="connsiteX21-1947" fmla="*/ 6560038 w 9397013"/>
              <a:gd name="connsiteY21-1948" fmla="*/ 6925855 h 6925856"/>
              <a:gd name="connsiteX22-1949" fmla="*/ 3849932 w 9397013"/>
              <a:gd name="connsiteY22-1950" fmla="*/ 3388318 h 6925856"/>
              <a:gd name="connsiteX23-1951" fmla="*/ 4086202 w 9397013"/>
              <a:gd name="connsiteY23-1952" fmla="*/ 3078877 h 6925856"/>
              <a:gd name="connsiteX24-1953" fmla="*/ 6958778 w 9397013"/>
              <a:gd name="connsiteY24-1954" fmla="*/ 6916619 h 6925856"/>
              <a:gd name="connsiteX25-1955" fmla="*/ 7777211 w 9397013"/>
              <a:gd name="connsiteY25-1956" fmla="*/ 6916620 h 6925856"/>
              <a:gd name="connsiteX26-1957" fmla="*/ 7324729 w 9397013"/>
              <a:gd name="connsiteY26-1958" fmla="*/ 6916620 h 6925856"/>
              <a:gd name="connsiteX27-1959" fmla="*/ 4245793 w 9397013"/>
              <a:gd name="connsiteY27-1960" fmla="*/ 2869862 h 6925856"/>
              <a:gd name="connsiteX28-1961" fmla="*/ 4490696 w 9397013"/>
              <a:gd name="connsiteY28-1962" fmla="*/ 2549117 h 6925856"/>
              <a:gd name="connsiteX29-1963" fmla="*/ 7777211 w 9397013"/>
              <a:gd name="connsiteY29-1964" fmla="*/ 6916620 h 6925856"/>
              <a:gd name="connsiteX30-1965" fmla="*/ 8567691 w 9397013"/>
              <a:gd name="connsiteY30-1966" fmla="*/ 6916619 h 6925856"/>
              <a:gd name="connsiteX31-1967" fmla="*/ 8159389 w 9397013"/>
              <a:gd name="connsiteY31-1968" fmla="*/ 6925856 h 6925856"/>
              <a:gd name="connsiteX32-1969" fmla="*/ 4650570 w 9397013"/>
              <a:gd name="connsiteY32-1970" fmla="*/ 2339732 h 6925856"/>
              <a:gd name="connsiteX33-1971" fmla="*/ 4869244 w 9397013"/>
              <a:gd name="connsiteY33-1972" fmla="*/ 2053337 h 6925856"/>
              <a:gd name="connsiteX34-1973" fmla="*/ 8567691 w 9397013"/>
              <a:gd name="connsiteY34-1974" fmla="*/ 6916619 h 6925856"/>
              <a:gd name="connsiteX35-1975" fmla="*/ 9397013 w 9397013"/>
              <a:gd name="connsiteY35-1976" fmla="*/ 6925855 h 6925856"/>
              <a:gd name="connsiteX36-1977" fmla="*/ 8921338 w 9397013"/>
              <a:gd name="connsiteY36-1978" fmla="*/ 6907383 h 6925856"/>
              <a:gd name="connsiteX37-1979" fmla="*/ 5045299 w 9397013"/>
              <a:gd name="connsiteY37-1980" fmla="*/ 1822761 h 6925856"/>
              <a:gd name="connsiteX38-1981" fmla="*/ 5273037 w 9397013"/>
              <a:gd name="connsiteY38-1982" fmla="*/ 1524494 h 6925856"/>
              <a:gd name="connsiteX39-1983" fmla="*/ 9397013 w 9397013"/>
              <a:gd name="connsiteY39-1984" fmla="*/ 6925855 h 6925856"/>
              <a:gd name="connsiteX0-1985" fmla="*/ 168369 w 9397013"/>
              <a:gd name="connsiteY0-1986" fmla="*/ 4571581 h 6925856"/>
              <a:gd name="connsiteX1-1987" fmla="*/ 0 w 9397013"/>
              <a:gd name="connsiteY1-1988" fmla="*/ 4200794 h 6925856"/>
              <a:gd name="connsiteX2-1989" fmla="*/ 3175788 w 9397013"/>
              <a:gd name="connsiteY2-1990" fmla="*/ 4084 h 6925856"/>
              <a:gd name="connsiteX3-1991" fmla="*/ 3628305 w 9397013"/>
              <a:gd name="connsiteY3-1992" fmla="*/ 0 h 6925856"/>
              <a:gd name="connsiteX4-1993" fmla="*/ 168369 w 9397013"/>
              <a:gd name="connsiteY4-1994" fmla="*/ 4571581 h 6925856"/>
              <a:gd name="connsiteX5-1995" fmla="*/ 488220 w 9397013"/>
              <a:gd name="connsiteY5-1996" fmla="*/ 5275963 h 6925856"/>
              <a:gd name="connsiteX6-1997" fmla="*/ 299082 w 9397013"/>
              <a:gd name="connsiteY6-1998" fmla="*/ 4859439 h 6925856"/>
              <a:gd name="connsiteX7-1999" fmla="*/ 3977147 w 9397013"/>
              <a:gd name="connsiteY7-2000" fmla="*/ 3723 h 6925856"/>
              <a:gd name="connsiteX8-2001" fmla="*/ 4465006 w 9397013"/>
              <a:gd name="connsiteY8-2002" fmla="*/ 840 h 6925856"/>
              <a:gd name="connsiteX9-2003" fmla="*/ 488220 w 9397013"/>
              <a:gd name="connsiteY9-2004" fmla="*/ 5275963 h 6925856"/>
              <a:gd name="connsiteX10-2005" fmla="*/ 779421 w 9397013"/>
              <a:gd name="connsiteY10-2006" fmla="*/ 5917254 h 6925856"/>
              <a:gd name="connsiteX11-2007" fmla="*/ 618065 w 9397013"/>
              <a:gd name="connsiteY11-2008" fmla="*/ 5561911 h 6925856"/>
              <a:gd name="connsiteX12-2009" fmla="*/ 4805164 w 9397013"/>
              <a:gd name="connsiteY12-2010" fmla="*/ 4602 h 6925856"/>
              <a:gd name="connsiteX13-2011" fmla="*/ 5260238 w 9397013"/>
              <a:gd name="connsiteY13-2012" fmla="*/ 25779 h 6925856"/>
              <a:gd name="connsiteX14-2013" fmla="*/ 779421 w 9397013"/>
              <a:gd name="connsiteY14-2014" fmla="*/ 5917254 h 6925856"/>
              <a:gd name="connsiteX15-2015" fmla="*/ 1580200 w 9397013"/>
              <a:gd name="connsiteY15-2016" fmla="*/ 5985735 h 6925856"/>
              <a:gd name="connsiteX16-2017" fmla="*/ 1566201 w 9397013"/>
              <a:gd name="connsiteY16-2018" fmla="*/ 5394811 h 6925856"/>
              <a:gd name="connsiteX17-2019" fmla="*/ 5641256 w 9397013"/>
              <a:gd name="connsiteY17-2020" fmla="*/ 4084 h 6925856"/>
              <a:gd name="connsiteX18-2021" fmla="*/ 6077099 w 9397013"/>
              <a:gd name="connsiteY18-2022" fmla="*/ 17286 h 6925856"/>
              <a:gd name="connsiteX19-2023" fmla="*/ 1580200 w 9397013"/>
              <a:gd name="connsiteY19-2024" fmla="*/ 5985735 h 6925856"/>
              <a:gd name="connsiteX20-2025" fmla="*/ 6958778 w 9397013"/>
              <a:gd name="connsiteY20-2026" fmla="*/ 6916619 h 6925856"/>
              <a:gd name="connsiteX21-2027" fmla="*/ 6560038 w 9397013"/>
              <a:gd name="connsiteY21-2028" fmla="*/ 6925855 h 6925856"/>
              <a:gd name="connsiteX22-2029" fmla="*/ 3849932 w 9397013"/>
              <a:gd name="connsiteY22-2030" fmla="*/ 3388318 h 6925856"/>
              <a:gd name="connsiteX23-2031" fmla="*/ 4086202 w 9397013"/>
              <a:gd name="connsiteY23-2032" fmla="*/ 3078877 h 6925856"/>
              <a:gd name="connsiteX24-2033" fmla="*/ 6958778 w 9397013"/>
              <a:gd name="connsiteY24-2034" fmla="*/ 6916619 h 6925856"/>
              <a:gd name="connsiteX25-2035" fmla="*/ 7777211 w 9397013"/>
              <a:gd name="connsiteY25-2036" fmla="*/ 6916620 h 6925856"/>
              <a:gd name="connsiteX26-2037" fmla="*/ 7324729 w 9397013"/>
              <a:gd name="connsiteY26-2038" fmla="*/ 6916620 h 6925856"/>
              <a:gd name="connsiteX27-2039" fmla="*/ 4245793 w 9397013"/>
              <a:gd name="connsiteY27-2040" fmla="*/ 2869862 h 6925856"/>
              <a:gd name="connsiteX28-2041" fmla="*/ 4490696 w 9397013"/>
              <a:gd name="connsiteY28-2042" fmla="*/ 2549117 h 6925856"/>
              <a:gd name="connsiteX29-2043" fmla="*/ 7777211 w 9397013"/>
              <a:gd name="connsiteY29-2044" fmla="*/ 6916620 h 6925856"/>
              <a:gd name="connsiteX30-2045" fmla="*/ 8567691 w 9397013"/>
              <a:gd name="connsiteY30-2046" fmla="*/ 6916619 h 6925856"/>
              <a:gd name="connsiteX31-2047" fmla="*/ 8159389 w 9397013"/>
              <a:gd name="connsiteY31-2048" fmla="*/ 6925856 h 6925856"/>
              <a:gd name="connsiteX32-2049" fmla="*/ 4650570 w 9397013"/>
              <a:gd name="connsiteY32-2050" fmla="*/ 2339732 h 6925856"/>
              <a:gd name="connsiteX33-2051" fmla="*/ 4869244 w 9397013"/>
              <a:gd name="connsiteY33-2052" fmla="*/ 2053337 h 6925856"/>
              <a:gd name="connsiteX34-2053" fmla="*/ 8567691 w 9397013"/>
              <a:gd name="connsiteY34-2054" fmla="*/ 6916619 h 6925856"/>
              <a:gd name="connsiteX35-2055" fmla="*/ 9397013 w 9397013"/>
              <a:gd name="connsiteY35-2056" fmla="*/ 6925855 h 6925856"/>
              <a:gd name="connsiteX36-2057" fmla="*/ 8921338 w 9397013"/>
              <a:gd name="connsiteY36-2058" fmla="*/ 6907383 h 6925856"/>
              <a:gd name="connsiteX37-2059" fmla="*/ 5045299 w 9397013"/>
              <a:gd name="connsiteY37-2060" fmla="*/ 1822761 h 6925856"/>
              <a:gd name="connsiteX38-2061" fmla="*/ 5273037 w 9397013"/>
              <a:gd name="connsiteY38-2062" fmla="*/ 1524494 h 6925856"/>
              <a:gd name="connsiteX39-2063" fmla="*/ 9397013 w 9397013"/>
              <a:gd name="connsiteY39-2064" fmla="*/ 6925855 h 6925856"/>
              <a:gd name="connsiteX0-2065" fmla="*/ 168369 w 9397013"/>
              <a:gd name="connsiteY0-2066" fmla="*/ 4571581 h 6925856"/>
              <a:gd name="connsiteX1-2067" fmla="*/ 0 w 9397013"/>
              <a:gd name="connsiteY1-2068" fmla="*/ 4200794 h 6925856"/>
              <a:gd name="connsiteX2-2069" fmla="*/ 3175788 w 9397013"/>
              <a:gd name="connsiteY2-2070" fmla="*/ 4084 h 6925856"/>
              <a:gd name="connsiteX3-2071" fmla="*/ 3628305 w 9397013"/>
              <a:gd name="connsiteY3-2072" fmla="*/ 0 h 6925856"/>
              <a:gd name="connsiteX4-2073" fmla="*/ 168369 w 9397013"/>
              <a:gd name="connsiteY4-2074" fmla="*/ 4571581 h 6925856"/>
              <a:gd name="connsiteX5-2075" fmla="*/ 488220 w 9397013"/>
              <a:gd name="connsiteY5-2076" fmla="*/ 5275963 h 6925856"/>
              <a:gd name="connsiteX6-2077" fmla="*/ 299082 w 9397013"/>
              <a:gd name="connsiteY6-2078" fmla="*/ 4859439 h 6925856"/>
              <a:gd name="connsiteX7-2079" fmla="*/ 3977147 w 9397013"/>
              <a:gd name="connsiteY7-2080" fmla="*/ 3723 h 6925856"/>
              <a:gd name="connsiteX8-2081" fmla="*/ 4465006 w 9397013"/>
              <a:gd name="connsiteY8-2082" fmla="*/ 840 h 6925856"/>
              <a:gd name="connsiteX9-2083" fmla="*/ 488220 w 9397013"/>
              <a:gd name="connsiteY9-2084" fmla="*/ 5275963 h 6925856"/>
              <a:gd name="connsiteX10-2085" fmla="*/ 1601458 w 9397013"/>
              <a:gd name="connsiteY10-2086" fmla="*/ 4845836 h 6925856"/>
              <a:gd name="connsiteX11-2087" fmla="*/ 618065 w 9397013"/>
              <a:gd name="connsiteY11-2088" fmla="*/ 5561911 h 6925856"/>
              <a:gd name="connsiteX12-2089" fmla="*/ 4805164 w 9397013"/>
              <a:gd name="connsiteY12-2090" fmla="*/ 4602 h 6925856"/>
              <a:gd name="connsiteX13-2091" fmla="*/ 5260238 w 9397013"/>
              <a:gd name="connsiteY13-2092" fmla="*/ 25779 h 6925856"/>
              <a:gd name="connsiteX14-2093" fmla="*/ 1601458 w 9397013"/>
              <a:gd name="connsiteY14-2094" fmla="*/ 4845836 h 6925856"/>
              <a:gd name="connsiteX15-2095" fmla="*/ 1580200 w 9397013"/>
              <a:gd name="connsiteY15-2096" fmla="*/ 5985735 h 6925856"/>
              <a:gd name="connsiteX16-2097" fmla="*/ 1566201 w 9397013"/>
              <a:gd name="connsiteY16-2098" fmla="*/ 5394811 h 6925856"/>
              <a:gd name="connsiteX17-2099" fmla="*/ 5641256 w 9397013"/>
              <a:gd name="connsiteY17-2100" fmla="*/ 4084 h 6925856"/>
              <a:gd name="connsiteX18-2101" fmla="*/ 6077099 w 9397013"/>
              <a:gd name="connsiteY18-2102" fmla="*/ 17286 h 6925856"/>
              <a:gd name="connsiteX19-2103" fmla="*/ 1580200 w 9397013"/>
              <a:gd name="connsiteY19-2104" fmla="*/ 5985735 h 6925856"/>
              <a:gd name="connsiteX20-2105" fmla="*/ 6958778 w 9397013"/>
              <a:gd name="connsiteY20-2106" fmla="*/ 6916619 h 6925856"/>
              <a:gd name="connsiteX21-2107" fmla="*/ 6560038 w 9397013"/>
              <a:gd name="connsiteY21-2108" fmla="*/ 6925855 h 6925856"/>
              <a:gd name="connsiteX22-2109" fmla="*/ 3849932 w 9397013"/>
              <a:gd name="connsiteY22-2110" fmla="*/ 3388318 h 6925856"/>
              <a:gd name="connsiteX23-2111" fmla="*/ 4086202 w 9397013"/>
              <a:gd name="connsiteY23-2112" fmla="*/ 3078877 h 6925856"/>
              <a:gd name="connsiteX24-2113" fmla="*/ 6958778 w 9397013"/>
              <a:gd name="connsiteY24-2114" fmla="*/ 6916619 h 6925856"/>
              <a:gd name="connsiteX25-2115" fmla="*/ 7777211 w 9397013"/>
              <a:gd name="connsiteY25-2116" fmla="*/ 6916620 h 6925856"/>
              <a:gd name="connsiteX26-2117" fmla="*/ 7324729 w 9397013"/>
              <a:gd name="connsiteY26-2118" fmla="*/ 6916620 h 6925856"/>
              <a:gd name="connsiteX27-2119" fmla="*/ 4245793 w 9397013"/>
              <a:gd name="connsiteY27-2120" fmla="*/ 2869862 h 6925856"/>
              <a:gd name="connsiteX28-2121" fmla="*/ 4490696 w 9397013"/>
              <a:gd name="connsiteY28-2122" fmla="*/ 2549117 h 6925856"/>
              <a:gd name="connsiteX29-2123" fmla="*/ 7777211 w 9397013"/>
              <a:gd name="connsiteY29-2124" fmla="*/ 6916620 h 6925856"/>
              <a:gd name="connsiteX30-2125" fmla="*/ 8567691 w 9397013"/>
              <a:gd name="connsiteY30-2126" fmla="*/ 6916619 h 6925856"/>
              <a:gd name="connsiteX31-2127" fmla="*/ 8159389 w 9397013"/>
              <a:gd name="connsiteY31-2128" fmla="*/ 6925856 h 6925856"/>
              <a:gd name="connsiteX32-2129" fmla="*/ 4650570 w 9397013"/>
              <a:gd name="connsiteY32-2130" fmla="*/ 2339732 h 6925856"/>
              <a:gd name="connsiteX33-2131" fmla="*/ 4869244 w 9397013"/>
              <a:gd name="connsiteY33-2132" fmla="*/ 2053337 h 6925856"/>
              <a:gd name="connsiteX34-2133" fmla="*/ 8567691 w 9397013"/>
              <a:gd name="connsiteY34-2134" fmla="*/ 6916619 h 6925856"/>
              <a:gd name="connsiteX35-2135" fmla="*/ 9397013 w 9397013"/>
              <a:gd name="connsiteY35-2136" fmla="*/ 6925855 h 6925856"/>
              <a:gd name="connsiteX36-2137" fmla="*/ 8921338 w 9397013"/>
              <a:gd name="connsiteY36-2138" fmla="*/ 6907383 h 6925856"/>
              <a:gd name="connsiteX37-2139" fmla="*/ 5045299 w 9397013"/>
              <a:gd name="connsiteY37-2140" fmla="*/ 1822761 h 6925856"/>
              <a:gd name="connsiteX38-2141" fmla="*/ 5273037 w 9397013"/>
              <a:gd name="connsiteY38-2142" fmla="*/ 1524494 h 6925856"/>
              <a:gd name="connsiteX39-2143" fmla="*/ 9397013 w 9397013"/>
              <a:gd name="connsiteY39-2144" fmla="*/ 6925855 h 6925856"/>
              <a:gd name="connsiteX0-2145" fmla="*/ 168369 w 9397013"/>
              <a:gd name="connsiteY0-2146" fmla="*/ 4571581 h 6925856"/>
              <a:gd name="connsiteX1-2147" fmla="*/ 0 w 9397013"/>
              <a:gd name="connsiteY1-2148" fmla="*/ 4200794 h 6925856"/>
              <a:gd name="connsiteX2-2149" fmla="*/ 3175788 w 9397013"/>
              <a:gd name="connsiteY2-2150" fmla="*/ 4084 h 6925856"/>
              <a:gd name="connsiteX3-2151" fmla="*/ 3628305 w 9397013"/>
              <a:gd name="connsiteY3-2152" fmla="*/ 0 h 6925856"/>
              <a:gd name="connsiteX4-2153" fmla="*/ 168369 w 9397013"/>
              <a:gd name="connsiteY4-2154" fmla="*/ 4571581 h 6925856"/>
              <a:gd name="connsiteX5-2155" fmla="*/ 488220 w 9397013"/>
              <a:gd name="connsiteY5-2156" fmla="*/ 5275963 h 6925856"/>
              <a:gd name="connsiteX6-2157" fmla="*/ 299082 w 9397013"/>
              <a:gd name="connsiteY6-2158" fmla="*/ 4859439 h 6925856"/>
              <a:gd name="connsiteX7-2159" fmla="*/ 3977147 w 9397013"/>
              <a:gd name="connsiteY7-2160" fmla="*/ 3723 h 6925856"/>
              <a:gd name="connsiteX8-2161" fmla="*/ 4465006 w 9397013"/>
              <a:gd name="connsiteY8-2162" fmla="*/ 840 h 6925856"/>
              <a:gd name="connsiteX9-2163" fmla="*/ 488220 w 9397013"/>
              <a:gd name="connsiteY9-2164" fmla="*/ 5275963 h 6925856"/>
              <a:gd name="connsiteX10-2165" fmla="*/ 1601458 w 9397013"/>
              <a:gd name="connsiteY10-2166" fmla="*/ 4845836 h 6925856"/>
              <a:gd name="connsiteX11-2167" fmla="*/ 1550937 w 9397013"/>
              <a:gd name="connsiteY11-2168" fmla="*/ 4315002 h 6925856"/>
              <a:gd name="connsiteX12-2169" fmla="*/ 4805164 w 9397013"/>
              <a:gd name="connsiteY12-2170" fmla="*/ 4602 h 6925856"/>
              <a:gd name="connsiteX13-2171" fmla="*/ 5260238 w 9397013"/>
              <a:gd name="connsiteY13-2172" fmla="*/ 25779 h 6925856"/>
              <a:gd name="connsiteX14-2173" fmla="*/ 1601458 w 9397013"/>
              <a:gd name="connsiteY14-2174" fmla="*/ 4845836 h 6925856"/>
              <a:gd name="connsiteX15-2175" fmla="*/ 1580200 w 9397013"/>
              <a:gd name="connsiteY15-2176" fmla="*/ 5985735 h 6925856"/>
              <a:gd name="connsiteX16-2177" fmla="*/ 1566201 w 9397013"/>
              <a:gd name="connsiteY16-2178" fmla="*/ 5394811 h 6925856"/>
              <a:gd name="connsiteX17-2179" fmla="*/ 5641256 w 9397013"/>
              <a:gd name="connsiteY17-2180" fmla="*/ 4084 h 6925856"/>
              <a:gd name="connsiteX18-2181" fmla="*/ 6077099 w 9397013"/>
              <a:gd name="connsiteY18-2182" fmla="*/ 17286 h 6925856"/>
              <a:gd name="connsiteX19-2183" fmla="*/ 1580200 w 9397013"/>
              <a:gd name="connsiteY19-2184" fmla="*/ 5985735 h 6925856"/>
              <a:gd name="connsiteX20-2185" fmla="*/ 6958778 w 9397013"/>
              <a:gd name="connsiteY20-2186" fmla="*/ 6916619 h 6925856"/>
              <a:gd name="connsiteX21-2187" fmla="*/ 6560038 w 9397013"/>
              <a:gd name="connsiteY21-2188" fmla="*/ 6925855 h 6925856"/>
              <a:gd name="connsiteX22-2189" fmla="*/ 3849932 w 9397013"/>
              <a:gd name="connsiteY22-2190" fmla="*/ 3388318 h 6925856"/>
              <a:gd name="connsiteX23-2191" fmla="*/ 4086202 w 9397013"/>
              <a:gd name="connsiteY23-2192" fmla="*/ 3078877 h 6925856"/>
              <a:gd name="connsiteX24-2193" fmla="*/ 6958778 w 9397013"/>
              <a:gd name="connsiteY24-2194" fmla="*/ 6916619 h 6925856"/>
              <a:gd name="connsiteX25-2195" fmla="*/ 7777211 w 9397013"/>
              <a:gd name="connsiteY25-2196" fmla="*/ 6916620 h 6925856"/>
              <a:gd name="connsiteX26-2197" fmla="*/ 7324729 w 9397013"/>
              <a:gd name="connsiteY26-2198" fmla="*/ 6916620 h 6925856"/>
              <a:gd name="connsiteX27-2199" fmla="*/ 4245793 w 9397013"/>
              <a:gd name="connsiteY27-2200" fmla="*/ 2869862 h 6925856"/>
              <a:gd name="connsiteX28-2201" fmla="*/ 4490696 w 9397013"/>
              <a:gd name="connsiteY28-2202" fmla="*/ 2549117 h 6925856"/>
              <a:gd name="connsiteX29-2203" fmla="*/ 7777211 w 9397013"/>
              <a:gd name="connsiteY29-2204" fmla="*/ 6916620 h 6925856"/>
              <a:gd name="connsiteX30-2205" fmla="*/ 8567691 w 9397013"/>
              <a:gd name="connsiteY30-2206" fmla="*/ 6916619 h 6925856"/>
              <a:gd name="connsiteX31-2207" fmla="*/ 8159389 w 9397013"/>
              <a:gd name="connsiteY31-2208" fmla="*/ 6925856 h 6925856"/>
              <a:gd name="connsiteX32-2209" fmla="*/ 4650570 w 9397013"/>
              <a:gd name="connsiteY32-2210" fmla="*/ 2339732 h 6925856"/>
              <a:gd name="connsiteX33-2211" fmla="*/ 4869244 w 9397013"/>
              <a:gd name="connsiteY33-2212" fmla="*/ 2053337 h 6925856"/>
              <a:gd name="connsiteX34-2213" fmla="*/ 8567691 w 9397013"/>
              <a:gd name="connsiteY34-2214" fmla="*/ 6916619 h 6925856"/>
              <a:gd name="connsiteX35-2215" fmla="*/ 9397013 w 9397013"/>
              <a:gd name="connsiteY35-2216" fmla="*/ 6925855 h 6925856"/>
              <a:gd name="connsiteX36-2217" fmla="*/ 8921338 w 9397013"/>
              <a:gd name="connsiteY36-2218" fmla="*/ 6907383 h 6925856"/>
              <a:gd name="connsiteX37-2219" fmla="*/ 5045299 w 9397013"/>
              <a:gd name="connsiteY37-2220" fmla="*/ 1822761 h 6925856"/>
              <a:gd name="connsiteX38-2221" fmla="*/ 5273037 w 9397013"/>
              <a:gd name="connsiteY38-2222" fmla="*/ 1524494 h 6925856"/>
              <a:gd name="connsiteX39-2223" fmla="*/ 9397013 w 9397013"/>
              <a:gd name="connsiteY39-2224" fmla="*/ 6925855 h 6925856"/>
              <a:gd name="connsiteX0-2225" fmla="*/ 168369 w 9397013"/>
              <a:gd name="connsiteY0-2226" fmla="*/ 4571581 h 6925856"/>
              <a:gd name="connsiteX1-2227" fmla="*/ 0 w 9397013"/>
              <a:gd name="connsiteY1-2228" fmla="*/ 4200794 h 6925856"/>
              <a:gd name="connsiteX2-2229" fmla="*/ 3175788 w 9397013"/>
              <a:gd name="connsiteY2-2230" fmla="*/ 4084 h 6925856"/>
              <a:gd name="connsiteX3-2231" fmla="*/ 3628305 w 9397013"/>
              <a:gd name="connsiteY3-2232" fmla="*/ 0 h 6925856"/>
              <a:gd name="connsiteX4-2233" fmla="*/ 168369 w 9397013"/>
              <a:gd name="connsiteY4-2234" fmla="*/ 4571581 h 6925856"/>
              <a:gd name="connsiteX5-2235" fmla="*/ 488220 w 9397013"/>
              <a:gd name="connsiteY5-2236" fmla="*/ 5275963 h 6925856"/>
              <a:gd name="connsiteX6-2237" fmla="*/ 299082 w 9397013"/>
              <a:gd name="connsiteY6-2238" fmla="*/ 4859439 h 6925856"/>
              <a:gd name="connsiteX7-2239" fmla="*/ 3977147 w 9397013"/>
              <a:gd name="connsiteY7-2240" fmla="*/ 3723 h 6925856"/>
              <a:gd name="connsiteX8-2241" fmla="*/ 4465006 w 9397013"/>
              <a:gd name="connsiteY8-2242" fmla="*/ 840 h 6925856"/>
              <a:gd name="connsiteX9-2243" fmla="*/ 488220 w 9397013"/>
              <a:gd name="connsiteY9-2244" fmla="*/ 5275963 h 6925856"/>
              <a:gd name="connsiteX10-2245" fmla="*/ 1573749 w 9397013"/>
              <a:gd name="connsiteY10-2246" fmla="*/ 4882781 h 6925856"/>
              <a:gd name="connsiteX11-2247" fmla="*/ 1550937 w 9397013"/>
              <a:gd name="connsiteY11-2248" fmla="*/ 4315002 h 6925856"/>
              <a:gd name="connsiteX12-2249" fmla="*/ 4805164 w 9397013"/>
              <a:gd name="connsiteY12-2250" fmla="*/ 4602 h 6925856"/>
              <a:gd name="connsiteX13-2251" fmla="*/ 5260238 w 9397013"/>
              <a:gd name="connsiteY13-2252" fmla="*/ 25779 h 6925856"/>
              <a:gd name="connsiteX14-2253" fmla="*/ 1573749 w 9397013"/>
              <a:gd name="connsiteY14-2254" fmla="*/ 4882781 h 6925856"/>
              <a:gd name="connsiteX15-2255" fmla="*/ 1580200 w 9397013"/>
              <a:gd name="connsiteY15-2256" fmla="*/ 5985735 h 6925856"/>
              <a:gd name="connsiteX16-2257" fmla="*/ 1566201 w 9397013"/>
              <a:gd name="connsiteY16-2258" fmla="*/ 5394811 h 6925856"/>
              <a:gd name="connsiteX17-2259" fmla="*/ 5641256 w 9397013"/>
              <a:gd name="connsiteY17-2260" fmla="*/ 4084 h 6925856"/>
              <a:gd name="connsiteX18-2261" fmla="*/ 6077099 w 9397013"/>
              <a:gd name="connsiteY18-2262" fmla="*/ 17286 h 6925856"/>
              <a:gd name="connsiteX19-2263" fmla="*/ 1580200 w 9397013"/>
              <a:gd name="connsiteY19-2264" fmla="*/ 5985735 h 6925856"/>
              <a:gd name="connsiteX20-2265" fmla="*/ 6958778 w 9397013"/>
              <a:gd name="connsiteY20-2266" fmla="*/ 6916619 h 6925856"/>
              <a:gd name="connsiteX21-2267" fmla="*/ 6560038 w 9397013"/>
              <a:gd name="connsiteY21-2268" fmla="*/ 6925855 h 6925856"/>
              <a:gd name="connsiteX22-2269" fmla="*/ 3849932 w 9397013"/>
              <a:gd name="connsiteY22-2270" fmla="*/ 3388318 h 6925856"/>
              <a:gd name="connsiteX23-2271" fmla="*/ 4086202 w 9397013"/>
              <a:gd name="connsiteY23-2272" fmla="*/ 3078877 h 6925856"/>
              <a:gd name="connsiteX24-2273" fmla="*/ 6958778 w 9397013"/>
              <a:gd name="connsiteY24-2274" fmla="*/ 6916619 h 6925856"/>
              <a:gd name="connsiteX25-2275" fmla="*/ 7777211 w 9397013"/>
              <a:gd name="connsiteY25-2276" fmla="*/ 6916620 h 6925856"/>
              <a:gd name="connsiteX26-2277" fmla="*/ 7324729 w 9397013"/>
              <a:gd name="connsiteY26-2278" fmla="*/ 6916620 h 6925856"/>
              <a:gd name="connsiteX27-2279" fmla="*/ 4245793 w 9397013"/>
              <a:gd name="connsiteY27-2280" fmla="*/ 2869862 h 6925856"/>
              <a:gd name="connsiteX28-2281" fmla="*/ 4490696 w 9397013"/>
              <a:gd name="connsiteY28-2282" fmla="*/ 2549117 h 6925856"/>
              <a:gd name="connsiteX29-2283" fmla="*/ 7777211 w 9397013"/>
              <a:gd name="connsiteY29-2284" fmla="*/ 6916620 h 6925856"/>
              <a:gd name="connsiteX30-2285" fmla="*/ 8567691 w 9397013"/>
              <a:gd name="connsiteY30-2286" fmla="*/ 6916619 h 6925856"/>
              <a:gd name="connsiteX31-2287" fmla="*/ 8159389 w 9397013"/>
              <a:gd name="connsiteY31-2288" fmla="*/ 6925856 h 6925856"/>
              <a:gd name="connsiteX32-2289" fmla="*/ 4650570 w 9397013"/>
              <a:gd name="connsiteY32-2290" fmla="*/ 2339732 h 6925856"/>
              <a:gd name="connsiteX33-2291" fmla="*/ 4869244 w 9397013"/>
              <a:gd name="connsiteY33-2292" fmla="*/ 2053337 h 6925856"/>
              <a:gd name="connsiteX34-2293" fmla="*/ 8567691 w 9397013"/>
              <a:gd name="connsiteY34-2294" fmla="*/ 6916619 h 6925856"/>
              <a:gd name="connsiteX35-2295" fmla="*/ 9397013 w 9397013"/>
              <a:gd name="connsiteY35-2296" fmla="*/ 6925855 h 6925856"/>
              <a:gd name="connsiteX36-2297" fmla="*/ 8921338 w 9397013"/>
              <a:gd name="connsiteY36-2298" fmla="*/ 6907383 h 6925856"/>
              <a:gd name="connsiteX37-2299" fmla="*/ 5045299 w 9397013"/>
              <a:gd name="connsiteY37-2300" fmla="*/ 1822761 h 6925856"/>
              <a:gd name="connsiteX38-2301" fmla="*/ 5273037 w 9397013"/>
              <a:gd name="connsiteY38-2302" fmla="*/ 1524494 h 6925856"/>
              <a:gd name="connsiteX39-2303" fmla="*/ 9397013 w 9397013"/>
              <a:gd name="connsiteY39-2304" fmla="*/ 6925855 h 6925856"/>
              <a:gd name="connsiteX0-2305" fmla="*/ 168369 w 9397013"/>
              <a:gd name="connsiteY0-2306" fmla="*/ 4571581 h 6925856"/>
              <a:gd name="connsiteX1-2307" fmla="*/ 0 w 9397013"/>
              <a:gd name="connsiteY1-2308" fmla="*/ 4200794 h 6925856"/>
              <a:gd name="connsiteX2-2309" fmla="*/ 3175788 w 9397013"/>
              <a:gd name="connsiteY2-2310" fmla="*/ 4084 h 6925856"/>
              <a:gd name="connsiteX3-2311" fmla="*/ 3628305 w 9397013"/>
              <a:gd name="connsiteY3-2312" fmla="*/ 0 h 6925856"/>
              <a:gd name="connsiteX4-2313" fmla="*/ 168369 w 9397013"/>
              <a:gd name="connsiteY4-2314" fmla="*/ 4571581 h 6925856"/>
              <a:gd name="connsiteX5-2315" fmla="*/ 1578111 w 9397013"/>
              <a:gd name="connsiteY5-2316" fmla="*/ 3835090 h 6925856"/>
              <a:gd name="connsiteX6-2317" fmla="*/ 299082 w 9397013"/>
              <a:gd name="connsiteY6-2318" fmla="*/ 4859439 h 6925856"/>
              <a:gd name="connsiteX7-2319" fmla="*/ 3977147 w 9397013"/>
              <a:gd name="connsiteY7-2320" fmla="*/ 3723 h 6925856"/>
              <a:gd name="connsiteX8-2321" fmla="*/ 4465006 w 9397013"/>
              <a:gd name="connsiteY8-2322" fmla="*/ 840 h 6925856"/>
              <a:gd name="connsiteX9-2323" fmla="*/ 1578111 w 9397013"/>
              <a:gd name="connsiteY9-2324" fmla="*/ 3835090 h 6925856"/>
              <a:gd name="connsiteX10-2325" fmla="*/ 1573749 w 9397013"/>
              <a:gd name="connsiteY10-2326" fmla="*/ 4882781 h 6925856"/>
              <a:gd name="connsiteX11-2327" fmla="*/ 1550937 w 9397013"/>
              <a:gd name="connsiteY11-2328" fmla="*/ 4315002 h 6925856"/>
              <a:gd name="connsiteX12-2329" fmla="*/ 4805164 w 9397013"/>
              <a:gd name="connsiteY12-2330" fmla="*/ 4602 h 6925856"/>
              <a:gd name="connsiteX13-2331" fmla="*/ 5260238 w 9397013"/>
              <a:gd name="connsiteY13-2332" fmla="*/ 25779 h 6925856"/>
              <a:gd name="connsiteX14-2333" fmla="*/ 1573749 w 9397013"/>
              <a:gd name="connsiteY14-2334" fmla="*/ 4882781 h 6925856"/>
              <a:gd name="connsiteX15-2335" fmla="*/ 1580200 w 9397013"/>
              <a:gd name="connsiteY15-2336" fmla="*/ 5985735 h 6925856"/>
              <a:gd name="connsiteX16-2337" fmla="*/ 1566201 w 9397013"/>
              <a:gd name="connsiteY16-2338" fmla="*/ 5394811 h 6925856"/>
              <a:gd name="connsiteX17-2339" fmla="*/ 5641256 w 9397013"/>
              <a:gd name="connsiteY17-2340" fmla="*/ 4084 h 6925856"/>
              <a:gd name="connsiteX18-2341" fmla="*/ 6077099 w 9397013"/>
              <a:gd name="connsiteY18-2342" fmla="*/ 17286 h 6925856"/>
              <a:gd name="connsiteX19-2343" fmla="*/ 1580200 w 9397013"/>
              <a:gd name="connsiteY19-2344" fmla="*/ 5985735 h 6925856"/>
              <a:gd name="connsiteX20-2345" fmla="*/ 6958778 w 9397013"/>
              <a:gd name="connsiteY20-2346" fmla="*/ 6916619 h 6925856"/>
              <a:gd name="connsiteX21-2347" fmla="*/ 6560038 w 9397013"/>
              <a:gd name="connsiteY21-2348" fmla="*/ 6925855 h 6925856"/>
              <a:gd name="connsiteX22-2349" fmla="*/ 3849932 w 9397013"/>
              <a:gd name="connsiteY22-2350" fmla="*/ 3388318 h 6925856"/>
              <a:gd name="connsiteX23-2351" fmla="*/ 4086202 w 9397013"/>
              <a:gd name="connsiteY23-2352" fmla="*/ 3078877 h 6925856"/>
              <a:gd name="connsiteX24-2353" fmla="*/ 6958778 w 9397013"/>
              <a:gd name="connsiteY24-2354" fmla="*/ 6916619 h 6925856"/>
              <a:gd name="connsiteX25-2355" fmla="*/ 7777211 w 9397013"/>
              <a:gd name="connsiteY25-2356" fmla="*/ 6916620 h 6925856"/>
              <a:gd name="connsiteX26-2357" fmla="*/ 7324729 w 9397013"/>
              <a:gd name="connsiteY26-2358" fmla="*/ 6916620 h 6925856"/>
              <a:gd name="connsiteX27-2359" fmla="*/ 4245793 w 9397013"/>
              <a:gd name="connsiteY27-2360" fmla="*/ 2869862 h 6925856"/>
              <a:gd name="connsiteX28-2361" fmla="*/ 4490696 w 9397013"/>
              <a:gd name="connsiteY28-2362" fmla="*/ 2549117 h 6925856"/>
              <a:gd name="connsiteX29-2363" fmla="*/ 7777211 w 9397013"/>
              <a:gd name="connsiteY29-2364" fmla="*/ 6916620 h 6925856"/>
              <a:gd name="connsiteX30-2365" fmla="*/ 8567691 w 9397013"/>
              <a:gd name="connsiteY30-2366" fmla="*/ 6916619 h 6925856"/>
              <a:gd name="connsiteX31-2367" fmla="*/ 8159389 w 9397013"/>
              <a:gd name="connsiteY31-2368" fmla="*/ 6925856 h 6925856"/>
              <a:gd name="connsiteX32-2369" fmla="*/ 4650570 w 9397013"/>
              <a:gd name="connsiteY32-2370" fmla="*/ 2339732 h 6925856"/>
              <a:gd name="connsiteX33-2371" fmla="*/ 4869244 w 9397013"/>
              <a:gd name="connsiteY33-2372" fmla="*/ 2053337 h 6925856"/>
              <a:gd name="connsiteX34-2373" fmla="*/ 8567691 w 9397013"/>
              <a:gd name="connsiteY34-2374" fmla="*/ 6916619 h 6925856"/>
              <a:gd name="connsiteX35-2375" fmla="*/ 9397013 w 9397013"/>
              <a:gd name="connsiteY35-2376" fmla="*/ 6925855 h 6925856"/>
              <a:gd name="connsiteX36-2377" fmla="*/ 8921338 w 9397013"/>
              <a:gd name="connsiteY36-2378" fmla="*/ 6907383 h 6925856"/>
              <a:gd name="connsiteX37-2379" fmla="*/ 5045299 w 9397013"/>
              <a:gd name="connsiteY37-2380" fmla="*/ 1822761 h 6925856"/>
              <a:gd name="connsiteX38-2381" fmla="*/ 5273037 w 9397013"/>
              <a:gd name="connsiteY38-2382" fmla="*/ 1524494 h 6925856"/>
              <a:gd name="connsiteX39-2383" fmla="*/ 9397013 w 9397013"/>
              <a:gd name="connsiteY39-2384" fmla="*/ 6925855 h 6925856"/>
              <a:gd name="connsiteX0-2385" fmla="*/ 168369 w 9397013"/>
              <a:gd name="connsiteY0-2386" fmla="*/ 4571581 h 6925856"/>
              <a:gd name="connsiteX1-2387" fmla="*/ 0 w 9397013"/>
              <a:gd name="connsiteY1-2388" fmla="*/ 4200794 h 6925856"/>
              <a:gd name="connsiteX2-2389" fmla="*/ 3175788 w 9397013"/>
              <a:gd name="connsiteY2-2390" fmla="*/ 4084 h 6925856"/>
              <a:gd name="connsiteX3-2391" fmla="*/ 3628305 w 9397013"/>
              <a:gd name="connsiteY3-2392" fmla="*/ 0 h 6925856"/>
              <a:gd name="connsiteX4-2393" fmla="*/ 168369 w 9397013"/>
              <a:gd name="connsiteY4-2394" fmla="*/ 4571581 h 6925856"/>
              <a:gd name="connsiteX5-2395" fmla="*/ 1578111 w 9397013"/>
              <a:gd name="connsiteY5-2396" fmla="*/ 3835090 h 6925856"/>
              <a:gd name="connsiteX6-2397" fmla="*/ 1564463 w 9397013"/>
              <a:gd name="connsiteY6-2398" fmla="*/ 3206130 h 6925856"/>
              <a:gd name="connsiteX7-2399" fmla="*/ 3977147 w 9397013"/>
              <a:gd name="connsiteY7-2400" fmla="*/ 3723 h 6925856"/>
              <a:gd name="connsiteX8-2401" fmla="*/ 4465006 w 9397013"/>
              <a:gd name="connsiteY8-2402" fmla="*/ 840 h 6925856"/>
              <a:gd name="connsiteX9-2403" fmla="*/ 1578111 w 9397013"/>
              <a:gd name="connsiteY9-2404" fmla="*/ 3835090 h 6925856"/>
              <a:gd name="connsiteX10-2405" fmla="*/ 1573749 w 9397013"/>
              <a:gd name="connsiteY10-2406" fmla="*/ 4882781 h 6925856"/>
              <a:gd name="connsiteX11-2407" fmla="*/ 1550937 w 9397013"/>
              <a:gd name="connsiteY11-2408" fmla="*/ 4315002 h 6925856"/>
              <a:gd name="connsiteX12-2409" fmla="*/ 4805164 w 9397013"/>
              <a:gd name="connsiteY12-2410" fmla="*/ 4602 h 6925856"/>
              <a:gd name="connsiteX13-2411" fmla="*/ 5260238 w 9397013"/>
              <a:gd name="connsiteY13-2412" fmla="*/ 25779 h 6925856"/>
              <a:gd name="connsiteX14-2413" fmla="*/ 1573749 w 9397013"/>
              <a:gd name="connsiteY14-2414" fmla="*/ 4882781 h 6925856"/>
              <a:gd name="connsiteX15-2415" fmla="*/ 1580200 w 9397013"/>
              <a:gd name="connsiteY15-2416" fmla="*/ 5985735 h 6925856"/>
              <a:gd name="connsiteX16-2417" fmla="*/ 1566201 w 9397013"/>
              <a:gd name="connsiteY16-2418" fmla="*/ 5394811 h 6925856"/>
              <a:gd name="connsiteX17-2419" fmla="*/ 5641256 w 9397013"/>
              <a:gd name="connsiteY17-2420" fmla="*/ 4084 h 6925856"/>
              <a:gd name="connsiteX18-2421" fmla="*/ 6077099 w 9397013"/>
              <a:gd name="connsiteY18-2422" fmla="*/ 17286 h 6925856"/>
              <a:gd name="connsiteX19-2423" fmla="*/ 1580200 w 9397013"/>
              <a:gd name="connsiteY19-2424" fmla="*/ 5985735 h 6925856"/>
              <a:gd name="connsiteX20-2425" fmla="*/ 6958778 w 9397013"/>
              <a:gd name="connsiteY20-2426" fmla="*/ 6916619 h 6925856"/>
              <a:gd name="connsiteX21-2427" fmla="*/ 6560038 w 9397013"/>
              <a:gd name="connsiteY21-2428" fmla="*/ 6925855 h 6925856"/>
              <a:gd name="connsiteX22-2429" fmla="*/ 3849932 w 9397013"/>
              <a:gd name="connsiteY22-2430" fmla="*/ 3388318 h 6925856"/>
              <a:gd name="connsiteX23-2431" fmla="*/ 4086202 w 9397013"/>
              <a:gd name="connsiteY23-2432" fmla="*/ 3078877 h 6925856"/>
              <a:gd name="connsiteX24-2433" fmla="*/ 6958778 w 9397013"/>
              <a:gd name="connsiteY24-2434" fmla="*/ 6916619 h 6925856"/>
              <a:gd name="connsiteX25-2435" fmla="*/ 7777211 w 9397013"/>
              <a:gd name="connsiteY25-2436" fmla="*/ 6916620 h 6925856"/>
              <a:gd name="connsiteX26-2437" fmla="*/ 7324729 w 9397013"/>
              <a:gd name="connsiteY26-2438" fmla="*/ 6916620 h 6925856"/>
              <a:gd name="connsiteX27-2439" fmla="*/ 4245793 w 9397013"/>
              <a:gd name="connsiteY27-2440" fmla="*/ 2869862 h 6925856"/>
              <a:gd name="connsiteX28-2441" fmla="*/ 4490696 w 9397013"/>
              <a:gd name="connsiteY28-2442" fmla="*/ 2549117 h 6925856"/>
              <a:gd name="connsiteX29-2443" fmla="*/ 7777211 w 9397013"/>
              <a:gd name="connsiteY29-2444" fmla="*/ 6916620 h 6925856"/>
              <a:gd name="connsiteX30-2445" fmla="*/ 8567691 w 9397013"/>
              <a:gd name="connsiteY30-2446" fmla="*/ 6916619 h 6925856"/>
              <a:gd name="connsiteX31-2447" fmla="*/ 8159389 w 9397013"/>
              <a:gd name="connsiteY31-2448" fmla="*/ 6925856 h 6925856"/>
              <a:gd name="connsiteX32-2449" fmla="*/ 4650570 w 9397013"/>
              <a:gd name="connsiteY32-2450" fmla="*/ 2339732 h 6925856"/>
              <a:gd name="connsiteX33-2451" fmla="*/ 4869244 w 9397013"/>
              <a:gd name="connsiteY33-2452" fmla="*/ 2053337 h 6925856"/>
              <a:gd name="connsiteX34-2453" fmla="*/ 8567691 w 9397013"/>
              <a:gd name="connsiteY34-2454" fmla="*/ 6916619 h 6925856"/>
              <a:gd name="connsiteX35-2455" fmla="*/ 9397013 w 9397013"/>
              <a:gd name="connsiteY35-2456" fmla="*/ 6925855 h 6925856"/>
              <a:gd name="connsiteX36-2457" fmla="*/ 8921338 w 9397013"/>
              <a:gd name="connsiteY36-2458" fmla="*/ 6907383 h 6925856"/>
              <a:gd name="connsiteX37-2459" fmla="*/ 5045299 w 9397013"/>
              <a:gd name="connsiteY37-2460" fmla="*/ 1822761 h 6925856"/>
              <a:gd name="connsiteX38-2461" fmla="*/ 5273037 w 9397013"/>
              <a:gd name="connsiteY38-2462" fmla="*/ 1524494 h 6925856"/>
              <a:gd name="connsiteX39-2463" fmla="*/ 9397013 w 9397013"/>
              <a:gd name="connsiteY39-2464" fmla="*/ 6925855 h 6925856"/>
              <a:gd name="connsiteX0-2465" fmla="*/ 1572296 w 9397013"/>
              <a:gd name="connsiteY0-2466" fmla="*/ 2715072 h 6925856"/>
              <a:gd name="connsiteX1-2467" fmla="*/ 0 w 9397013"/>
              <a:gd name="connsiteY1-2468" fmla="*/ 4200794 h 6925856"/>
              <a:gd name="connsiteX2-2469" fmla="*/ 3175788 w 9397013"/>
              <a:gd name="connsiteY2-2470" fmla="*/ 4084 h 6925856"/>
              <a:gd name="connsiteX3-2471" fmla="*/ 3628305 w 9397013"/>
              <a:gd name="connsiteY3-2472" fmla="*/ 0 h 6925856"/>
              <a:gd name="connsiteX4-2473" fmla="*/ 1572296 w 9397013"/>
              <a:gd name="connsiteY4-2474" fmla="*/ 2715072 h 6925856"/>
              <a:gd name="connsiteX5-2475" fmla="*/ 1578111 w 9397013"/>
              <a:gd name="connsiteY5-2476" fmla="*/ 3835090 h 6925856"/>
              <a:gd name="connsiteX6-2477" fmla="*/ 1564463 w 9397013"/>
              <a:gd name="connsiteY6-2478" fmla="*/ 3206130 h 6925856"/>
              <a:gd name="connsiteX7-2479" fmla="*/ 3977147 w 9397013"/>
              <a:gd name="connsiteY7-2480" fmla="*/ 3723 h 6925856"/>
              <a:gd name="connsiteX8-2481" fmla="*/ 4465006 w 9397013"/>
              <a:gd name="connsiteY8-2482" fmla="*/ 840 h 6925856"/>
              <a:gd name="connsiteX9-2483" fmla="*/ 1578111 w 9397013"/>
              <a:gd name="connsiteY9-2484" fmla="*/ 3835090 h 6925856"/>
              <a:gd name="connsiteX10-2485" fmla="*/ 1573749 w 9397013"/>
              <a:gd name="connsiteY10-2486" fmla="*/ 4882781 h 6925856"/>
              <a:gd name="connsiteX11-2487" fmla="*/ 1550937 w 9397013"/>
              <a:gd name="connsiteY11-2488" fmla="*/ 4315002 h 6925856"/>
              <a:gd name="connsiteX12-2489" fmla="*/ 4805164 w 9397013"/>
              <a:gd name="connsiteY12-2490" fmla="*/ 4602 h 6925856"/>
              <a:gd name="connsiteX13-2491" fmla="*/ 5260238 w 9397013"/>
              <a:gd name="connsiteY13-2492" fmla="*/ 25779 h 6925856"/>
              <a:gd name="connsiteX14-2493" fmla="*/ 1573749 w 9397013"/>
              <a:gd name="connsiteY14-2494" fmla="*/ 4882781 h 6925856"/>
              <a:gd name="connsiteX15-2495" fmla="*/ 1580200 w 9397013"/>
              <a:gd name="connsiteY15-2496" fmla="*/ 5985735 h 6925856"/>
              <a:gd name="connsiteX16-2497" fmla="*/ 1566201 w 9397013"/>
              <a:gd name="connsiteY16-2498" fmla="*/ 5394811 h 6925856"/>
              <a:gd name="connsiteX17-2499" fmla="*/ 5641256 w 9397013"/>
              <a:gd name="connsiteY17-2500" fmla="*/ 4084 h 6925856"/>
              <a:gd name="connsiteX18-2501" fmla="*/ 6077099 w 9397013"/>
              <a:gd name="connsiteY18-2502" fmla="*/ 17286 h 6925856"/>
              <a:gd name="connsiteX19-2503" fmla="*/ 1580200 w 9397013"/>
              <a:gd name="connsiteY19-2504" fmla="*/ 5985735 h 6925856"/>
              <a:gd name="connsiteX20-2505" fmla="*/ 6958778 w 9397013"/>
              <a:gd name="connsiteY20-2506" fmla="*/ 6916619 h 6925856"/>
              <a:gd name="connsiteX21-2507" fmla="*/ 6560038 w 9397013"/>
              <a:gd name="connsiteY21-2508" fmla="*/ 6925855 h 6925856"/>
              <a:gd name="connsiteX22-2509" fmla="*/ 3849932 w 9397013"/>
              <a:gd name="connsiteY22-2510" fmla="*/ 3388318 h 6925856"/>
              <a:gd name="connsiteX23-2511" fmla="*/ 4086202 w 9397013"/>
              <a:gd name="connsiteY23-2512" fmla="*/ 3078877 h 6925856"/>
              <a:gd name="connsiteX24-2513" fmla="*/ 6958778 w 9397013"/>
              <a:gd name="connsiteY24-2514" fmla="*/ 6916619 h 6925856"/>
              <a:gd name="connsiteX25-2515" fmla="*/ 7777211 w 9397013"/>
              <a:gd name="connsiteY25-2516" fmla="*/ 6916620 h 6925856"/>
              <a:gd name="connsiteX26-2517" fmla="*/ 7324729 w 9397013"/>
              <a:gd name="connsiteY26-2518" fmla="*/ 6916620 h 6925856"/>
              <a:gd name="connsiteX27-2519" fmla="*/ 4245793 w 9397013"/>
              <a:gd name="connsiteY27-2520" fmla="*/ 2869862 h 6925856"/>
              <a:gd name="connsiteX28-2521" fmla="*/ 4490696 w 9397013"/>
              <a:gd name="connsiteY28-2522" fmla="*/ 2549117 h 6925856"/>
              <a:gd name="connsiteX29-2523" fmla="*/ 7777211 w 9397013"/>
              <a:gd name="connsiteY29-2524" fmla="*/ 6916620 h 6925856"/>
              <a:gd name="connsiteX30-2525" fmla="*/ 8567691 w 9397013"/>
              <a:gd name="connsiteY30-2526" fmla="*/ 6916619 h 6925856"/>
              <a:gd name="connsiteX31-2527" fmla="*/ 8159389 w 9397013"/>
              <a:gd name="connsiteY31-2528" fmla="*/ 6925856 h 6925856"/>
              <a:gd name="connsiteX32-2529" fmla="*/ 4650570 w 9397013"/>
              <a:gd name="connsiteY32-2530" fmla="*/ 2339732 h 6925856"/>
              <a:gd name="connsiteX33-2531" fmla="*/ 4869244 w 9397013"/>
              <a:gd name="connsiteY33-2532" fmla="*/ 2053337 h 6925856"/>
              <a:gd name="connsiteX34-2533" fmla="*/ 8567691 w 9397013"/>
              <a:gd name="connsiteY34-2534" fmla="*/ 6916619 h 6925856"/>
              <a:gd name="connsiteX35-2535" fmla="*/ 9397013 w 9397013"/>
              <a:gd name="connsiteY35-2536" fmla="*/ 6925855 h 6925856"/>
              <a:gd name="connsiteX36-2537" fmla="*/ 8921338 w 9397013"/>
              <a:gd name="connsiteY36-2538" fmla="*/ 6907383 h 6925856"/>
              <a:gd name="connsiteX37-2539" fmla="*/ 5045299 w 9397013"/>
              <a:gd name="connsiteY37-2540" fmla="*/ 1822761 h 6925856"/>
              <a:gd name="connsiteX38-2541" fmla="*/ 5273037 w 9397013"/>
              <a:gd name="connsiteY38-2542" fmla="*/ 1524494 h 6925856"/>
              <a:gd name="connsiteX39-2543" fmla="*/ 9397013 w 9397013"/>
              <a:gd name="connsiteY39-2544" fmla="*/ 6925855 h 6925856"/>
              <a:gd name="connsiteX0-2545" fmla="*/ 21359 w 7846076"/>
              <a:gd name="connsiteY0-2546" fmla="*/ 2715072 h 6925856"/>
              <a:gd name="connsiteX1-2547" fmla="*/ 28481 w 7846076"/>
              <a:gd name="connsiteY1-2548" fmla="*/ 2104139 h 6925856"/>
              <a:gd name="connsiteX2-2549" fmla="*/ 1624851 w 7846076"/>
              <a:gd name="connsiteY2-2550" fmla="*/ 4084 h 6925856"/>
              <a:gd name="connsiteX3-2551" fmla="*/ 2077368 w 7846076"/>
              <a:gd name="connsiteY3-2552" fmla="*/ 0 h 6925856"/>
              <a:gd name="connsiteX4-2553" fmla="*/ 21359 w 7846076"/>
              <a:gd name="connsiteY4-2554" fmla="*/ 2715072 h 6925856"/>
              <a:gd name="connsiteX5-2555" fmla="*/ 27174 w 7846076"/>
              <a:gd name="connsiteY5-2556" fmla="*/ 3835090 h 6925856"/>
              <a:gd name="connsiteX6-2557" fmla="*/ 13526 w 7846076"/>
              <a:gd name="connsiteY6-2558" fmla="*/ 3206130 h 6925856"/>
              <a:gd name="connsiteX7-2559" fmla="*/ 2426210 w 7846076"/>
              <a:gd name="connsiteY7-2560" fmla="*/ 3723 h 6925856"/>
              <a:gd name="connsiteX8-2561" fmla="*/ 2914069 w 7846076"/>
              <a:gd name="connsiteY8-2562" fmla="*/ 840 h 6925856"/>
              <a:gd name="connsiteX9-2563" fmla="*/ 27174 w 7846076"/>
              <a:gd name="connsiteY9-2564" fmla="*/ 3835090 h 6925856"/>
              <a:gd name="connsiteX10-2565" fmla="*/ 22812 w 7846076"/>
              <a:gd name="connsiteY10-2566" fmla="*/ 4882781 h 6925856"/>
              <a:gd name="connsiteX11-2567" fmla="*/ 0 w 7846076"/>
              <a:gd name="connsiteY11-2568" fmla="*/ 4315002 h 6925856"/>
              <a:gd name="connsiteX12-2569" fmla="*/ 3254227 w 7846076"/>
              <a:gd name="connsiteY12-2570" fmla="*/ 4602 h 6925856"/>
              <a:gd name="connsiteX13-2571" fmla="*/ 3709301 w 7846076"/>
              <a:gd name="connsiteY13-2572" fmla="*/ 25779 h 6925856"/>
              <a:gd name="connsiteX14-2573" fmla="*/ 22812 w 7846076"/>
              <a:gd name="connsiteY14-2574" fmla="*/ 4882781 h 6925856"/>
              <a:gd name="connsiteX15-2575" fmla="*/ 29263 w 7846076"/>
              <a:gd name="connsiteY15-2576" fmla="*/ 5985735 h 6925856"/>
              <a:gd name="connsiteX16-2577" fmla="*/ 15264 w 7846076"/>
              <a:gd name="connsiteY16-2578" fmla="*/ 5394811 h 6925856"/>
              <a:gd name="connsiteX17-2579" fmla="*/ 4090319 w 7846076"/>
              <a:gd name="connsiteY17-2580" fmla="*/ 4084 h 6925856"/>
              <a:gd name="connsiteX18-2581" fmla="*/ 4526162 w 7846076"/>
              <a:gd name="connsiteY18-2582" fmla="*/ 17286 h 6925856"/>
              <a:gd name="connsiteX19-2583" fmla="*/ 29263 w 7846076"/>
              <a:gd name="connsiteY19-2584" fmla="*/ 5985735 h 6925856"/>
              <a:gd name="connsiteX20-2585" fmla="*/ 5407841 w 7846076"/>
              <a:gd name="connsiteY20-2586" fmla="*/ 6916619 h 6925856"/>
              <a:gd name="connsiteX21-2587" fmla="*/ 5009101 w 7846076"/>
              <a:gd name="connsiteY21-2588" fmla="*/ 6925855 h 6925856"/>
              <a:gd name="connsiteX22-2589" fmla="*/ 2298995 w 7846076"/>
              <a:gd name="connsiteY22-2590" fmla="*/ 3388318 h 6925856"/>
              <a:gd name="connsiteX23-2591" fmla="*/ 2535265 w 7846076"/>
              <a:gd name="connsiteY23-2592" fmla="*/ 3078877 h 6925856"/>
              <a:gd name="connsiteX24-2593" fmla="*/ 5407841 w 7846076"/>
              <a:gd name="connsiteY24-2594" fmla="*/ 6916619 h 6925856"/>
              <a:gd name="connsiteX25-2595" fmla="*/ 6226274 w 7846076"/>
              <a:gd name="connsiteY25-2596" fmla="*/ 6916620 h 6925856"/>
              <a:gd name="connsiteX26-2597" fmla="*/ 5773792 w 7846076"/>
              <a:gd name="connsiteY26-2598" fmla="*/ 6916620 h 6925856"/>
              <a:gd name="connsiteX27-2599" fmla="*/ 2694856 w 7846076"/>
              <a:gd name="connsiteY27-2600" fmla="*/ 2869862 h 6925856"/>
              <a:gd name="connsiteX28-2601" fmla="*/ 2939759 w 7846076"/>
              <a:gd name="connsiteY28-2602" fmla="*/ 2549117 h 6925856"/>
              <a:gd name="connsiteX29-2603" fmla="*/ 6226274 w 7846076"/>
              <a:gd name="connsiteY29-2604" fmla="*/ 6916620 h 6925856"/>
              <a:gd name="connsiteX30-2605" fmla="*/ 7016754 w 7846076"/>
              <a:gd name="connsiteY30-2606" fmla="*/ 6916619 h 6925856"/>
              <a:gd name="connsiteX31-2607" fmla="*/ 6608452 w 7846076"/>
              <a:gd name="connsiteY31-2608" fmla="*/ 6925856 h 6925856"/>
              <a:gd name="connsiteX32-2609" fmla="*/ 3099633 w 7846076"/>
              <a:gd name="connsiteY32-2610" fmla="*/ 2339732 h 6925856"/>
              <a:gd name="connsiteX33-2611" fmla="*/ 3318307 w 7846076"/>
              <a:gd name="connsiteY33-2612" fmla="*/ 2053337 h 6925856"/>
              <a:gd name="connsiteX34-2613" fmla="*/ 7016754 w 7846076"/>
              <a:gd name="connsiteY34-2614" fmla="*/ 6916619 h 6925856"/>
              <a:gd name="connsiteX35-2615" fmla="*/ 7846076 w 7846076"/>
              <a:gd name="connsiteY35-2616" fmla="*/ 6925855 h 6925856"/>
              <a:gd name="connsiteX36-2617" fmla="*/ 7370401 w 7846076"/>
              <a:gd name="connsiteY36-2618" fmla="*/ 6907383 h 6925856"/>
              <a:gd name="connsiteX37-2619" fmla="*/ 3494362 w 7846076"/>
              <a:gd name="connsiteY37-2620" fmla="*/ 1822761 h 6925856"/>
              <a:gd name="connsiteX38-2621" fmla="*/ 3722100 w 7846076"/>
              <a:gd name="connsiteY38-2622" fmla="*/ 1524494 h 6925856"/>
              <a:gd name="connsiteX39-2623" fmla="*/ 7846076 w 7846076"/>
              <a:gd name="connsiteY39-2624" fmla="*/ 6925855 h 692585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129" y="connsiteY32-130"/>
              </a:cxn>
              <a:cxn ang="0">
                <a:pos x="connsiteX33-131" y="connsiteY33-132"/>
              </a:cxn>
              <a:cxn ang="0">
                <a:pos x="connsiteX34-133" y="connsiteY34-134"/>
              </a:cxn>
              <a:cxn ang="0">
                <a:pos x="connsiteX35-135" y="connsiteY35-136"/>
              </a:cxn>
              <a:cxn ang="0">
                <a:pos x="connsiteX36-137" y="connsiteY36-138"/>
              </a:cxn>
              <a:cxn ang="0">
                <a:pos x="connsiteX37-139" y="connsiteY37-140"/>
              </a:cxn>
              <a:cxn ang="0">
                <a:pos x="connsiteX38-141" y="connsiteY38-142"/>
              </a:cxn>
              <a:cxn ang="0">
                <a:pos x="connsiteX39-143" y="connsiteY39-144"/>
              </a:cxn>
            </a:cxnLst>
            <a:rect l="l" t="t" r="r" b="b"/>
            <a:pathLst>
              <a:path w="7846076" h="6925856">
                <a:moveTo>
                  <a:pt x="21359" y="2715072"/>
                </a:moveTo>
                <a:lnTo>
                  <a:pt x="28481" y="2104139"/>
                </a:lnTo>
                <a:lnTo>
                  <a:pt x="1624851" y="4084"/>
                </a:lnTo>
                <a:lnTo>
                  <a:pt x="2077368" y="0"/>
                </a:lnTo>
                <a:lnTo>
                  <a:pt x="21359" y="2715072"/>
                </a:lnTo>
                <a:close/>
                <a:moveTo>
                  <a:pt x="27174" y="3835090"/>
                </a:moveTo>
                <a:lnTo>
                  <a:pt x="13526" y="3206130"/>
                </a:lnTo>
                <a:lnTo>
                  <a:pt x="2426210" y="3723"/>
                </a:lnTo>
                <a:lnTo>
                  <a:pt x="2914069" y="840"/>
                </a:lnTo>
                <a:lnTo>
                  <a:pt x="27174" y="3835090"/>
                </a:lnTo>
                <a:close/>
                <a:moveTo>
                  <a:pt x="22812" y="4882781"/>
                </a:moveTo>
                <a:lnTo>
                  <a:pt x="0" y="4315002"/>
                </a:lnTo>
                <a:lnTo>
                  <a:pt x="3254227" y="4602"/>
                </a:lnTo>
                <a:lnTo>
                  <a:pt x="3709301" y="25779"/>
                </a:lnTo>
                <a:lnTo>
                  <a:pt x="22812" y="4882781"/>
                </a:lnTo>
                <a:close/>
                <a:moveTo>
                  <a:pt x="29263" y="5985735"/>
                </a:moveTo>
                <a:lnTo>
                  <a:pt x="15264" y="5394811"/>
                </a:lnTo>
                <a:lnTo>
                  <a:pt x="4090319" y="4084"/>
                </a:lnTo>
                <a:lnTo>
                  <a:pt x="4526162" y="17286"/>
                </a:lnTo>
                <a:lnTo>
                  <a:pt x="29263" y="5985735"/>
                </a:lnTo>
                <a:close/>
                <a:moveTo>
                  <a:pt x="5407841" y="6916619"/>
                </a:moveTo>
                <a:lnTo>
                  <a:pt x="5009101" y="6925855"/>
                </a:lnTo>
                <a:lnTo>
                  <a:pt x="2298995" y="3388318"/>
                </a:lnTo>
                <a:lnTo>
                  <a:pt x="2535265" y="3078877"/>
                </a:lnTo>
                <a:lnTo>
                  <a:pt x="5407841" y="6916619"/>
                </a:lnTo>
                <a:close/>
                <a:moveTo>
                  <a:pt x="6226274" y="6916620"/>
                </a:moveTo>
                <a:lnTo>
                  <a:pt x="5773792" y="6916620"/>
                </a:lnTo>
                <a:lnTo>
                  <a:pt x="2694856" y="2869862"/>
                </a:lnTo>
                <a:lnTo>
                  <a:pt x="2939759" y="2549117"/>
                </a:lnTo>
                <a:lnTo>
                  <a:pt x="6226274" y="6916620"/>
                </a:lnTo>
                <a:close/>
                <a:moveTo>
                  <a:pt x="7016754" y="6916619"/>
                </a:moveTo>
                <a:lnTo>
                  <a:pt x="6608452" y="6925856"/>
                </a:lnTo>
                <a:lnTo>
                  <a:pt x="3099633" y="2339732"/>
                </a:lnTo>
                <a:lnTo>
                  <a:pt x="3318307" y="2053337"/>
                </a:lnTo>
                <a:lnTo>
                  <a:pt x="7016754" y="6916619"/>
                </a:lnTo>
                <a:close/>
                <a:moveTo>
                  <a:pt x="7846076" y="6925855"/>
                </a:moveTo>
                <a:lnTo>
                  <a:pt x="7370401" y="6907383"/>
                </a:lnTo>
                <a:lnTo>
                  <a:pt x="3494362" y="1822761"/>
                </a:lnTo>
                <a:lnTo>
                  <a:pt x="3722100" y="1524494"/>
                </a:lnTo>
                <a:lnTo>
                  <a:pt x="7846076" y="6925855"/>
                </a:lnTo>
                <a:close/>
              </a:path>
            </a:pathLst>
          </a:custGeom>
          <a:solidFill>
            <a:schemeClr val="bg1">
              <a:lumMod val="9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5" name="文本框 4"/>
          <p:cNvSpPr txBox="1"/>
          <p:nvPr/>
        </p:nvSpPr>
        <p:spPr>
          <a:xfrm>
            <a:off x="337690" y="1330990"/>
            <a:ext cx="10907826" cy="4196020"/>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zh-CN" altLang="en-US" dirty="0"/>
              <a:t>受数据可获取性限制，无法获取期刊编辑、审稿专家、作者等方面的变量（例如工作习惯），创新性与投录时间之间的回归系数估计可能不够准确</a:t>
            </a:r>
            <a:endParaRPr lang="en-US" altLang="zh-CN" dirty="0"/>
          </a:p>
          <a:p>
            <a:pPr marL="285750" indent="-285750">
              <a:lnSpc>
                <a:spcPct val="150000"/>
              </a:lnSpc>
              <a:buFont typeface="Arial" panose="020B0604020202020204" pitchFamily="34" charset="0"/>
              <a:buChar char="•"/>
            </a:pPr>
            <a:r>
              <a:rPr lang="zh-CN" altLang="en-US" dirty="0"/>
              <a:t>仅考虑了最终被录用的论文，忽略了那些被拒稿的高</a:t>
            </a:r>
            <a:r>
              <a:rPr lang="en-US" altLang="zh-CN" dirty="0"/>
              <a:t>/</a:t>
            </a:r>
            <a:r>
              <a:rPr lang="zh-CN" altLang="en-US" dirty="0"/>
              <a:t>低创新性文章</a:t>
            </a:r>
            <a:endParaRPr lang="en-US" altLang="zh-CN" dirty="0"/>
          </a:p>
          <a:p>
            <a:pPr marL="285750" indent="-285750">
              <a:lnSpc>
                <a:spcPct val="150000"/>
              </a:lnSpc>
              <a:buFont typeface="Arial" panose="020B0604020202020204" pitchFamily="34" charset="0"/>
              <a:buChar char="•"/>
            </a:pPr>
            <a:r>
              <a:rPr lang="zh-CN" altLang="en-US" dirty="0"/>
              <a:t>部分期刊存在重置投录时间的行为（如</a:t>
            </a:r>
            <a:r>
              <a:rPr lang="en-US" altLang="zh-CN" dirty="0"/>
              <a:t>reject &amp; resubmit</a:t>
            </a:r>
            <a:r>
              <a:rPr lang="zh-CN" altLang="en-US" dirty="0"/>
              <a:t>），且论文改投行为也会导致最终投录时间并不能充分反映论文所经历的总投录时长</a:t>
            </a:r>
            <a:endParaRPr lang="en-US" altLang="zh-CN" dirty="0"/>
          </a:p>
          <a:p>
            <a:pPr marL="285750" indent="-285750">
              <a:lnSpc>
                <a:spcPct val="150000"/>
              </a:lnSpc>
              <a:buFont typeface="Arial" panose="020B0604020202020204" pitchFamily="34" charset="0"/>
              <a:buChar char="•"/>
            </a:pPr>
            <a:r>
              <a:rPr lang="zh-CN" altLang="en-US" dirty="0"/>
              <a:t>仅使用投录时间来代表论文发表前受到的偏见不够完整，需要利用开放同行评审数据进行补充研究</a:t>
            </a:r>
            <a:endParaRPr lang="en-US" altLang="zh-CN" dirty="0"/>
          </a:p>
          <a:p>
            <a:pPr marL="285750" indent="-285750">
              <a:lnSpc>
                <a:spcPct val="150000"/>
              </a:lnSpc>
              <a:buFont typeface="Arial" panose="020B0604020202020204" pitchFamily="34" charset="0"/>
              <a:buChar char="•"/>
            </a:pPr>
            <a:r>
              <a:rPr lang="en-US" altLang="zh-CN" dirty="0"/>
              <a:t>PubMed</a:t>
            </a:r>
            <a:r>
              <a:rPr lang="zh-CN" altLang="en-US"/>
              <a:t>数据库中主要包含生物医学和生命科学领域的文章，研究结论需要在更广泛的数据上进一步验证</a:t>
            </a:r>
            <a:endParaRPr lang="en-US" altLang="zh-CN" dirty="0"/>
          </a:p>
          <a:p>
            <a:pPr marL="285750" indent="-285750">
              <a:lnSpc>
                <a:spcPct val="150000"/>
              </a:lnSpc>
              <a:buFont typeface="Arial" panose="020B0604020202020204" pitchFamily="34" charset="0"/>
              <a:buChar char="•"/>
            </a:pPr>
            <a:endParaRPr lang="en-US" altLang="zh-CN" dirty="0"/>
          </a:p>
          <a:p>
            <a:pPr marL="285750" indent="-285750">
              <a:lnSpc>
                <a:spcPct val="150000"/>
              </a:lnSpc>
              <a:buFont typeface="Arial" panose="020B0604020202020204" pitchFamily="34" charset="0"/>
              <a:buChar char="•"/>
            </a:pPr>
            <a:endParaRPr lang="en-US" altLang="zh-CN" dirty="0"/>
          </a:p>
        </p:txBody>
      </p:sp>
      <p:sp>
        <p:nvSpPr>
          <p:cNvPr id="2" name="íšľîḓê"/>
          <p:cNvSpPr>
            <a:spLocks noGrp="1"/>
          </p:cNvSpPr>
          <p:nvPr>
            <p:ph type="title"/>
          </p:nvPr>
        </p:nvSpPr>
        <p:spPr/>
        <p:txBody>
          <a:bodyPr/>
          <a:lstStyle/>
          <a:p>
            <a:r>
              <a:rPr lang="en-US" altLang="zh-CN" dirty="0"/>
              <a:t>5. </a:t>
            </a:r>
            <a:r>
              <a:rPr lang="zh-CN" altLang="en-US" dirty="0"/>
              <a:t>研究不足</a:t>
            </a:r>
            <a:endParaRPr lang="zh-CN" altLang="en-US" dirty="0"/>
          </a:p>
        </p:txBody>
      </p:sp>
    </p:spTree>
    <p:custDataLst>
      <p:tags r:id="rId1"/>
    </p:custData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îŝľïḍé"/>
        <p:cNvGrpSpPr/>
        <p:nvPr/>
      </p:nvGrpSpPr>
      <p:grpSpPr>
        <a:xfrm>
          <a:off x="0" y="0"/>
          <a:ext cx="0" cy="0"/>
          <a:chOff x="0" y="0"/>
          <a:chExt cx="0" cy="0"/>
        </a:xfrm>
      </p:grpSpPr>
      <p:graphicFrame>
        <p:nvGraphicFramePr>
          <p:cNvPr id="3" name="ïşļíḋ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2" imgW="9525" imgH="9525" progId="TCLayout.ActiveDocument.1">
                  <p:embed/>
                </p:oleObj>
              </mc:Choice>
              <mc:Fallback>
                <p:oleObj name="think-cell Slide" r:id="rId2" imgW="9525" imgH="9525" progId="TCLayout.ActiveDocument.1">
                  <p:embed/>
                  <p:pic>
                    <p:nvPicPr>
                      <p:cNvPr id="0" name="ïşļíḋ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íṥļïḍé"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îṣľïde"/>
          <p:cNvSpPr>
            <a:spLocks noGrp="1"/>
          </p:cNvSpPr>
          <p:nvPr>
            <p:ph type="ctrTitle"/>
          </p:nvPr>
        </p:nvSpPr>
        <p:spPr>
          <a:xfrm>
            <a:off x="673101" y="1879353"/>
            <a:ext cx="10845798" cy="1621509"/>
          </a:xfrm>
        </p:spPr>
        <p:txBody>
          <a:bodyPr>
            <a:normAutofit/>
          </a:bodyPr>
          <a:lstStyle/>
          <a:p>
            <a:r>
              <a:rPr lang="zh-CN" altLang="en-US" sz="6000" spc="-150" dirty="0">
                <a:solidFill>
                  <a:schemeClr val="accent1"/>
                </a:solidFill>
                <a:latin typeface="Times New Roman" panose="02020603050405020304" pitchFamily="18" charset="0"/>
                <a:cs typeface="Times New Roman" panose="02020603050405020304" pitchFamily="18" charset="0"/>
              </a:rPr>
              <a:t>请各位专家批评指正！</a:t>
            </a:r>
            <a:endParaRPr lang="zh-CN" altLang="en-US" sz="1400" dirty="0">
              <a:solidFill>
                <a:schemeClr val="accent1"/>
              </a:solidFill>
              <a:latin typeface="Times New Roman" panose="02020603050405020304" pitchFamily="18" charset="0"/>
              <a:cs typeface="Times New Roman" panose="02020603050405020304" pitchFamily="18" charset="0"/>
            </a:endParaRPr>
          </a:p>
        </p:txBody>
      </p:sp>
    </p:spTree>
    <p:custDataLst>
      <p:tags r:id="rId5"/>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iṣlide"/>
        <p:cNvGrpSpPr/>
        <p:nvPr/>
      </p:nvGrpSpPr>
      <p:grpSpPr>
        <a:xfrm>
          <a:off x="0" y="0"/>
          <a:ext cx="0" cy="0"/>
          <a:chOff x="0" y="0"/>
          <a:chExt cx="0" cy="0"/>
        </a:xfrm>
      </p:grpSpPr>
      <p:sp>
        <p:nvSpPr>
          <p:cNvPr id="2" name="íšľîḓê"/>
          <p:cNvSpPr>
            <a:spLocks noGrp="1"/>
          </p:cNvSpPr>
          <p:nvPr>
            <p:ph type="title"/>
          </p:nvPr>
        </p:nvSpPr>
        <p:spPr/>
        <p:txBody>
          <a:bodyPr/>
          <a:lstStyle/>
          <a:p>
            <a:r>
              <a:rPr lang="en-US" altLang="zh-CN" dirty="0"/>
              <a:t>1. </a:t>
            </a:r>
            <a:r>
              <a:rPr lang="zh-CN" altLang="en-US" dirty="0"/>
              <a:t>研究背景</a:t>
            </a:r>
            <a:endParaRPr lang="zh-CN" altLang="en-US" dirty="0"/>
          </a:p>
        </p:txBody>
      </p:sp>
      <p:sp>
        <p:nvSpPr>
          <p:cNvPr id="4" name="ïṣḷide"/>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110" name="íṥļîďè"/>
          <p:cNvSpPr/>
          <p:nvPr/>
        </p:nvSpPr>
        <p:spPr>
          <a:xfrm rot="10800000">
            <a:off x="4396104" y="0"/>
            <a:ext cx="7846076" cy="6857999"/>
          </a:xfrm>
          <a:custGeom>
            <a:avLst/>
            <a:gdLst>
              <a:gd name="connsiteX0" fmla="*/ 168369 w 9517086"/>
              <a:gd name="connsiteY0" fmla="*/ 4779933 h 7291226"/>
              <a:gd name="connsiteX1" fmla="*/ 0 w 9517086"/>
              <a:gd name="connsiteY1" fmla="*/ 4409146 h 7291226"/>
              <a:gd name="connsiteX2" fmla="*/ 3332806 w 9517086"/>
              <a:gd name="connsiteY2" fmla="*/ 0 h 7291226"/>
              <a:gd name="connsiteX3" fmla="*/ 3794560 w 9517086"/>
              <a:gd name="connsiteY3" fmla="*/ 32861 h 7291226"/>
              <a:gd name="connsiteX4" fmla="*/ 488220 w 9517086"/>
              <a:gd name="connsiteY4" fmla="*/ 5484315 h 7291226"/>
              <a:gd name="connsiteX5" fmla="*/ 299082 w 9517086"/>
              <a:gd name="connsiteY5" fmla="*/ 5067791 h 7291226"/>
              <a:gd name="connsiteX6" fmla="*/ 4106456 w 9517086"/>
              <a:gd name="connsiteY6" fmla="*/ 55057 h 7291226"/>
              <a:gd name="connsiteX7" fmla="*/ 4585079 w 9517086"/>
              <a:gd name="connsiteY7" fmla="*/ 89119 h 7291226"/>
              <a:gd name="connsiteX8" fmla="*/ 779421 w 9517086"/>
              <a:gd name="connsiteY8" fmla="*/ 6125606 h 7291226"/>
              <a:gd name="connsiteX9" fmla="*/ 618065 w 9517086"/>
              <a:gd name="connsiteY9" fmla="*/ 5770263 h 7291226"/>
              <a:gd name="connsiteX10" fmla="*/ 4897528 w 9517086"/>
              <a:gd name="connsiteY10" fmla="*/ 111354 h 7291226"/>
              <a:gd name="connsiteX11" fmla="*/ 5324893 w 9517086"/>
              <a:gd name="connsiteY11" fmla="*/ 141768 h 7291226"/>
              <a:gd name="connsiteX12" fmla="*/ 1099910 w 9517086"/>
              <a:gd name="connsiteY12" fmla="*/ 6831395 h 7291226"/>
              <a:gd name="connsiteX13" fmla="*/ 919656 w 9517086"/>
              <a:gd name="connsiteY13" fmla="*/ 6434435 h 7291226"/>
              <a:gd name="connsiteX14" fmla="*/ 5668965 w 9517086"/>
              <a:gd name="connsiteY14" fmla="*/ 166254 h 7291226"/>
              <a:gd name="connsiteX15" fmla="*/ 6114044 w 9517086"/>
              <a:gd name="connsiteY15" fmla="*/ 197929 h 7291226"/>
              <a:gd name="connsiteX16" fmla="*/ 7106560 w 9517086"/>
              <a:gd name="connsiteY16" fmla="*/ 7291226 h 7291226"/>
              <a:gd name="connsiteX17" fmla="*/ 6670875 w 9517086"/>
              <a:gd name="connsiteY17" fmla="*/ 7291226 h 7291226"/>
              <a:gd name="connsiteX18" fmla="*/ 3849932 w 9517086"/>
              <a:gd name="connsiteY18" fmla="*/ 3596670 h 7291226"/>
              <a:gd name="connsiteX19" fmla="*/ 4086202 w 9517086"/>
              <a:gd name="connsiteY19" fmla="*/ 3287229 h 7291226"/>
              <a:gd name="connsiteX20" fmla="*/ 7934229 w 9517086"/>
              <a:gd name="connsiteY20" fmla="*/ 7291226 h 7291226"/>
              <a:gd name="connsiteX21" fmla="*/ 7444802 w 9517086"/>
              <a:gd name="connsiteY21" fmla="*/ 7291226 h 7291226"/>
              <a:gd name="connsiteX22" fmla="*/ 4245793 w 9517086"/>
              <a:gd name="connsiteY22" fmla="*/ 3078214 h 7291226"/>
              <a:gd name="connsiteX23" fmla="*/ 4490696 w 9517086"/>
              <a:gd name="connsiteY23" fmla="*/ 2757469 h 7291226"/>
              <a:gd name="connsiteX24" fmla="*/ 8687764 w 9517086"/>
              <a:gd name="connsiteY24" fmla="*/ 7291226 h 7291226"/>
              <a:gd name="connsiteX25" fmla="*/ 8270226 w 9517086"/>
              <a:gd name="connsiteY25" fmla="*/ 7291226 h 7291226"/>
              <a:gd name="connsiteX26" fmla="*/ 4650570 w 9517086"/>
              <a:gd name="connsiteY26" fmla="*/ 2548084 h 7291226"/>
              <a:gd name="connsiteX27" fmla="*/ 4869244 w 9517086"/>
              <a:gd name="connsiteY27" fmla="*/ 2261689 h 7291226"/>
              <a:gd name="connsiteX28" fmla="*/ 9517086 w 9517086"/>
              <a:gd name="connsiteY28" fmla="*/ 7291226 h 7291226"/>
              <a:gd name="connsiteX29" fmla="*/ 9050647 w 9517086"/>
              <a:gd name="connsiteY29" fmla="*/ 7291226 h 7291226"/>
              <a:gd name="connsiteX30" fmla="*/ 5045299 w 9517086"/>
              <a:gd name="connsiteY30" fmla="*/ 2031113 h 7291226"/>
              <a:gd name="connsiteX31" fmla="*/ 5273037 w 9517086"/>
              <a:gd name="connsiteY31" fmla="*/ 1732846 h 7291226"/>
              <a:gd name="connsiteX0-1" fmla="*/ 168369 w 9378540"/>
              <a:gd name="connsiteY0-2" fmla="*/ 4779933 h 7291226"/>
              <a:gd name="connsiteX1-3" fmla="*/ 0 w 9378540"/>
              <a:gd name="connsiteY1-4" fmla="*/ 4409146 h 7291226"/>
              <a:gd name="connsiteX2-5" fmla="*/ 3332806 w 9378540"/>
              <a:gd name="connsiteY2-6" fmla="*/ 0 h 7291226"/>
              <a:gd name="connsiteX3-7" fmla="*/ 3794560 w 9378540"/>
              <a:gd name="connsiteY3-8" fmla="*/ 32861 h 7291226"/>
              <a:gd name="connsiteX4-9" fmla="*/ 168369 w 9378540"/>
              <a:gd name="connsiteY4-10" fmla="*/ 4779933 h 7291226"/>
              <a:gd name="connsiteX5-11" fmla="*/ 488220 w 9378540"/>
              <a:gd name="connsiteY5-12" fmla="*/ 5484315 h 7291226"/>
              <a:gd name="connsiteX6-13" fmla="*/ 299082 w 9378540"/>
              <a:gd name="connsiteY6-14" fmla="*/ 5067791 h 7291226"/>
              <a:gd name="connsiteX7-15" fmla="*/ 4106456 w 9378540"/>
              <a:gd name="connsiteY7-16" fmla="*/ 55057 h 7291226"/>
              <a:gd name="connsiteX8-17" fmla="*/ 4585079 w 9378540"/>
              <a:gd name="connsiteY8-18" fmla="*/ 89119 h 7291226"/>
              <a:gd name="connsiteX9-19" fmla="*/ 488220 w 9378540"/>
              <a:gd name="connsiteY9-20" fmla="*/ 5484315 h 7291226"/>
              <a:gd name="connsiteX10-21" fmla="*/ 779421 w 9378540"/>
              <a:gd name="connsiteY10-22" fmla="*/ 6125606 h 7291226"/>
              <a:gd name="connsiteX11-23" fmla="*/ 618065 w 9378540"/>
              <a:gd name="connsiteY11-24" fmla="*/ 5770263 h 7291226"/>
              <a:gd name="connsiteX12-25" fmla="*/ 4897528 w 9378540"/>
              <a:gd name="connsiteY12-26" fmla="*/ 111354 h 7291226"/>
              <a:gd name="connsiteX13-27" fmla="*/ 5324893 w 9378540"/>
              <a:gd name="connsiteY13-28" fmla="*/ 141768 h 7291226"/>
              <a:gd name="connsiteX14-29" fmla="*/ 779421 w 9378540"/>
              <a:gd name="connsiteY14-30" fmla="*/ 6125606 h 7291226"/>
              <a:gd name="connsiteX15-31" fmla="*/ 1099910 w 9378540"/>
              <a:gd name="connsiteY15-32" fmla="*/ 6831395 h 7291226"/>
              <a:gd name="connsiteX16-33" fmla="*/ 919656 w 9378540"/>
              <a:gd name="connsiteY16-34" fmla="*/ 6434435 h 7291226"/>
              <a:gd name="connsiteX17-35" fmla="*/ 5668965 w 9378540"/>
              <a:gd name="connsiteY17-36" fmla="*/ 166254 h 7291226"/>
              <a:gd name="connsiteX18-37" fmla="*/ 6114044 w 9378540"/>
              <a:gd name="connsiteY18-38" fmla="*/ 197929 h 7291226"/>
              <a:gd name="connsiteX19-39" fmla="*/ 1099910 w 9378540"/>
              <a:gd name="connsiteY19-40" fmla="*/ 6831395 h 7291226"/>
              <a:gd name="connsiteX20-41" fmla="*/ 7106560 w 9378540"/>
              <a:gd name="connsiteY20-42" fmla="*/ 7291226 h 7291226"/>
              <a:gd name="connsiteX21-43" fmla="*/ 6670875 w 9378540"/>
              <a:gd name="connsiteY21-44" fmla="*/ 7291226 h 7291226"/>
              <a:gd name="connsiteX22-45" fmla="*/ 3849932 w 9378540"/>
              <a:gd name="connsiteY22-46" fmla="*/ 3596670 h 7291226"/>
              <a:gd name="connsiteX23-47" fmla="*/ 4086202 w 9378540"/>
              <a:gd name="connsiteY23-48" fmla="*/ 3287229 h 7291226"/>
              <a:gd name="connsiteX24-49" fmla="*/ 7106560 w 9378540"/>
              <a:gd name="connsiteY24-50" fmla="*/ 7291226 h 7291226"/>
              <a:gd name="connsiteX25-51" fmla="*/ 7934229 w 9378540"/>
              <a:gd name="connsiteY25-52" fmla="*/ 7291226 h 7291226"/>
              <a:gd name="connsiteX26-53" fmla="*/ 7444802 w 9378540"/>
              <a:gd name="connsiteY26-54" fmla="*/ 7291226 h 7291226"/>
              <a:gd name="connsiteX27-55" fmla="*/ 4245793 w 9378540"/>
              <a:gd name="connsiteY27-56" fmla="*/ 3078214 h 7291226"/>
              <a:gd name="connsiteX28-57" fmla="*/ 4490696 w 9378540"/>
              <a:gd name="connsiteY28-58" fmla="*/ 2757469 h 7291226"/>
              <a:gd name="connsiteX29-59" fmla="*/ 7934229 w 9378540"/>
              <a:gd name="connsiteY29-60" fmla="*/ 7291226 h 7291226"/>
              <a:gd name="connsiteX30-61" fmla="*/ 8687764 w 9378540"/>
              <a:gd name="connsiteY30-62" fmla="*/ 7291226 h 7291226"/>
              <a:gd name="connsiteX31-63" fmla="*/ 8270226 w 9378540"/>
              <a:gd name="connsiteY31-64" fmla="*/ 7291226 h 7291226"/>
              <a:gd name="connsiteX32" fmla="*/ 4650570 w 9378540"/>
              <a:gd name="connsiteY32" fmla="*/ 2548084 h 7291226"/>
              <a:gd name="connsiteX33" fmla="*/ 4869244 w 9378540"/>
              <a:gd name="connsiteY33" fmla="*/ 2261689 h 7291226"/>
              <a:gd name="connsiteX34" fmla="*/ 8687764 w 9378540"/>
              <a:gd name="connsiteY34" fmla="*/ 7291226 h 7291226"/>
              <a:gd name="connsiteX35" fmla="*/ 9378540 w 9378540"/>
              <a:gd name="connsiteY35" fmla="*/ 7097262 h 7291226"/>
              <a:gd name="connsiteX36" fmla="*/ 9050647 w 9378540"/>
              <a:gd name="connsiteY36" fmla="*/ 7291226 h 7291226"/>
              <a:gd name="connsiteX37" fmla="*/ 5045299 w 9378540"/>
              <a:gd name="connsiteY37" fmla="*/ 2031113 h 7291226"/>
              <a:gd name="connsiteX38" fmla="*/ 5273037 w 9378540"/>
              <a:gd name="connsiteY38" fmla="*/ 1732846 h 7291226"/>
              <a:gd name="connsiteX39" fmla="*/ 9378540 w 9378540"/>
              <a:gd name="connsiteY39" fmla="*/ 7097262 h 7291226"/>
              <a:gd name="connsiteX0-65" fmla="*/ 168369 w 9378540"/>
              <a:gd name="connsiteY0-66" fmla="*/ 4779933 h 7291226"/>
              <a:gd name="connsiteX1-67" fmla="*/ 0 w 9378540"/>
              <a:gd name="connsiteY1-68" fmla="*/ 4409146 h 7291226"/>
              <a:gd name="connsiteX2-69" fmla="*/ 3332806 w 9378540"/>
              <a:gd name="connsiteY2-70" fmla="*/ 0 h 7291226"/>
              <a:gd name="connsiteX3-71" fmla="*/ 3794560 w 9378540"/>
              <a:gd name="connsiteY3-72" fmla="*/ 32861 h 7291226"/>
              <a:gd name="connsiteX4-73" fmla="*/ 168369 w 9378540"/>
              <a:gd name="connsiteY4-74" fmla="*/ 4779933 h 7291226"/>
              <a:gd name="connsiteX5-75" fmla="*/ 488220 w 9378540"/>
              <a:gd name="connsiteY5-76" fmla="*/ 5484315 h 7291226"/>
              <a:gd name="connsiteX6-77" fmla="*/ 299082 w 9378540"/>
              <a:gd name="connsiteY6-78" fmla="*/ 5067791 h 7291226"/>
              <a:gd name="connsiteX7-79" fmla="*/ 4106456 w 9378540"/>
              <a:gd name="connsiteY7-80" fmla="*/ 55057 h 7291226"/>
              <a:gd name="connsiteX8-81" fmla="*/ 4585079 w 9378540"/>
              <a:gd name="connsiteY8-82" fmla="*/ 89119 h 7291226"/>
              <a:gd name="connsiteX9-83" fmla="*/ 488220 w 9378540"/>
              <a:gd name="connsiteY9-84" fmla="*/ 5484315 h 7291226"/>
              <a:gd name="connsiteX10-85" fmla="*/ 779421 w 9378540"/>
              <a:gd name="connsiteY10-86" fmla="*/ 6125606 h 7291226"/>
              <a:gd name="connsiteX11-87" fmla="*/ 618065 w 9378540"/>
              <a:gd name="connsiteY11-88" fmla="*/ 5770263 h 7291226"/>
              <a:gd name="connsiteX12-89" fmla="*/ 4897528 w 9378540"/>
              <a:gd name="connsiteY12-90" fmla="*/ 111354 h 7291226"/>
              <a:gd name="connsiteX13-91" fmla="*/ 5324893 w 9378540"/>
              <a:gd name="connsiteY13-92" fmla="*/ 141768 h 7291226"/>
              <a:gd name="connsiteX14-93" fmla="*/ 779421 w 9378540"/>
              <a:gd name="connsiteY14-94" fmla="*/ 6125606 h 7291226"/>
              <a:gd name="connsiteX15-95" fmla="*/ 1099910 w 9378540"/>
              <a:gd name="connsiteY15-96" fmla="*/ 6831395 h 7291226"/>
              <a:gd name="connsiteX16-97" fmla="*/ 919656 w 9378540"/>
              <a:gd name="connsiteY16-98" fmla="*/ 6434435 h 7291226"/>
              <a:gd name="connsiteX17-99" fmla="*/ 5668965 w 9378540"/>
              <a:gd name="connsiteY17-100" fmla="*/ 166254 h 7291226"/>
              <a:gd name="connsiteX18-101" fmla="*/ 6114044 w 9378540"/>
              <a:gd name="connsiteY18-102" fmla="*/ 197929 h 7291226"/>
              <a:gd name="connsiteX19-103" fmla="*/ 1099910 w 9378540"/>
              <a:gd name="connsiteY19-104" fmla="*/ 6831395 h 7291226"/>
              <a:gd name="connsiteX20-105" fmla="*/ 7106560 w 9378540"/>
              <a:gd name="connsiteY20-106" fmla="*/ 7291226 h 7291226"/>
              <a:gd name="connsiteX21-107" fmla="*/ 6670875 w 9378540"/>
              <a:gd name="connsiteY21-108" fmla="*/ 7291226 h 7291226"/>
              <a:gd name="connsiteX22-109" fmla="*/ 3849932 w 9378540"/>
              <a:gd name="connsiteY22-110" fmla="*/ 3596670 h 7291226"/>
              <a:gd name="connsiteX23-111" fmla="*/ 4086202 w 9378540"/>
              <a:gd name="connsiteY23-112" fmla="*/ 3287229 h 7291226"/>
              <a:gd name="connsiteX24-113" fmla="*/ 7106560 w 9378540"/>
              <a:gd name="connsiteY24-114" fmla="*/ 7291226 h 7291226"/>
              <a:gd name="connsiteX25-115" fmla="*/ 7934229 w 9378540"/>
              <a:gd name="connsiteY25-116" fmla="*/ 7291226 h 7291226"/>
              <a:gd name="connsiteX26-117" fmla="*/ 7444802 w 9378540"/>
              <a:gd name="connsiteY26-118" fmla="*/ 7291226 h 7291226"/>
              <a:gd name="connsiteX27-119" fmla="*/ 4245793 w 9378540"/>
              <a:gd name="connsiteY27-120" fmla="*/ 3078214 h 7291226"/>
              <a:gd name="connsiteX28-121" fmla="*/ 4490696 w 9378540"/>
              <a:gd name="connsiteY28-122" fmla="*/ 2757469 h 7291226"/>
              <a:gd name="connsiteX29-123" fmla="*/ 7934229 w 9378540"/>
              <a:gd name="connsiteY29-124" fmla="*/ 7291226 h 7291226"/>
              <a:gd name="connsiteX30-125" fmla="*/ 8687764 w 9378540"/>
              <a:gd name="connsiteY30-126" fmla="*/ 7291226 h 7291226"/>
              <a:gd name="connsiteX31-127" fmla="*/ 8270226 w 9378540"/>
              <a:gd name="connsiteY31-128" fmla="*/ 7291226 h 7291226"/>
              <a:gd name="connsiteX32-129" fmla="*/ 4650570 w 9378540"/>
              <a:gd name="connsiteY32-130" fmla="*/ 2548084 h 7291226"/>
              <a:gd name="connsiteX33-131" fmla="*/ 4869244 w 9378540"/>
              <a:gd name="connsiteY33-132" fmla="*/ 2261689 h 7291226"/>
              <a:gd name="connsiteX34-133" fmla="*/ 8687764 w 9378540"/>
              <a:gd name="connsiteY34-134" fmla="*/ 7291226 h 7291226"/>
              <a:gd name="connsiteX35-135" fmla="*/ 9378540 w 9378540"/>
              <a:gd name="connsiteY35-136" fmla="*/ 7097262 h 7291226"/>
              <a:gd name="connsiteX36-137" fmla="*/ 8921338 w 9378540"/>
              <a:gd name="connsiteY36-138" fmla="*/ 7115735 h 7291226"/>
              <a:gd name="connsiteX37-139" fmla="*/ 5045299 w 9378540"/>
              <a:gd name="connsiteY37-140" fmla="*/ 2031113 h 7291226"/>
              <a:gd name="connsiteX38-141" fmla="*/ 5273037 w 9378540"/>
              <a:gd name="connsiteY38-142" fmla="*/ 1732846 h 7291226"/>
              <a:gd name="connsiteX39-143" fmla="*/ 9378540 w 9378540"/>
              <a:gd name="connsiteY39-144" fmla="*/ 7097262 h 7291226"/>
              <a:gd name="connsiteX0-145" fmla="*/ 168369 w 9397013"/>
              <a:gd name="connsiteY0-146" fmla="*/ 4779933 h 7291226"/>
              <a:gd name="connsiteX1-147" fmla="*/ 0 w 9397013"/>
              <a:gd name="connsiteY1-148" fmla="*/ 4409146 h 7291226"/>
              <a:gd name="connsiteX2-149" fmla="*/ 3332806 w 9397013"/>
              <a:gd name="connsiteY2-150" fmla="*/ 0 h 7291226"/>
              <a:gd name="connsiteX3-151" fmla="*/ 3794560 w 9397013"/>
              <a:gd name="connsiteY3-152" fmla="*/ 32861 h 7291226"/>
              <a:gd name="connsiteX4-153" fmla="*/ 168369 w 9397013"/>
              <a:gd name="connsiteY4-154" fmla="*/ 4779933 h 7291226"/>
              <a:gd name="connsiteX5-155" fmla="*/ 488220 w 9397013"/>
              <a:gd name="connsiteY5-156" fmla="*/ 5484315 h 7291226"/>
              <a:gd name="connsiteX6-157" fmla="*/ 299082 w 9397013"/>
              <a:gd name="connsiteY6-158" fmla="*/ 5067791 h 7291226"/>
              <a:gd name="connsiteX7-159" fmla="*/ 4106456 w 9397013"/>
              <a:gd name="connsiteY7-160" fmla="*/ 55057 h 7291226"/>
              <a:gd name="connsiteX8-161" fmla="*/ 4585079 w 9397013"/>
              <a:gd name="connsiteY8-162" fmla="*/ 89119 h 7291226"/>
              <a:gd name="connsiteX9-163" fmla="*/ 488220 w 9397013"/>
              <a:gd name="connsiteY9-164" fmla="*/ 5484315 h 7291226"/>
              <a:gd name="connsiteX10-165" fmla="*/ 779421 w 9397013"/>
              <a:gd name="connsiteY10-166" fmla="*/ 6125606 h 7291226"/>
              <a:gd name="connsiteX11-167" fmla="*/ 618065 w 9397013"/>
              <a:gd name="connsiteY11-168" fmla="*/ 5770263 h 7291226"/>
              <a:gd name="connsiteX12-169" fmla="*/ 4897528 w 9397013"/>
              <a:gd name="connsiteY12-170" fmla="*/ 111354 h 7291226"/>
              <a:gd name="connsiteX13-171" fmla="*/ 5324893 w 9397013"/>
              <a:gd name="connsiteY13-172" fmla="*/ 141768 h 7291226"/>
              <a:gd name="connsiteX14-173" fmla="*/ 779421 w 9397013"/>
              <a:gd name="connsiteY14-174" fmla="*/ 6125606 h 7291226"/>
              <a:gd name="connsiteX15-175" fmla="*/ 1099910 w 9397013"/>
              <a:gd name="connsiteY15-176" fmla="*/ 6831395 h 7291226"/>
              <a:gd name="connsiteX16-177" fmla="*/ 919656 w 9397013"/>
              <a:gd name="connsiteY16-178" fmla="*/ 6434435 h 7291226"/>
              <a:gd name="connsiteX17-179" fmla="*/ 5668965 w 9397013"/>
              <a:gd name="connsiteY17-180" fmla="*/ 166254 h 7291226"/>
              <a:gd name="connsiteX18-181" fmla="*/ 6114044 w 9397013"/>
              <a:gd name="connsiteY18-182" fmla="*/ 197929 h 7291226"/>
              <a:gd name="connsiteX19-183" fmla="*/ 1099910 w 9397013"/>
              <a:gd name="connsiteY19-184" fmla="*/ 6831395 h 7291226"/>
              <a:gd name="connsiteX20-185" fmla="*/ 7106560 w 9397013"/>
              <a:gd name="connsiteY20-186" fmla="*/ 7291226 h 7291226"/>
              <a:gd name="connsiteX21-187" fmla="*/ 6670875 w 9397013"/>
              <a:gd name="connsiteY21-188" fmla="*/ 7291226 h 7291226"/>
              <a:gd name="connsiteX22-189" fmla="*/ 3849932 w 9397013"/>
              <a:gd name="connsiteY22-190" fmla="*/ 3596670 h 7291226"/>
              <a:gd name="connsiteX23-191" fmla="*/ 4086202 w 9397013"/>
              <a:gd name="connsiteY23-192" fmla="*/ 3287229 h 7291226"/>
              <a:gd name="connsiteX24-193" fmla="*/ 7106560 w 9397013"/>
              <a:gd name="connsiteY24-194" fmla="*/ 7291226 h 7291226"/>
              <a:gd name="connsiteX25-195" fmla="*/ 7934229 w 9397013"/>
              <a:gd name="connsiteY25-196" fmla="*/ 7291226 h 7291226"/>
              <a:gd name="connsiteX26-197" fmla="*/ 7444802 w 9397013"/>
              <a:gd name="connsiteY26-198" fmla="*/ 7291226 h 7291226"/>
              <a:gd name="connsiteX27-199" fmla="*/ 4245793 w 9397013"/>
              <a:gd name="connsiteY27-200" fmla="*/ 3078214 h 7291226"/>
              <a:gd name="connsiteX28-201" fmla="*/ 4490696 w 9397013"/>
              <a:gd name="connsiteY28-202" fmla="*/ 2757469 h 7291226"/>
              <a:gd name="connsiteX29-203" fmla="*/ 7934229 w 9397013"/>
              <a:gd name="connsiteY29-204" fmla="*/ 7291226 h 7291226"/>
              <a:gd name="connsiteX30-205" fmla="*/ 8687764 w 9397013"/>
              <a:gd name="connsiteY30-206" fmla="*/ 7291226 h 7291226"/>
              <a:gd name="connsiteX31-207" fmla="*/ 8270226 w 9397013"/>
              <a:gd name="connsiteY31-208" fmla="*/ 7291226 h 7291226"/>
              <a:gd name="connsiteX32-209" fmla="*/ 4650570 w 9397013"/>
              <a:gd name="connsiteY32-210" fmla="*/ 2548084 h 7291226"/>
              <a:gd name="connsiteX33-211" fmla="*/ 4869244 w 9397013"/>
              <a:gd name="connsiteY33-212" fmla="*/ 2261689 h 7291226"/>
              <a:gd name="connsiteX34-213" fmla="*/ 8687764 w 9397013"/>
              <a:gd name="connsiteY34-214" fmla="*/ 7291226 h 7291226"/>
              <a:gd name="connsiteX35-215" fmla="*/ 9397013 w 9397013"/>
              <a:gd name="connsiteY35-216" fmla="*/ 7134207 h 7291226"/>
              <a:gd name="connsiteX36-217" fmla="*/ 8921338 w 9397013"/>
              <a:gd name="connsiteY36-218" fmla="*/ 7115735 h 7291226"/>
              <a:gd name="connsiteX37-219" fmla="*/ 5045299 w 9397013"/>
              <a:gd name="connsiteY37-220" fmla="*/ 2031113 h 7291226"/>
              <a:gd name="connsiteX38-221" fmla="*/ 5273037 w 9397013"/>
              <a:gd name="connsiteY38-222" fmla="*/ 1732846 h 7291226"/>
              <a:gd name="connsiteX39-223" fmla="*/ 9397013 w 9397013"/>
              <a:gd name="connsiteY39-224" fmla="*/ 7134207 h 7291226"/>
              <a:gd name="connsiteX0-225" fmla="*/ 168369 w 9397013"/>
              <a:gd name="connsiteY0-226" fmla="*/ 4779933 h 7291226"/>
              <a:gd name="connsiteX1-227" fmla="*/ 0 w 9397013"/>
              <a:gd name="connsiteY1-228" fmla="*/ 4409146 h 7291226"/>
              <a:gd name="connsiteX2-229" fmla="*/ 3332806 w 9397013"/>
              <a:gd name="connsiteY2-230" fmla="*/ 0 h 7291226"/>
              <a:gd name="connsiteX3-231" fmla="*/ 3794560 w 9397013"/>
              <a:gd name="connsiteY3-232" fmla="*/ 32861 h 7291226"/>
              <a:gd name="connsiteX4-233" fmla="*/ 168369 w 9397013"/>
              <a:gd name="connsiteY4-234" fmla="*/ 4779933 h 7291226"/>
              <a:gd name="connsiteX5-235" fmla="*/ 488220 w 9397013"/>
              <a:gd name="connsiteY5-236" fmla="*/ 5484315 h 7291226"/>
              <a:gd name="connsiteX6-237" fmla="*/ 299082 w 9397013"/>
              <a:gd name="connsiteY6-238" fmla="*/ 5067791 h 7291226"/>
              <a:gd name="connsiteX7-239" fmla="*/ 4106456 w 9397013"/>
              <a:gd name="connsiteY7-240" fmla="*/ 55057 h 7291226"/>
              <a:gd name="connsiteX8-241" fmla="*/ 4585079 w 9397013"/>
              <a:gd name="connsiteY8-242" fmla="*/ 89119 h 7291226"/>
              <a:gd name="connsiteX9-243" fmla="*/ 488220 w 9397013"/>
              <a:gd name="connsiteY9-244" fmla="*/ 5484315 h 7291226"/>
              <a:gd name="connsiteX10-245" fmla="*/ 779421 w 9397013"/>
              <a:gd name="connsiteY10-246" fmla="*/ 6125606 h 7291226"/>
              <a:gd name="connsiteX11-247" fmla="*/ 618065 w 9397013"/>
              <a:gd name="connsiteY11-248" fmla="*/ 5770263 h 7291226"/>
              <a:gd name="connsiteX12-249" fmla="*/ 4897528 w 9397013"/>
              <a:gd name="connsiteY12-250" fmla="*/ 111354 h 7291226"/>
              <a:gd name="connsiteX13-251" fmla="*/ 5324893 w 9397013"/>
              <a:gd name="connsiteY13-252" fmla="*/ 141768 h 7291226"/>
              <a:gd name="connsiteX14-253" fmla="*/ 779421 w 9397013"/>
              <a:gd name="connsiteY14-254" fmla="*/ 6125606 h 7291226"/>
              <a:gd name="connsiteX15-255" fmla="*/ 1099910 w 9397013"/>
              <a:gd name="connsiteY15-256" fmla="*/ 6831395 h 7291226"/>
              <a:gd name="connsiteX16-257" fmla="*/ 919656 w 9397013"/>
              <a:gd name="connsiteY16-258" fmla="*/ 6434435 h 7291226"/>
              <a:gd name="connsiteX17-259" fmla="*/ 5668965 w 9397013"/>
              <a:gd name="connsiteY17-260" fmla="*/ 166254 h 7291226"/>
              <a:gd name="connsiteX18-261" fmla="*/ 6114044 w 9397013"/>
              <a:gd name="connsiteY18-262" fmla="*/ 197929 h 7291226"/>
              <a:gd name="connsiteX19-263" fmla="*/ 1099910 w 9397013"/>
              <a:gd name="connsiteY19-264" fmla="*/ 6831395 h 7291226"/>
              <a:gd name="connsiteX20-265" fmla="*/ 7106560 w 9397013"/>
              <a:gd name="connsiteY20-266" fmla="*/ 7291226 h 7291226"/>
              <a:gd name="connsiteX21-267" fmla="*/ 6670875 w 9397013"/>
              <a:gd name="connsiteY21-268" fmla="*/ 7291226 h 7291226"/>
              <a:gd name="connsiteX22-269" fmla="*/ 3849932 w 9397013"/>
              <a:gd name="connsiteY22-270" fmla="*/ 3596670 h 7291226"/>
              <a:gd name="connsiteX23-271" fmla="*/ 4086202 w 9397013"/>
              <a:gd name="connsiteY23-272" fmla="*/ 3287229 h 7291226"/>
              <a:gd name="connsiteX24-273" fmla="*/ 7106560 w 9397013"/>
              <a:gd name="connsiteY24-274" fmla="*/ 7291226 h 7291226"/>
              <a:gd name="connsiteX25-275" fmla="*/ 7934229 w 9397013"/>
              <a:gd name="connsiteY25-276" fmla="*/ 7291226 h 7291226"/>
              <a:gd name="connsiteX26-277" fmla="*/ 7444802 w 9397013"/>
              <a:gd name="connsiteY26-278" fmla="*/ 7291226 h 7291226"/>
              <a:gd name="connsiteX27-279" fmla="*/ 4245793 w 9397013"/>
              <a:gd name="connsiteY27-280" fmla="*/ 3078214 h 7291226"/>
              <a:gd name="connsiteX28-281" fmla="*/ 4490696 w 9397013"/>
              <a:gd name="connsiteY28-282" fmla="*/ 2757469 h 7291226"/>
              <a:gd name="connsiteX29-283" fmla="*/ 7934229 w 9397013"/>
              <a:gd name="connsiteY29-284" fmla="*/ 7291226 h 7291226"/>
              <a:gd name="connsiteX30-285" fmla="*/ 8530746 w 9397013"/>
              <a:gd name="connsiteY30-286" fmla="*/ 7088026 h 7291226"/>
              <a:gd name="connsiteX31-287" fmla="*/ 8270226 w 9397013"/>
              <a:gd name="connsiteY31-288" fmla="*/ 7291226 h 7291226"/>
              <a:gd name="connsiteX32-289" fmla="*/ 4650570 w 9397013"/>
              <a:gd name="connsiteY32-290" fmla="*/ 2548084 h 7291226"/>
              <a:gd name="connsiteX33-291" fmla="*/ 4869244 w 9397013"/>
              <a:gd name="connsiteY33-292" fmla="*/ 2261689 h 7291226"/>
              <a:gd name="connsiteX34-293" fmla="*/ 8530746 w 9397013"/>
              <a:gd name="connsiteY34-294" fmla="*/ 7088026 h 7291226"/>
              <a:gd name="connsiteX35-295" fmla="*/ 9397013 w 9397013"/>
              <a:gd name="connsiteY35-296" fmla="*/ 7134207 h 7291226"/>
              <a:gd name="connsiteX36-297" fmla="*/ 8921338 w 9397013"/>
              <a:gd name="connsiteY36-298" fmla="*/ 7115735 h 7291226"/>
              <a:gd name="connsiteX37-299" fmla="*/ 5045299 w 9397013"/>
              <a:gd name="connsiteY37-300" fmla="*/ 2031113 h 7291226"/>
              <a:gd name="connsiteX38-301" fmla="*/ 5273037 w 9397013"/>
              <a:gd name="connsiteY38-302" fmla="*/ 1732846 h 7291226"/>
              <a:gd name="connsiteX39-303" fmla="*/ 9397013 w 9397013"/>
              <a:gd name="connsiteY39-304" fmla="*/ 7134207 h 7291226"/>
              <a:gd name="connsiteX0-305" fmla="*/ 168369 w 9397013"/>
              <a:gd name="connsiteY0-306" fmla="*/ 4779933 h 7291226"/>
              <a:gd name="connsiteX1-307" fmla="*/ 0 w 9397013"/>
              <a:gd name="connsiteY1-308" fmla="*/ 4409146 h 7291226"/>
              <a:gd name="connsiteX2-309" fmla="*/ 3332806 w 9397013"/>
              <a:gd name="connsiteY2-310" fmla="*/ 0 h 7291226"/>
              <a:gd name="connsiteX3-311" fmla="*/ 3794560 w 9397013"/>
              <a:gd name="connsiteY3-312" fmla="*/ 32861 h 7291226"/>
              <a:gd name="connsiteX4-313" fmla="*/ 168369 w 9397013"/>
              <a:gd name="connsiteY4-314" fmla="*/ 4779933 h 7291226"/>
              <a:gd name="connsiteX5-315" fmla="*/ 488220 w 9397013"/>
              <a:gd name="connsiteY5-316" fmla="*/ 5484315 h 7291226"/>
              <a:gd name="connsiteX6-317" fmla="*/ 299082 w 9397013"/>
              <a:gd name="connsiteY6-318" fmla="*/ 5067791 h 7291226"/>
              <a:gd name="connsiteX7-319" fmla="*/ 4106456 w 9397013"/>
              <a:gd name="connsiteY7-320" fmla="*/ 55057 h 7291226"/>
              <a:gd name="connsiteX8-321" fmla="*/ 4585079 w 9397013"/>
              <a:gd name="connsiteY8-322" fmla="*/ 89119 h 7291226"/>
              <a:gd name="connsiteX9-323" fmla="*/ 488220 w 9397013"/>
              <a:gd name="connsiteY9-324" fmla="*/ 5484315 h 7291226"/>
              <a:gd name="connsiteX10-325" fmla="*/ 779421 w 9397013"/>
              <a:gd name="connsiteY10-326" fmla="*/ 6125606 h 7291226"/>
              <a:gd name="connsiteX11-327" fmla="*/ 618065 w 9397013"/>
              <a:gd name="connsiteY11-328" fmla="*/ 5770263 h 7291226"/>
              <a:gd name="connsiteX12-329" fmla="*/ 4897528 w 9397013"/>
              <a:gd name="connsiteY12-330" fmla="*/ 111354 h 7291226"/>
              <a:gd name="connsiteX13-331" fmla="*/ 5324893 w 9397013"/>
              <a:gd name="connsiteY13-332" fmla="*/ 141768 h 7291226"/>
              <a:gd name="connsiteX14-333" fmla="*/ 779421 w 9397013"/>
              <a:gd name="connsiteY14-334" fmla="*/ 6125606 h 7291226"/>
              <a:gd name="connsiteX15-335" fmla="*/ 1099910 w 9397013"/>
              <a:gd name="connsiteY15-336" fmla="*/ 6831395 h 7291226"/>
              <a:gd name="connsiteX16-337" fmla="*/ 919656 w 9397013"/>
              <a:gd name="connsiteY16-338" fmla="*/ 6434435 h 7291226"/>
              <a:gd name="connsiteX17-339" fmla="*/ 5668965 w 9397013"/>
              <a:gd name="connsiteY17-340" fmla="*/ 166254 h 7291226"/>
              <a:gd name="connsiteX18-341" fmla="*/ 6114044 w 9397013"/>
              <a:gd name="connsiteY18-342" fmla="*/ 197929 h 7291226"/>
              <a:gd name="connsiteX19-343" fmla="*/ 1099910 w 9397013"/>
              <a:gd name="connsiteY19-344" fmla="*/ 6831395 h 7291226"/>
              <a:gd name="connsiteX20-345" fmla="*/ 7106560 w 9397013"/>
              <a:gd name="connsiteY20-346" fmla="*/ 7291226 h 7291226"/>
              <a:gd name="connsiteX21-347" fmla="*/ 6670875 w 9397013"/>
              <a:gd name="connsiteY21-348" fmla="*/ 7291226 h 7291226"/>
              <a:gd name="connsiteX22-349" fmla="*/ 3849932 w 9397013"/>
              <a:gd name="connsiteY22-350" fmla="*/ 3596670 h 7291226"/>
              <a:gd name="connsiteX23-351" fmla="*/ 4086202 w 9397013"/>
              <a:gd name="connsiteY23-352" fmla="*/ 3287229 h 7291226"/>
              <a:gd name="connsiteX24-353" fmla="*/ 7106560 w 9397013"/>
              <a:gd name="connsiteY24-354" fmla="*/ 7291226 h 7291226"/>
              <a:gd name="connsiteX25-355" fmla="*/ 7934229 w 9397013"/>
              <a:gd name="connsiteY25-356" fmla="*/ 7291226 h 7291226"/>
              <a:gd name="connsiteX26-357" fmla="*/ 7444802 w 9397013"/>
              <a:gd name="connsiteY26-358" fmla="*/ 7291226 h 7291226"/>
              <a:gd name="connsiteX27-359" fmla="*/ 4245793 w 9397013"/>
              <a:gd name="connsiteY27-360" fmla="*/ 3078214 h 7291226"/>
              <a:gd name="connsiteX28-361" fmla="*/ 4490696 w 9397013"/>
              <a:gd name="connsiteY28-362" fmla="*/ 2757469 h 7291226"/>
              <a:gd name="connsiteX29-363" fmla="*/ 7934229 w 9397013"/>
              <a:gd name="connsiteY29-364" fmla="*/ 7291226 h 7291226"/>
              <a:gd name="connsiteX30-365" fmla="*/ 8530746 w 9397013"/>
              <a:gd name="connsiteY30-366" fmla="*/ 7088026 h 7291226"/>
              <a:gd name="connsiteX31-367" fmla="*/ 8150153 w 9397013"/>
              <a:gd name="connsiteY31-368" fmla="*/ 7097262 h 7291226"/>
              <a:gd name="connsiteX32-369" fmla="*/ 4650570 w 9397013"/>
              <a:gd name="connsiteY32-370" fmla="*/ 2548084 h 7291226"/>
              <a:gd name="connsiteX33-371" fmla="*/ 4869244 w 9397013"/>
              <a:gd name="connsiteY33-372" fmla="*/ 2261689 h 7291226"/>
              <a:gd name="connsiteX34-373" fmla="*/ 8530746 w 9397013"/>
              <a:gd name="connsiteY34-374" fmla="*/ 7088026 h 7291226"/>
              <a:gd name="connsiteX35-375" fmla="*/ 9397013 w 9397013"/>
              <a:gd name="connsiteY35-376" fmla="*/ 7134207 h 7291226"/>
              <a:gd name="connsiteX36-377" fmla="*/ 8921338 w 9397013"/>
              <a:gd name="connsiteY36-378" fmla="*/ 7115735 h 7291226"/>
              <a:gd name="connsiteX37-379" fmla="*/ 5045299 w 9397013"/>
              <a:gd name="connsiteY37-380" fmla="*/ 2031113 h 7291226"/>
              <a:gd name="connsiteX38-381" fmla="*/ 5273037 w 9397013"/>
              <a:gd name="connsiteY38-382" fmla="*/ 1732846 h 7291226"/>
              <a:gd name="connsiteX39-383" fmla="*/ 9397013 w 9397013"/>
              <a:gd name="connsiteY39-384" fmla="*/ 7134207 h 7291226"/>
              <a:gd name="connsiteX0-385" fmla="*/ 168369 w 9397013"/>
              <a:gd name="connsiteY0-386" fmla="*/ 4779933 h 7291226"/>
              <a:gd name="connsiteX1-387" fmla="*/ 0 w 9397013"/>
              <a:gd name="connsiteY1-388" fmla="*/ 4409146 h 7291226"/>
              <a:gd name="connsiteX2-389" fmla="*/ 3332806 w 9397013"/>
              <a:gd name="connsiteY2-390" fmla="*/ 0 h 7291226"/>
              <a:gd name="connsiteX3-391" fmla="*/ 3794560 w 9397013"/>
              <a:gd name="connsiteY3-392" fmla="*/ 32861 h 7291226"/>
              <a:gd name="connsiteX4-393" fmla="*/ 168369 w 9397013"/>
              <a:gd name="connsiteY4-394" fmla="*/ 4779933 h 7291226"/>
              <a:gd name="connsiteX5-395" fmla="*/ 488220 w 9397013"/>
              <a:gd name="connsiteY5-396" fmla="*/ 5484315 h 7291226"/>
              <a:gd name="connsiteX6-397" fmla="*/ 299082 w 9397013"/>
              <a:gd name="connsiteY6-398" fmla="*/ 5067791 h 7291226"/>
              <a:gd name="connsiteX7-399" fmla="*/ 4106456 w 9397013"/>
              <a:gd name="connsiteY7-400" fmla="*/ 55057 h 7291226"/>
              <a:gd name="connsiteX8-401" fmla="*/ 4585079 w 9397013"/>
              <a:gd name="connsiteY8-402" fmla="*/ 89119 h 7291226"/>
              <a:gd name="connsiteX9-403" fmla="*/ 488220 w 9397013"/>
              <a:gd name="connsiteY9-404" fmla="*/ 5484315 h 7291226"/>
              <a:gd name="connsiteX10-405" fmla="*/ 779421 w 9397013"/>
              <a:gd name="connsiteY10-406" fmla="*/ 6125606 h 7291226"/>
              <a:gd name="connsiteX11-407" fmla="*/ 618065 w 9397013"/>
              <a:gd name="connsiteY11-408" fmla="*/ 5770263 h 7291226"/>
              <a:gd name="connsiteX12-409" fmla="*/ 4897528 w 9397013"/>
              <a:gd name="connsiteY12-410" fmla="*/ 111354 h 7291226"/>
              <a:gd name="connsiteX13-411" fmla="*/ 5324893 w 9397013"/>
              <a:gd name="connsiteY13-412" fmla="*/ 141768 h 7291226"/>
              <a:gd name="connsiteX14-413" fmla="*/ 779421 w 9397013"/>
              <a:gd name="connsiteY14-414" fmla="*/ 6125606 h 7291226"/>
              <a:gd name="connsiteX15-415" fmla="*/ 1099910 w 9397013"/>
              <a:gd name="connsiteY15-416" fmla="*/ 6831395 h 7291226"/>
              <a:gd name="connsiteX16-417" fmla="*/ 919656 w 9397013"/>
              <a:gd name="connsiteY16-418" fmla="*/ 6434435 h 7291226"/>
              <a:gd name="connsiteX17-419" fmla="*/ 5668965 w 9397013"/>
              <a:gd name="connsiteY17-420" fmla="*/ 166254 h 7291226"/>
              <a:gd name="connsiteX18-421" fmla="*/ 6114044 w 9397013"/>
              <a:gd name="connsiteY18-422" fmla="*/ 197929 h 7291226"/>
              <a:gd name="connsiteX19-423" fmla="*/ 1099910 w 9397013"/>
              <a:gd name="connsiteY19-424" fmla="*/ 6831395 h 7291226"/>
              <a:gd name="connsiteX20-425" fmla="*/ 7106560 w 9397013"/>
              <a:gd name="connsiteY20-426" fmla="*/ 7291226 h 7291226"/>
              <a:gd name="connsiteX21-427" fmla="*/ 6670875 w 9397013"/>
              <a:gd name="connsiteY21-428" fmla="*/ 7291226 h 7291226"/>
              <a:gd name="connsiteX22-429" fmla="*/ 3849932 w 9397013"/>
              <a:gd name="connsiteY22-430" fmla="*/ 3596670 h 7291226"/>
              <a:gd name="connsiteX23-431" fmla="*/ 4086202 w 9397013"/>
              <a:gd name="connsiteY23-432" fmla="*/ 3287229 h 7291226"/>
              <a:gd name="connsiteX24-433" fmla="*/ 7106560 w 9397013"/>
              <a:gd name="connsiteY24-434" fmla="*/ 7291226 h 7291226"/>
              <a:gd name="connsiteX25-435" fmla="*/ 7934229 w 9397013"/>
              <a:gd name="connsiteY25-436" fmla="*/ 7291226 h 7291226"/>
              <a:gd name="connsiteX26-437" fmla="*/ 7444802 w 9397013"/>
              <a:gd name="connsiteY26-438" fmla="*/ 7291226 h 7291226"/>
              <a:gd name="connsiteX27-439" fmla="*/ 4245793 w 9397013"/>
              <a:gd name="connsiteY27-440" fmla="*/ 3078214 h 7291226"/>
              <a:gd name="connsiteX28-441" fmla="*/ 4490696 w 9397013"/>
              <a:gd name="connsiteY28-442" fmla="*/ 2757469 h 7291226"/>
              <a:gd name="connsiteX29-443" fmla="*/ 7934229 w 9397013"/>
              <a:gd name="connsiteY29-444" fmla="*/ 7291226 h 7291226"/>
              <a:gd name="connsiteX30-445" fmla="*/ 8567691 w 9397013"/>
              <a:gd name="connsiteY30-446" fmla="*/ 7124971 h 7291226"/>
              <a:gd name="connsiteX31-447" fmla="*/ 8150153 w 9397013"/>
              <a:gd name="connsiteY31-448" fmla="*/ 7097262 h 7291226"/>
              <a:gd name="connsiteX32-449" fmla="*/ 4650570 w 9397013"/>
              <a:gd name="connsiteY32-450" fmla="*/ 2548084 h 7291226"/>
              <a:gd name="connsiteX33-451" fmla="*/ 4869244 w 9397013"/>
              <a:gd name="connsiteY33-452" fmla="*/ 2261689 h 7291226"/>
              <a:gd name="connsiteX34-453" fmla="*/ 8567691 w 9397013"/>
              <a:gd name="connsiteY34-454" fmla="*/ 7124971 h 7291226"/>
              <a:gd name="connsiteX35-455" fmla="*/ 9397013 w 9397013"/>
              <a:gd name="connsiteY35-456" fmla="*/ 7134207 h 7291226"/>
              <a:gd name="connsiteX36-457" fmla="*/ 8921338 w 9397013"/>
              <a:gd name="connsiteY36-458" fmla="*/ 7115735 h 7291226"/>
              <a:gd name="connsiteX37-459" fmla="*/ 5045299 w 9397013"/>
              <a:gd name="connsiteY37-460" fmla="*/ 2031113 h 7291226"/>
              <a:gd name="connsiteX38-461" fmla="*/ 5273037 w 9397013"/>
              <a:gd name="connsiteY38-462" fmla="*/ 1732846 h 7291226"/>
              <a:gd name="connsiteX39-463" fmla="*/ 9397013 w 9397013"/>
              <a:gd name="connsiteY39-464" fmla="*/ 7134207 h 7291226"/>
              <a:gd name="connsiteX0-465" fmla="*/ 168369 w 9397013"/>
              <a:gd name="connsiteY0-466" fmla="*/ 4779933 h 7291226"/>
              <a:gd name="connsiteX1-467" fmla="*/ 0 w 9397013"/>
              <a:gd name="connsiteY1-468" fmla="*/ 4409146 h 7291226"/>
              <a:gd name="connsiteX2-469" fmla="*/ 3332806 w 9397013"/>
              <a:gd name="connsiteY2-470" fmla="*/ 0 h 7291226"/>
              <a:gd name="connsiteX3-471" fmla="*/ 3794560 w 9397013"/>
              <a:gd name="connsiteY3-472" fmla="*/ 32861 h 7291226"/>
              <a:gd name="connsiteX4-473" fmla="*/ 168369 w 9397013"/>
              <a:gd name="connsiteY4-474" fmla="*/ 4779933 h 7291226"/>
              <a:gd name="connsiteX5-475" fmla="*/ 488220 w 9397013"/>
              <a:gd name="connsiteY5-476" fmla="*/ 5484315 h 7291226"/>
              <a:gd name="connsiteX6-477" fmla="*/ 299082 w 9397013"/>
              <a:gd name="connsiteY6-478" fmla="*/ 5067791 h 7291226"/>
              <a:gd name="connsiteX7-479" fmla="*/ 4106456 w 9397013"/>
              <a:gd name="connsiteY7-480" fmla="*/ 55057 h 7291226"/>
              <a:gd name="connsiteX8-481" fmla="*/ 4585079 w 9397013"/>
              <a:gd name="connsiteY8-482" fmla="*/ 89119 h 7291226"/>
              <a:gd name="connsiteX9-483" fmla="*/ 488220 w 9397013"/>
              <a:gd name="connsiteY9-484" fmla="*/ 5484315 h 7291226"/>
              <a:gd name="connsiteX10-485" fmla="*/ 779421 w 9397013"/>
              <a:gd name="connsiteY10-486" fmla="*/ 6125606 h 7291226"/>
              <a:gd name="connsiteX11-487" fmla="*/ 618065 w 9397013"/>
              <a:gd name="connsiteY11-488" fmla="*/ 5770263 h 7291226"/>
              <a:gd name="connsiteX12-489" fmla="*/ 4897528 w 9397013"/>
              <a:gd name="connsiteY12-490" fmla="*/ 111354 h 7291226"/>
              <a:gd name="connsiteX13-491" fmla="*/ 5324893 w 9397013"/>
              <a:gd name="connsiteY13-492" fmla="*/ 141768 h 7291226"/>
              <a:gd name="connsiteX14-493" fmla="*/ 779421 w 9397013"/>
              <a:gd name="connsiteY14-494" fmla="*/ 6125606 h 7291226"/>
              <a:gd name="connsiteX15-495" fmla="*/ 1099910 w 9397013"/>
              <a:gd name="connsiteY15-496" fmla="*/ 6831395 h 7291226"/>
              <a:gd name="connsiteX16-497" fmla="*/ 919656 w 9397013"/>
              <a:gd name="connsiteY16-498" fmla="*/ 6434435 h 7291226"/>
              <a:gd name="connsiteX17-499" fmla="*/ 5668965 w 9397013"/>
              <a:gd name="connsiteY17-500" fmla="*/ 166254 h 7291226"/>
              <a:gd name="connsiteX18-501" fmla="*/ 6114044 w 9397013"/>
              <a:gd name="connsiteY18-502" fmla="*/ 197929 h 7291226"/>
              <a:gd name="connsiteX19-503" fmla="*/ 1099910 w 9397013"/>
              <a:gd name="connsiteY19-504" fmla="*/ 6831395 h 7291226"/>
              <a:gd name="connsiteX20-505" fmla="*/ 7106560 w 9397013"/>
              <a:gd name="connsiteY20-506" fmla="*/ 7291226 h 7291226"/>
              <a:gd name="connsiteX21-507" fmla="*/ 6670875 w 9397013"/>
              <a:gd name="connsiteY21-508" fmla="*/ 7291226 h 7291226"/>
              <a:gd name="connsiteX22-509" fmla="*/ 3849932 w 9397013"/>
              <a:gd name="connsiteY22-510" fmla="*/ 3596670 h 7291226"/>
              <a:gd name="connsiteX23-511" fmla="*/ 4086202 w 9397013"/>
              <a:gd name="connsiteY23-512" fmla="*/ 3287229 h 7291226"/>
              <a:gd name="connsiteX24-513" fmla="*/ 7106560 w 9397013"/>
              <a:gd name="connsiteY24-514" fmla="*/ 7291226 h 7291226"/>
              <a:gd name="connsiteX25-515" fmla="*/ 7934229 w 9397013"/>
              <a:gd name="connsiteY25-516" fmla="*/ 7291226 h 7291226"/>
              <a:gd name="connsiteX26-517" fmla="*/ 7444802 w 9397013"/>
              <a:gd name="connsiteY26-518" fmla="*/ 7291226 h 7291226"/>
              <a:gd name="connsiteX27-519" fmla="*/ 4245793 w 9397013"/>
              <a:gd name="connsiteY27-520" fmla="*/ 3078214 h 7291226"/>
              <a:gd name="connsiteX28-521" fmla="*/ 4490696 w 9397013"/>
              <a:gd name="connsiteY28-522" fmla="*/ 2757469 h 7291226"/>
              <a:gd name="connsiteX29-523" fmla="*/ 7934229 w 9397013"/>
              <a:gd name="connsiteY29-524" fmla="*/ 7291226 h 7291226"/>
              <a:gd name="connsiteX30-525" fmla="*/ 8567691 w 9397013"/>
              <a:gd name="connsiteY30-526" fmla="*/ 7124971 h 7291226"/>
              <a:gd name="connsiteX31-527" fmla="*/ 8159389 w 9397013"/>
              <a:gd name="connsiteY31-528" fmla="*/ 7134208 h 7291226"/>
              <a:gd name="connsiteX32-529" fmla="*/ 4650570 w 9397013"/>
              <a:gd name="connsiteY32-530" fmla="*/ 2548084 h 7291226"/>
              <a:gd name="connsiteX33-531" fmla="*/ 4869244 w 9397013"/>
              <a:gd name="connsiteY33-532" fmla="*/ 2261689 h 7291226"/>
              <a:gd name="connsiteX34-533" fmla="*/ 8567691 w 9397013"/>
              <a:gd name="connsiteY34-534" fmla="*/ 7124971 h 7291226"/>
              <a:gd name="connsiteX35-535" fmla="*/ 9397013 w 9397013"/>
              <a:gd name="connsiteY35-536" fmla="*/ 7134207 h 7291226"/>
              <a:gd name="connsiteX36-537" fmla="*/ 8921338 w 9397013"/>
              <a:gd name="connsiteY36-538" fmla="*/ 7115735 h 7291226"/>
              <a:gd name="connsiteX37-539" fmla="*/ 5045299 w 9397013"/>
              <a:gd name="connsiteY37-540" fmla="*/ 2031113 h 7291226"/>
              <a:gd name="connsiteX38-541" fmla="*/ 5273037 w 9397013"/>
              <a:gd name="connsiteY38-542" fmla="*/ 1732846 h 7291226"/>
              <a:gd name="connsiteX39-543" fmla="*/ 9397013 w 9397013"/>
              <a:gd name="connsiteY39-544" fmla="*/ 7134207 h 7291226"/>
              <a:gd name="connsiteX0-545" fmla="*/ 168369 w 9397013"/>
              <a:gd name="connsiteY0-546" fmla="*/ 4779933 h 7291226"/>
              <a:gd name="connsiteX1-547" fmla="*/ 0 w 9397013"/>
              <a:gd name="connsiteY1-548" fmla="*/ 4409146 h 7291226"/>
              <a:gd name="connsiteX2-549" fmla="*/ 3332806 w 9397013"/>
              <a:gd name="connsiteY2-550" fmla="*/ 0 h 7291226"/>
              <a:gd name="connsiteX3-551" fmla="*/ 3794560 w 9397013"/>
              <a:gd name="connsiteY3-552" fmla="*/ 32861 h 7291226"/>
              <a:gd name="connsiteX4-553" fmla="*/ 168369 w 9397013"/>
              <a:gd name="connsiteY4-554" fmla="*/ 4779933 h 7291226"/>
              <a:gd name="connsiteX5-555" fmla="*/ 488220 w 9397013"/>
              <a:gd name="connsiteY5-556" fmla="*/ 5484315 h 7291226"/>
              <a:gd name="connsiteX6-557" fmla="*/ 299082 w 9397013"/>
              <a:gd name="connsiteY6-558" fmla="*/ 5067791 h 7291226"/>
              <a:gd name="connsiteX7-559" fmla="*/ 4106456 w 9397013"/>
              <a:gd name="connsiteY7-560" fmla="*/ 55057 h 7291226"/>
              <a:gd name="connsiteX8-561" fmla="*/ 4585079 w 9397013"/>
              <a:gd name="connsiteY8-562" fmla="*/ 89119 h 7291226"/>
              <a:gd name="connsiteX9-563" fmla="*/ 488220 w 9397013"/>
              <a:gd name="connsiteY9-564" fmla="*/ 5484315 h 7291226"/>
              <a:gd name="connsiteX10-565" fmla="*/ 779421 w 9397013"/>
              <a:gd name="connsiteY10-566" fmla="*/ 6125606 h 7291226"/>
              <a:gd name="connsiteX11-567" fmla="*/ 618065 w 9397013"/>
              <a:gd name="connsiteY11-568" fmla="*/ 5770263 h 7291226"/>
              <a:gd name="connsiteX12-569" fmla="*/ 4897528 w 9397013"/>
              <a:gd name="connsiteY12-570" fmla="*/ 111354 h 7291226"/>
              <a:gd name="connsiteX13-571" fmla="*/ 5324893 w 9397013"/>
              <a:gd name="connsiteY13-572" fmla="*/ 141768 h 7291226"/>
              <a:gd name="connsiteX14-573" fmla="*/ 779421 w 9397013"/>
              <a:gd name="connsiteY14-574" fmla="*/ 6125606 h 7291226"/>
              <a:gd name="connsiteX15-575" fmla="*/ 1099910 w 9397013"/>
              <a:gd name="connsiteY15-576" fmla="*/ 6831395 h 7291226"/>
              <a:gd name="connsiteX16-577" fmla="*/ 919656 w 9397013"/>
              <a:gd name="connsiteY16-578" fmla="*/ 6434435 h 7291226"/>
              <a:gd name="connsiteX17-579" fmla="*/ 5668965 w 9397013"/>
              <a:gd name="connsiteY17-580" fmla="*/ 166254 h 7291226"/>
              <a:gd name="connsiteX18-581" fmla="*/ 6114044 w 9397013"/>
              <a:gd name="connsiteY18-582" fmla="*/ 197929 h 7291226"/>
              <a:gd name="connsiteX19-583" fmla="*/ 1099910 w 9397013"/>
              <a:gd name="connsiteY19-584" fmla="*/ 6831395 h 7291226"/>
              <a:gd name="connsiteX20-585" fmla="*/ 7106560 w 9397013"/>
              <a:gd name="connsiteY20-586" fmla="*/ 7291226 h 7291226"/>
              <a:gd name="connsiteX21-587" fmla="*/ 6670875 w 9397013"/>
              <a:gd name="connsiteY21-588" fmla="*/ 7291226 h 7291226"/>
              <a:gd name="connsiteX22-589" fmla="*/ 3849932 w 9397013"/>
              <a:gd name="connsiteY22-590" fmla="*/ 3596670 h 7291226"/>
              <a:gd name="connsiteX23-591" fmla="*/ 4086202 w 9397013"/>
              <a:gd name="connsiteY23-592" fmla="*/ 3287229 h 7291226"/>
              <a:gd name="connsiteX24-593" fmla="*/ 7106560 w 9397013"/>
              <a:gd name="connsiteY24-594" fmla="*/ 7291226 h 7291226"/>
              <a:gd name="connsiteX25-595" fmla="*/ 7777211 w 9397013"/>
              <a:gd name="connsiteY25-596" fmla="*/ 7124972 h 7291226"/>
              <a:gd name="connsiteX26-597" fmla="*/ 7444802 w 9397013"/>
              <a:gd name="connsiteY26-598" fmla="*/ 7291226 h 7291226"/>
              <a:gd name="connsiteX27-599" fmla="*/ 4245793 w 9397013"/>
              <a:gd name="connsiteY27-600" fmla="*/ 3078214 h 7291226"/>
              <a:gd name="connsiteX28-601" fmla="*/ 4490696 w 9397013"/>
              <a:gd name="connsiteY28-602" fmla="*/ 2757469 h 7291226"/>
              <a:gd name="connsiteX29-603" fmla="*/ 7777211 w 9397013"/>
              <a:gd name="connsiteY29-604" fmla="*/ 7124972 h 7291226"/>
              <a:gd name="connsiteX30-605" fmla="*/ 8567691 w 9397013"/>
              <a:gd name="connsiteY30-606" fmla="*/ 7124971 h 7291226"/>
              <a:gd name="connsiteX31-607" fmla="*/ 8159389 w 9397013"/>
              <a:gd name="connsiteY31-608" fmla="*/ 7134208 h 7291226"/>
              <a:gd name="connsiteX32-609" fmla="*/ 4650570 w 9397013"/>
              <a:gd name="connsiteY32-610" fmla="*/ 2548084 h 7291226"/>
              <a:gd name="connsiteX33-611" fmla="*/ 4869244 w 9397013"/>
              <a:gd name="connsiteY33-612" fmla="*/ 2261689 h 7291226"/>
              <a:gd name="connsiteX34-613" fmla="*/ 8567691 w 9397013"/>
              <a:gd name="connsiteY34-614" fmla="*/ 7124971 h 7291226"/>
              <a:gd name="connsiteX35-615" fmla="*/ 9397013 w 9397013"/>
              <a:gd name="connsiteY35-616" fmla="*/ 7134207 h 7291226"/>
              <a:gd name="connsiteX36-617" fmla="*/ 8921338 w 9397013"/>
              <a:gd name="connsiteY36-618" fmla="*/ 7115735 h 7291226"/>
              <a:gd name="connsiteX37-619" fmla="*/ 5045299 w 9397013"/>
              <a:gd name="connsiteY37-620" fmla="*/ 2031113 h 7291226"/>
              <a:gd name="connsiteX38-621" fmla="*/ 5273037 w 9397013"/>
              <a:gd name="connsiteY38-622" fmla="*/ 1732846 h 7291226"/>
              <a:gd name="connsiteX39-623" fmla="*/ 9397013 w 9397013"/>
              <a:gd name="connsiteY39-624" fmla="*/ 7134207 h 7291226"/>
              <a:gd name="connsiteX0-625" fmla="*/ 168369 w 9397013"/>
              <a:gd name="connsiteY0-626" fmla="*/ 4779933 h 7291226"/>
              <a:gd name="connsiteX1-627" fmla="*/ 0 w 9397013"/>
              <a:gd name="connsiteY1-628" fmla="*/ 4409146 h 7291226"/>
              <a:gd name="connsiteX2-629" fmla="*/ 3332806 w 9397013"/>
              <a:gd name="connsiteY2-630" fmla="*/ 0 h 7291226"/>
              <a:gd name="connsiteX3-631" fmla="*/ 3794560 w 9397013"/>
              <a:gd name="connsiteY3-632" fmla="*/ 32861 h 7291226"/>
              <a:gd name="connsiteX4-633" fmla="*/ 168369 w 9397013"/>
              <a:gd name="connsiteY4-634" fmla="*/ 4779933 h 7291226"/>
              <a:gd name="connsiteX5-635" fmla="*/ 488220 w 9397013"/>
              <a:gd name="connsiteY5-636" fmla="*/ 5484315 h 7291226"/>
              <a:gd name="connsiteX6-637" fmla="*/ 299082 w 9397013"/>
              <a:gd name="connsiteY6-638" fmla="*/ 5067791 h 7291226"/>
              <a:gd name="connsiteX7-639" fmla="*/ 4106456 w 9397013"/>
              <a:gd name="connsiteY7-640" fmla="*/ 55057 h 7291226"/>
              <a:gd name="connsiteX8-641" fmla="*/ 4585079 w 9397013"/>
              <a:gd name="connsiteY8-642" fmla="*/ 89119 h 7291226"/>
              <a:gd name="connsiteX9-643" fmla="*/ 488220 w 9397013"/>
              <a:gd name="connsiteY9-644" fmla="*/ 5484315 h 7291226"/>
              <a:gd name="connsiteX10-645" fmla="*/ 779421 w 9397013"/>
              <a:gd name="connsiteY10-646" fmla="*/ 6125606 h 7291226"/>
              <a:gd name="connsiteX11-647" fmla="*/ 618065 w 9397013"/>
              <a:gd name="connsiteY11-648" fmla="*/ 5770263 h 7291226"/>
              <a:gd name="connsiteX12-649" fmla="*/ 4897528 w 9397013"/>
              <a:gd name="connsiteY12-650" fmla="*/ 111354 h 7291226"/>
              <a:gd name="connsiteX13-651" fmla="*/ 5324893 w 9397013"/>
              <a:gd name="connsiteY13-652" fmla="*/ 141768 h 7291226"/>
              <a:gd name="connsiteX14-653" fmla="*/ 779421 w 9397013"/>
              <a:gd name="connsiteY14-654" fmla="*/ 6125606 h 7291226"/>
              <a:gd name="connsiteX15-655" fmla="*/ 1099910 w 9397013"/>
              <a:gd name="connsiteY15-656" fmla="*/ 6831395 h 7291226"/>
              <a:gd name="connsiteX16-657" fmla="*/ 919656 w 9397013"/>
              <a:gd name="connsiteY16-658" fmla="*/ 6434435 h 7291226"/>
              <a:gd name="connsiteX17-659" fmla="*/ 5668965 w 9397013"/>
              <a:gd name="connsiteY17-660" fmla="*/ 166254 h 7291226"/>
              <a:gd name="connsiteX18-661" fmla="*/ 6114044 w 9397013"/>
              <a:gd name="connsiteY18-662" fmla="*/ 197929 h 7291226"/>
              <a:gd name="connsiteX19-663" fmla="*/ 1099910 w 9397013"/>
              <a:gd name="connsiteY19-664" fmla="*/ 6831395 h 7291226"/>
              <a:gd name="connsiteX20-665" fmla="*/ 7106560 w 9397013"/>
              <a:gd name="connsiteY20-666" fmla="*/ 7291226 h 7291226"/>
              <a:gd name="connsiteX21-667" fmla="*/ 6670875 w 9397013"/>
              <a:gd name="connsiteY21-668" fmla="*/ 7291226 h 7291226"/>
              <a:gd name="connsiteX22-669" fmla="*/ 3849932 w 9397013"/>
              <a:gd name="connsiteY22-670" fmla="*/ 3596670 h 7291226"/>
              <a:gd name="connsiteX23-671" fmla="*/ 4086202 w 9397013"/>
              <a:gd name="connsiteY23-672" fmla="*/ 3287229 h 7291226"/>
              <a:gd name="connsiteX24-673" fmla="*/ 7106560 w 9397013"/>
              <a:gd name="connsiteY24-674" fmla="*/ 7291226 h 7291226"/>
              <a:gd name="connsiteX25-675" fmla="*/ 7777211 w 9397013"/>
              <a:gd name="connsiteY25-676" fmla="*/ 7124972 h 7291226"/>
              <a:gd name="connsiteX26-677" fmla="*/ 7324729 w 9397013"/>
              <a:gd name="connsiteY26-678" fmla="*/ 7124972 h 7291226"/>
              <a:gd name="connsiteX27-679" fmla="*/ 4245793 w 9397013"/>
              <a:gd name="connsiteY27-680" fmla="*/ 3078214 h 7291226"/>
              <a:gd name="connsiteX28-681" fmla="*/ 4490696 w 9397013"/>
              <a:gd name="connsiteY28-682" fmla="*/ 2757469 h 7291226"/>
              <a:gd name="connsiteX29-683" fmla="*/ 7777211 w 9397013"/>
              <a:gd name="connsiteY29-684" fmla="*/ 7124972 h 7291226"/>
              <a:gd name="connsiteX30-685" fmla="*/ 8567691 w 9397013"/>
              <a:gd name="connsiteY30-686" fmla="*/ 7124971 h 7291226"/>
              <a:gd name="connsiteX31-687" fmla="*/ 8159389 w 9397013"/>
              <a:gd name="connsiteY31-688" fmla="*/ 7134208 h 7291226"/>
              <a:gd name="connsiteX32-689" fmla="*/ 4650570 w 9397013"/>
              <a:gd name="connsiteY32-690" fmla="*/ 2548084 h 7291226"/>
              <a:gd name="connsiteX33-691" fmla="*/ 4869244 w 9397013"/>
              <a:gd name="connsiteY33-692" fmla="*/ 2261689 h 7291226"/>
              <a:gd name="connsiteX34-693" fmla="*/ 8567691 w 9397013"/>
              <a:gd name="connsiteY34-694" fmla="*/ 7124971 h 7291226"/>
              <a:gd name="connsiteX35-695" fmla="*/ 9397013 w 9397013"/>
              <a:gd name="connsiteY35-696" fmla="*/ 7134207 h 7291226"/>
              <a:gd name="connsiteX36-697" fmla="*/ 8921338 w 9397013"/>
              <a:gd name="connsiteY36-698" fmla="*/ 7115735 h 7291226"/>
              <a:gd name="connsiteX37-699" fmla="*/ 5045299 w 9397013"/>
              <a:gd name="connsiteY37-700" fmla="*/ 2031113 h 7291226"/>
              <a:gd name="connsiteX38-701" fmla="*/ 5273037 w 9397013"/>
              <a:gd name="connsiteY38-702" fmla="*/ 1732846 h 7291226"/>
              <a:gd name="connsiteX39-703" fmla="*/ 9397013 w 9397013"/>
              <a:gd name="connsiteY39-704" fmla="*/ 7134207 h 7291226"/>
              <a:gd name="connsiteX0-705" fmla="*/ 168369 w 9397013"/>
              <a:gd name="connsiteY0-706" fmla="*/ 4779933 h 7291226"/>
              <a:gd name="connsiteX1-707" fmla="*/ 0 w 9397013"/>
              <a:gd name="connsiteY1-708" fmla="*/ 4409146 h 7291226"/>
              <a:gd name="connsiteX2-709" fmla="*/ 3332806 w 9397013"/>
              <a:gd name="connsiteY2-710" fmla="*/ 0 h 7291226"/>
              <a:gd name="connsiteX3-711" fmla="*/ 3794560 w 9397013"/>
              <a:gd name="connsiteY3-712" fmla="*/ 32861 h 7291226"/>
              <a:gd name="connsiteX4-713" fmla="*/ 168369 w 9397013"/>
              <a:gd name="connsiteY4-714" fmla="*/ 4779933 h 7291226"/>
              <a:gd name="connsiteX5-715" fmla="*/ 488220 w 9397013"/>
              <a:gd name="connsiteY5-716" fmla="*/ 5484315 h 7291226"/>
              <a:gd name="connsiteX6-717" fmla="*/ 299082 w 9397013"/>
              <a:gd name="connsiteY6-718" fmla="*/ 5067791 h 7291226"/>
              <a:gd name="connsiteX7-719" fmla="*/ 4106456 w 9397013"/>
              <a:gd name="connsiteY7-720" fmla="*/ 55057 h 7291226"/>
              <a:gd name="connsiteX8-721" fmla="*/ 4585079 w 9397013"/>
              <a:gd name="connsiteY8-722" fmla="*/ 89119 h 7291226"/>
              <a:gd name="connsiteX9-723" fmla="*/ 488220 w 9397013"/>
              <a:gd name="connsiteY9-724" fmla="*/ 5484315 h 7291226"/>
              <a:gd name="connsiteX10-725" fmla="*/ 779421 w 9397013"/>
              <a:gd name="connsiteY10-726" fmla="*/ 6125606 h 7291226"/>
              <a:gd name="connsiteX11-727" fmla="*/ 618065 w 9397013"/>
              <a:gd name="connsiteY11-728" fmla="*/ 5770263 h 7291226"/>
              <a:gd name="connsiteX12-729" fmla="*/ 4897528 w 9397013"/>
              <a:gd name="connsiteY12-730" fmla="*/ 111354 h 7291226"/>
              <a:gd name="connsiteX13-731" fmla="*/ 5324893 w 9397013"/>
              <a:gd name="connsiteY13-732" fmla="*/ 141768 h 7291226"/>
              <a:gd name="connsiteX14-733" fmla="*/ 779421 w 9397013"/>
              <a:gd name="connsiteY14-734" fmla="*/ 6125606 h 7291226"/>
              <a:gd name="connsiteX15-735" fmla="*/ 1099910 w 9397013"/>
              <a:gd name="connsiteY15-736" fmla="*/ 6831395 h 7291226"/>
              <a:gd name="connsiteX16-737" fmla="*/ 919656 w 9397013"/>
              <a:gd name="connsiteY16-738" fmla="*/ 6434435 h 7291226"/>
              <a:gd name="connsiteX17-739" fmla="*/ 5668965 w 9397013"/>
              <a:gd name="connsiteY17-740" fmla="*/ 166254 h 7291226"/>
              <a:gd name="connsiteX18-741" fmla="*/ 6114044 w 9397013"/>
              <a:gd name="connsiteY18-742" fmla="*/ 197929 h 7291226"/>
              <a:gd name="connsiteX19-743" fmla="*/ 1099910 w 9397013"/>
              <a:gd name="connsiteY19-744" fmla="*/ 6831395 h 7291226"/>
              <a:gd name="connsiteX20-745" fmla="*/ 6968015 w 9397013"/>
              <a:gd name="connsiteY20-746" fmla="*/ 7143444 h 7291226"/>
              <a:gd name="connsiteX21-747" fmla="*/ 6670875 w 9397013"/>
              <a:gd name="connsiteY21-748" fmla="*/ 7291226 h 7291226"/>
              <a:gd name="connsiteX22-749" fmla="*/ 3849932 w 9397013"/>
              <a:gd name="connsiteY22-750" fmla="*/ 3596670 h 7291226"/>
              <a:gd name="connsiteX23-751" fmla="*/ 4086202 w 9397013"/>
              <a:gd name="connsiteY23-752" fmla="*/ 3287229 h 7291226"/>
              <a:gd name="connsiteX24-753" fmla="*/ 6968015 w 9397013"/>
              <a:gd name="connsiteY24-754" fmla="*/ 7143444 h 7291226"/>
              <a:gd name="connsiteX25-755" fmla="*/ 7777211 w 9397013"/>
              <a:gd name="connsiteY25-756" fmla="*/ 7124972 h 7291226"/>
              <a:gd name="connsiteX26-757" fmla="*/ 7324729 w 9397013"/>
              <a:gd name="connsiteY26-758" fmla="*/ 7124972 h 7291226"/>
              <a:gd name="connsiteX27-759" fmla="*/ 4245793 w 9397013"/>
              <a:gd name="connsiteY27-760" fmla="*/ 3078214 h 7291226"/>
              <a:gd name="connsiteX28-761" fmla="*/ 4490696 w 9397013"/>
              <a:gd name="connsiteY28-762" fmla="*/ 2757469 h 7291226"/>
              <a:gd name="connsiteX29-763" fmla="*/ 7777211 w 9397013"/>
              <a:gd name="connsiteY29-764" fmla="*/ 7124972 h 7291226"/>
              <a:gd name="connsiteX30-765" fmla="*/ 8567691 w 9397013"/>
              <a:gd name="connsiteY30-766" fmla="*/ 7124971 h 7291226"/>
              <a:gd name="connsiteX31-767" fmla="*/ 8159389 w 9397013"/>
              <a:gd name="connsiteY31-768" fmla="*/ 7134208 h 7291226"/>
              <a:gd name="connsiteX32-769" fmla="*/ 4650570 w 9397013"/>
              <a:gd name="connsiteY32-770" fmla="*/ 2548084 h 7291226"/>
              <a:gd name="connsiteX33-771" fmla="*/ 4869244 w 9397013"/>
              <a:gd name="connsiteY33-772" fmla="*/ 2261689 h 7291226"/>
              <a:gd name="connsiteX34-773" fmla="*/ 8567691 w 9397013"/>
              <a:gd name="connsiteY34-774" fmla="*/ 7124971 h 7291226"/>
              <a:gd name="connsiteX35-775" fmla="*/ 9397013 w 9397013"/>
              <a:gd name="connsiteY35-776" fmla="*/ 7134207 h 7291226"/>
              <a:gd name="connsiteX36-777" fmla="*/ 8921338 w 9397013"/>
              <a:gd name="connsiteY36-778" fmla="*/ 7115735 h 7291226"/>
              <a:gd name="connsiteX37-779" fmla="*/ 5045299 w 9397013"/>
              <a:gd name="connsiteY37-780" fmla="*/ 2031113 h 7291226"/>
              <a:gd name="connsiteX38-781" fmla="*/ 5273037 w 9397013"/>
              <a:gd name="connsiteY38-782" fmla="*/ 1732846 h 7291226"/>
              <a:gd name="connsiteX39-783" fmla="*/ 9397013 w 9397013"/>
              <a:gd name="connsiteY39-784" fmla="*/ 7134207 h 7291226"/>
              <a:gd name="connsiteX0-785" fmla="*/ 168369 w 9397013"/>
              <a:gd name="connsiteY0-786" fmla="*/ 4779933 h 7143444"/>
              <a:gd name="connsiteX1-787" fmla="*/ 0 w 9397013"/>
              <a:gd name="connsiteY1-788" fmla="*/ 4409146 h 7143444"/>
              <a:gd name="connsiteX2-789" fmla="*/ 3332806 w 9397013"/>
              <a:gd name="connsiteY2-790" fmla="*/ 0 h 7143444"/>
              <a:gd name="connsiteX3-791" fmla="*/ 3794560 w 9397013"/>
              <a:gd name="connsiteY3-792" fmla="*/ 32861 h 7143444"/>
              <a:gd name="connsiteX4-793" fmla="*/ 168369 w 9397013"/>
              <a:gd name="connsiteY4-794" fmla="*/ 4779933 h 7143444"/>
              <a:gd name="connsiteX5-795" fmla="*/ 488220 w 9397013"/>
              <a:gd name="connsiteY5-796" fmla="*/ 5484315 h 7143444"/>
              <a:gd name="connsiteX6-797" fmla="*/ 299082 w 9397013"/>
              <a:gd name="connsiteY6-798" fmla="*/ 5067791 h 7143444"/>
              <a:gd name="connsiteX7-799" fmla="*/ 4106456 w 9397013"/>
              <a:gd name="connsiteY7-800" fmla="*/ 55057 h 7143444"/>
              <a:gd name="connsiteX8-801" fmla="*/ 4585079 w 9397013"/>
              <a:gd name="connsiteY8-802" fmla="*/ 89119 h 7143444"/>
              <a:gd name="connsiteX9-803" fmla="*/ 488220 w 9397013"/>
              <a:gd name="connsiteY9-804" fmla="*/ 5484315 h 7143444"/>
              <a:gd name="connsiteX10-805" fmla="*/ 779421 w 9397013"/>
              <a:gd name="connsiteY10-806" fmla="*/ 6125606 h 7143444"/>
              <a:gd name="connsiteX11-807" fmla="*/ 618065 w 9397013"/>
              <a:gd name="connsiteY11-808" fmla="*/ 5770263 h 7143444"/>
              <a:gd name="connsiteX12-809" fmla="*/ 4897528 w 9397013"/>
              <a:gd name="connsiteY12-810" fmla="*/ 111354 h 7143444"/>
              <a:gd name="connsiteX13-811" fmla="*/ 5324893 w 9397013"/>
              <a:gd name="connsiteY13-812" fmla="*/ 141768 h 7143444"/>
              <a:gd name="connsiteX14-813" fmla="*/ 779421 w 9397013"/>
              <a:gd name="connsiteY14-814" fmla="*/ 6125606 h 7143444"/>
              <a:gd name="connsiteX15-815" fmla="*/ 1099910 w 9397013"/>
              <a:gd name="connsiteY15-816" fmla="*/ 6831395 h 7143444"/>
              <a:gd name="connsiteX16-817" fmla="*/ 919656 w 9397013"/>
              <a:gd name="connsiteY16-818" fmla="*/ 6434435 h 7143444"/>
              <a:gd name="connsiteX17-819" fmla="*/ 5668965 w 9397013"/>
              <a:gd name="connsiteY17-820" fmla="*/ 166254 h 7143444"/>
              <a:gd name="connsiteX18-821" fmla="*/ 6114044 w 9397013"/>
              <a:gd name="connsiteY18-822" fmla="*/ 197929 h 7143444"/>
              <a:gd name="connsiteX19-823" fmla="*/ 1099910 w 9397013"/>
              <a:gd name="connsiteY19-824" fmla="*/ 6831395 h 7143444"/>
              <a:gd name="connsiteX20-825" fmla="*/ 6968015 w 9397013"/>
              <a:gd name="connsiteY20-826" fmla="*/ 7143444 h 7143444"/>
              <a:gd name="connsiteX21-827" fmla="*/ 6550802 w 9397013"/>
              <a:gd name="connsiteY21-828" fmla="*/ 7143444 h 7143444"/>
              <a:gd name="connsiteX22-829" fmla="*/ 3849932 w 9397013"/>
              <a:gd name="connsiteY22-830" fmla="*/ 3596670 h 7143444"/>
              <a:gd name="connsiteX23-831" fmla="*/ 4086202 w 9397013"/>
              <a:gd name="connsiteY23-832" fmla="*/ 3287229 h 7143444"/>
              <a:gd name="connsiteX24-833" fmla="*/ 6968015 w 9397013"/>
              <a:gd name="connsiteY24-834" fmla="*/ 7143444 h 7143444"/>
              <a:gd name="connsiteX25-835" fmla="*/ 7777211 w 9397013"/>
              <a:gd name="connsiteY25-836" fmla="*/ 7124972 h 7143444"/>
              <a:gd name="connsiteX26-837" fmla="*/ 7324729 w 9397013"/>
              <a:gd name="connsiteY26-838" fmla="*/ 7124972 h 7143444"/>
              <a:gd name="connsiteX27-839" fmla="*/ 4245793 w 9397013"/>
              <a:gd name="connsiteY27-840" fmla="*/ 3078214 h 7143444"/>
              <a:gd name="connsiteX28-841" fmla="*/ 4490696 w 9397013"/>
              <a:gd name="connsiteY28-842" fmla="*/ 2757469 h 7143444"/>
              <a:gd name="connsiteX29-843" fmla="*/ 7777211 w 9397013"/>
              <a:gd name="connsiteY29-844" fmla="*/ 7124972 h 7143444"/>
              <a:gd name="connsiteX30-845" fmla="*/ 8567691 w 9397013"/>
              <a:gd name="connsiteY30-846" fmla="*/ 7124971 h 7143444"/>
              <a:gd name="connsiteX31-847" fmla="*/ 8159389 w 9397013"/>
              <a:gd name="connsiteY31-848" fmla="*/ 7134208 h 7143444"/>
              <a:gd name="connsiteX32-849" fmla="*/ 4650570 w 9397013"/>
              <a:gd name="connsiteY32-850" fmla="*/ 2548084 h 7143444"/>
              <a:gd name="connsiteX33-851" fmla="*/ 4869244 w 9397013"/>
              <a:gd name="connsiteY33-852" fmla="*/ 2261689 h 7143444"/>
              <a:gd name="connsiteX34-853" fmla="*/ 8567691 w 9397013"/>
              <a:gd name="connsiteY34-854" fmla="*/ 7124971 h 7143444"/>
              <a:gd name="connsiteX35-855" fmla="*/ 9397013 w 9397013"/>
              <a:gd name="connsiteY35-856" fmla="*/ 7134207 h 7143444"/>
              <a:gd name="connsiteX36-857" fmla="*/ 8921338 w 9397013"/>
              <a:gd name="connsiteY36-858" fmla="*/ 7115735 h 7143444"/>
              <a:gd name="connsiteX37-859" fmla="*/ 5045299 w 9397013"/>
              <a:gd name="connsiteY37-860" fmla="*/ 2031113 h 7143444"/>
              <a:gd name="connsiteX38-861" fmla="*/ 5273037 w 9397013"/>
              <a:gd name="connsiteY38-862" fmla="*/ 1732846 h 7143444"/>
              <a:gd name="connsiteX39-863" fmla="*/ 9397013 w 9397013"/>
              <a:gd name="connsiteY39-864" fmla="*/ 7134207 h 7143444"/>
              <a:gd name="connsiteX0-865" fmla="*/ 168369 w 9397013"/>
              <a:gd name="connsiteY0-866" fmla="*/ 4779933 h 7143444"/>
              <a:gd name="connsiteX1-867" fmla="*/ 0 w 9397013"/>
              <a:gd name="connsiteY1-868" fmla="*/ 4409146 h 7143444"/>
              <a:gd name="connsiteX2-869" fmla="*/ 3332806 w 9397013"/>
              <a:gd name="connsiteY2-870" fmla="*/ 0 h 7143444"/>
              <a:gd name="connsiteX3-871" fmla="*/ 3794560 w 9397013"/>
              <a:gd name="connsiteY3-872" fmla="*/ 32861 h 7143444"/>
              <a:gd name="connsiteX4-873" fmla="*/ 168369 w 9397013"/>
              <a:gd name="connsiteY4-874" fmla="*/ 4779933 h 7143444"/>
              <a:gd name="connsiteX5-875" fmla="*/ 488220 w 9397013"/>
              <a:gd name="connsiteY5-876" fmla="*/ 5484315 h 7143444"/>
              <a:gd name="connsiteX6-877" fmla="*/ 299082 w 9397013"/>
              <a:gd name="connsiteY6-878" fmla="*/ 5067791 h 7143444"/>
              <a:gd name="connsiteX7-879" fmla="*/ 4106456 w 9397013"/>
              <a:gd name="connsiteY7-880" fmla="*/ 55057 h 7143444"/>
              <a:gd name="connsiteX8-881" fmla="*/ 4585079 w 9397013"/>
              <a:gd name="connsiteY8-882" fmla="*/ 89119 h 7143444"/>
              <a:gd name="connsiteX9-883" fmla="*/ 488220 w 9397013"/>
              <a:gd name="connsiteY9-884" fmla="*/ 5484315 h 7143444"/>
              <a:gd name="connsiteX10-885" fmla="*/ 779421 w 9397013"/>
              <a:gd name="connsiteY10-886" fmla="*/ 6125606 h 7143444"/>
              <a:gd name="connsiteX11-887" fmla="*/ 618065 w 9397013"/>
              <a:gd name="connsiteY11-888" fmla="*/ 5770263 h 7143444"/>
              <a:gd name="connsiteX12-889" fmla="*/ 4897528 w 9397013"/>
              <a:gd name="connsiteY12-890" fmla="*/ 111354 h 7143444"/>
              <a:gd name="connsiteX13-891" fmla="*/ 5324893 w 9397013"/>
              <a:gd name="connsiteY13-892" fmla="*/ 141768 h 7143444"/>
              <a:gd name="connsiteX14-893" fmla="*/ 779421 w 9397013"/>
              <a:gd name="connsiteY14-894" fmla="*/ 6125606 h 7143444"/>
              <a:gd name="connsiteX15-895" fmla="*/ 1099910 w 9397013"/>
              <a:gd name="connsiteY15-896" fmla="*/ 6831395 h 7143444"/>
              <a:gd name="connsiteX16-897" fmla="*/ 919656 w 9397013"/>
              <a:gd name="connsiteY16-898" fmla="*/ 6434435 h 7143444"/>
              <a:gd name="connsiteX17-899" fmla="*/ 5668965 w 9397013"/>
              <a:gd name="connsiteY17-900" fmla="*/ 166254 h 7143444"/>
              <a:gd name="connsiteX18-901" fmla="*/ 6114044 w 9397013"/>
              <a:gd name="connsiteY18-902" fmla="*/ 197929 h 7143444"/>
              <a:gd name="connsiteX19-903" fmla="*/ 1099910 w 9397013"/>
              <a:gd name="connsiteY19-904" fmla="*/ 6831395 h 7143444"/>
              <a:gd name="connsiteX20-905" fmla="*/ 6958778 w 9397013"/>
              <a:gd name="connsiteY20-906" fmla="*/ 7124971 h 7143444"/>
              <a:gd name="connsiteX21-907" fmla="*/ 6550802 w 9397013"/>
              <a:gd name="connsiteY21-908" fmla="*/ 7143444 h 7143444"/>
              <a:gd name="connsiteX22-909" fmla="*/ 3849932 w 9397013"/>
              <a:gd name="connsiteY22-910" fmla="*/ 3596670 h 7143444"/>
              <a:gd name="connsiteX23-911" fmla="*/ 4086202 w 9397013"/>
              <a:gd name="connsiteY23-912" fmla="*/ 3287229 h 7143444"/>
              <a:gd name="connsiteX24-913" fmla="*/ 6958778 w 9397013"/>
              <a:gd name="connsiteY24-914" fmla="*/ 7124971 h 7143444"/>
              <a:gd name="connsiteX25-915" fmla="*/ 7777211 w 9397013"/>
              <a:gd name="connsiteY25-916" fmla="*/ 7124972 h 7143444"/>
              <a:gd name="connsiteX26-917" fmla="*/ 7324729 w 9397013"/>
              <a:gd name="connsiteY26-918" fmla="*/ 7124972 h 7143444"/>
              <a:gd name="connsiteX27-919" fmla="*/ 4245793 w 9397013"/>
              <a:gd name="connsiteY27-920" fmla="*/ 3078214 h 7143444"/>
              <a:gd name="connsiteX28-921" fmla="*/ 4490696 w 9397013"/>
              <a:gd name="connsiteY28-922" fmla="*/ 2757469 h 7143444"/>
              <a:gd name="connsiteX29-923" fmla="*/ 7777211 w 9397013"/>
              <a:gd name="connsiteY29-924" fmla="*/ 7124972 h 7143444"/>
              <a:gd name="connsiteX30-925" fmla="*/ 8567691 w 9397013"/>
              <a:gd name="connsiteY30-926" fmla="*/ 7124971 h 7143444"/>
              <a:gd name="connsiteX31-927" fmla="*/ 8159389 w 9397013"/>
              <a:gd name="connsiteY31-928" fmla="*/ 7134208 h 7143444"/>
              <a:gd name="connsiteX32-929" fmla="*/ 4650570 w 9397013"/>
              <a:gd name="connsiteY32-930" fmla="*/ 2548084 h 7143444"/>
              <a:gd name="connsiteX33-931" fmla="*/ 4869244 w 9397013"/>
              <a:gd name="connsiteY33-932" fmla="*/ 2261689 h 7143444"/>
              <a:gd name="connsiteX34-933" fmla="*/ 8567691 w 9397013"/>
              <a:gd name="connsiteY34-934" fmla="*/ 7124971 h 7143444"/>
              <a:gd name="connsiteX35-935" fmla="*/ 9397013 w 9397013"/>
              <a:gd name="connsiteY35-936" fmla="*/ 7134207 h 7143444"/>
              <a:gd name="connsiteX36-937" fmla="*/ 8921338 w 9397013"/>
              <a:gd name="connsiteY36-938" fmla="*/ 7115735 h 7143444"/>
              <a:gd name="connsiteX37-939" fmla="*/ 5045299 w 9397013"/>
              <a:gd name="connsiteY37-940" fmla="*/ 2031113 h 7143444"/>
              <a:gd name="connsiteX38-941" fmla="*/ 5273037 w 9397013"/>
              <a:gd name="connsiteY38-942" fmla="*/ 1732846 h 7143444"/>
              <a:gd name="connsiteX39-943" fmla="*/ 9397013 w 9397013"/>
              <a:gd name="connsiteY39-944" fmla="*/ 7134207 h 7143444"/>
              <a:gd name="connsiteX0-945" fmla="*/ 168369 w 9397013"/>
              <a:gd name="connsiteY0-946" fmla="*/ 4779933 h 7134208"/>
              <a:gd name="connsiteX1-947" fmla="*/ 0 w 9397013"/>
              <a:gd name="connsiteY1-948" fmla="*/ 4409146 h 7134208"/>
              <a:gd name="connsiteX2-949" fmla="*/ 3332806 w 9397013"/>
              <a:gd name="connsiteY2-950" fmla="*/ 0 h 7134208"/>
              <a:gd name="connsiteX3-951" fmla="*/ 3794560 w 9397013"/>
              <a:gd name="connsiteY3-952" fmla="*/ 32861 h 7134208"/>
              <a:gd name="connsiteX4-953" fmla="*/ 168369 w 9397013"/>
              <a:gd name="connsiteY4-954" fmla="*/ 4779933 h 7134208"/>
              <a:gd name="connsiteX5-955" fmla="*/ 488220 w 9397013"/>
              <a:gd name="connsiteY5-956" fmla="*/ 5484315 h 7134208"/>
              <a:gd name="connsiteX6-957" fmla="*/ 299082 w 9397013"/>
              <a:gd name="connsiteY6-958" fmla="*/ 5067791 h 7134208"/>
              <a:gd name="connsiteX7-959" fmla="*/ 4106456 w 9397013"/>
              <a:gd name="connsiteY7-960" fmla="*/ 55057 h 7134208"/>
              <a:gd name="connsiteX8-961" fmla="*/ 4585079 w 9397013"/>
              <a:gd name="connsiteY8-962" fmla="*/ 89119 h 7134208"/>
              <a:gd name="connsiteX9-963" fmla="*/ 488220 w 9397013"/>
              <a:gd name="connsiteY9-964" fmla="*/ 5484315 h 7134208"/>
              <a:gd name="connsiteX10-965" fmla="*/ 779421 w 9397013"/>
              <a:gd name="connsiteY10-966" fmla="*/ 6125606 h 7134208"/>
              <a:gd name="connsiteX11-967" fmla="*/ 618065 w 9397013"/>
              <a:gd name="connsiteY11-968" fmla="*/ 5770263 h 7134208"/>
              <a:gd name="connsiteX12-969" fmla="*/ 4897528 w 9397013"/>
              <a:gd name="connsiteY12-970" fmla="*/ 111354 h 7134208"/>
              <a:gd name="connsiteX13-971" fmla="*/ 5324893 w 9397013"/>
              <a:gd name="connsiteY13-972" fmla="*/ 141768 h 7134208"/>
              <a:gd name="connsiteX14-973" fmla="*/ 779421 w 9397013"/>
              <a:gd name="connsiteY14-974" fmla="*/ 6125606 h 7134208"/>
              <a:gd name="connsiteX15-975" fmla="*/ 1099910 w 9397013"/>
              <a:gd name="connsiteY15-976" fmla="*/ 6831395 h 7134208"/>
              <a:gd name="connsiteX16-977" fmla="*/ 919656 w 9397013"/>
              <a:gd name="connsiteY16-978" fmla="*/ 6434435 h 7134208"/>
              <a:gd name="connsiteX17-979" fmla="*/ 5668965 w 9397013"/>
              <a:gd name="connsiteY17-980" fmla="*/ 166254 h 7134208"/>
              <a:gd name="connsiteX18-981" fmla="*/ 6114044 w 9397013"/>
              <a:gd name="connsiteY18-982" fmla="*/ 197929 h 7134208"/>
              <a:gd name="connsiteX19-983" fmla="*/ 1099910 w 9397013"/>
              <a:gd name="connsiteY19-984" fmla="*/ 6831395 h 7134208"/>
              <a:gd name="connsiteX20-985" fmla="*/ 6958778 w 9397013"/>
              <a:gd name="connsiteY20-986" fmla="*/ 7124971 h 7134208"/>
              <a:gd name="connsiteX21-987" fmla="*/ 6541566 w 9397013"/>
              <a:gd name="connsiteY21-988" fmla="*/ 7115735 h 7134208"/>
              <a:gd name="connsiteX22-989" fmla="*/ 3849932 w 9397013"/>
              <a:gd name="connsiteY22-990" fmla="*/ 3596670 h 7134208"/>
              <a:gd name="connsiteX23-991" fmla="*/ 4086202 w 9397013"/>
              <a:gd name="connsiteY23-992" fmla="*/ 3287229 h 7134208"/>
              <a:gd name="connsiteX24-993" fmla="*/ 6958778 w 9397013"/>
              <a:gd name="connsiteY24-994" fmla="*/ 7124971 h 7134208"/>
              <a:gd name="connsiteX25-995" fmla="*/ 7777211 w 9397013"/>
              <a:gd name="connsiteY25-996" fmla="*/ 7124972 h 7134208"/>
              <a:gd name="connsiteX26-997" fmla="*/ 7324729 w 9397013"/>
              <a:gd name="connsiteY26-998" fmla="*/ 7124972 h 7134208"/>
              <a:gd name="connsiteX27-999" fmla="*/ 4245793 w 9397013"/>
              <a:gd name="connsiteY27-1000" fmla="*/ 3078214 h 7134208"/>
              <a:gd name="connsiteX28-1001" fmla="*/ 4490696 w 9397013"/>
              <a:gd name="connsiteY28-1002" fmla="*/ 2757469 h 7134208"/>
              <a:gd name="connsiteX29-1003" fmla="*/ 7777211 w 9397013"/>
              <a:gd name="connsiteY29-1004" fmla="*/ 7124972 h 7134208"/>
              <a:gd name="connsiteX30-1005" fmla="*/ 8567691 w 9397013"/>
              <a:gd name="connsiteY30-1006" fmla="*/ 7124971 h 7134208"/>
              <a:gd name="connsiteX31-1007" fmla="*/ 8159389 w 9397013"/>
              <a:gd name="connsiteY31-1008" fmla="*/ 7134208 h 7134208"/>
              <a:gd name="connsiteX32-1009" fmla="*/ 4650570 w 9397013"/>
              <a:gd name="connsiteY32-1010" fmla="*/ 2548084 h 7134208"/>
              <a:gd name="connsiteX33-1011" fmla="*/ 4869244 w 9397013"/>
              <a:gd name="connsiteY33-1012" fmla="*/ 2261689 h 7134208"/>
              <a:gd name="connsiteX34-1013" fmla="*/ 8567691 w 9397013"/>
              <a:gd name="connsiteY34-1014" fmla="*/ 7124971 h 7134208"/>
              <a:gd name="connsiteX35-1015" fmla="*/ 9397013 w 9397013"/>
              <a:gd name="connsiteY35-1016" fmla="*/ 7134207 h 7134208"/>
              <a:gd name="connsiteX36-1017" fmla="*/ 8921338 w 9397013"/>
              <a:gd name="connsiteY36-1018" fmla="*/ 7115735 h 7134208"/>
              <a:gd name="connsiteX37-1019" fmla="*/ 5045299 w 9397013"/>
              <a:gd name="connsiteY37-1020" fmla="*/ 2031113 h 7134208"/>
              <a:gd name="connsiteX38-1021" fmla="*/ 5273037 w 9397013"/>
              <a:gd name="connsiteY38-1022" fmla="*/ 1732846 h 7134208"/>
              <a:gd name="connsiteX39-1023" fmla="*/ 9397013 w 9397013"/>
              <a:gd name="connsiteY39-1024" fmla="*/ 7134207 h 7134208"/>
              <a:gd name="connsiteX0-1025" fmla="*/ 168369 w 9397013"/>
              <a:gd name="connsiteY0-1026" fmla="*/ 4779933 h 7134208"/>
              <a:gd name="connsiteX1-1027" fmla="*/ 0 w 9397013"/>
              <a:gd name="connsiteY1-1028" fmla="*/ 4409146 h 7134208"/>
              <a:gd name="connsiteX2-1029" fmla="*/ 3332806 w 9397013"/>
              <a:gd name="connsiteY2-1030" fmla="*/ 0 h 7134208"/>
              <a:gd name="connsiteX3-1031" fmla="*/ 3794560 w 9397013"/>
              <a:gd name="connsiteY3-1032" fmla="*/ 32861 h 7134208"/>
              <a:gd name="connsiteX4-1033" fmla="*/ 168369 w 9397013"/>
              <a:gd name="connsiteY4-1034" fmla="*/ 4779933 h 7134208"/>
              <a:gd name="connsiteX5-1035" fmla="*/ 488220 w 9397013"/>
              <a:gd name="connsiteY5-1036" fmla="*/ 5484315 h 7134208"/>
              <a:gd name="connsiteX6-1037" fmla="*/ 299082 w 9397013"/>
              <a:gd name="connsiteY6-1038" fmla="*/ 5067791 h 7134208"/>
              <a:gd name="connsiteX7-1039" fmla="*/ 4106456 w 9397013"/>
              <a:gd name="connsiteY7-1040" fmla="*/ 55057 h 7134208"/>
              <a:gd name="connsiteX8-1041" fmla="*/ 4585079 w 9397013"/>
              <a:gd name="connsiteY8-1042" fmla="*/ 89119 h 7134208"/>
              <a:gd name="connsiteX9-1043" fmla="*/ 488220 w 9397013"/>
              <a:gd name="connsiteY9-1044" fmla="*/ 5484315 h 7134208"/>
              <a:gd name="connsiteX10-1045" fmla="*/ 779421 w 9397013"/>
              <a:gd name="connsiteY10-1046" fmla="*/ 6125606 h 7134208"/>
              <a:gd name="connsiteX11-1047" fmla="*/ 618065 w 9397013"/>
              <a:gd name="connsiteY11-1048" fmla="*/ 5770263 h 7134208"/>
              <a:gd name="connsiteX12-1049" fmla="*/ 4897528 w 9397013"/>
              <a:gd name="connsiteY12-1050" fmla="*/ 111354 h 7134208"/>
              <a:gd name="connsiteX13-1051" fmla="*/ 5324893 w 9397013"/>
              <a:gd name="connsiteY13-1052" fmla="*/ 141768 h 7134208"/>
              <a:gd name="connsiteX14-1053" fmla="*/ 779421 w 9397013"/>
              <a:gd name="connsiteY14-1054" fmla="*/ 6125606 h 7134208"/>
              <a:gd name="connsiteX15-1055" fmla="*/ 1099910 w 9397013"/>
              <a:gd name="connsiteY15-1056" fmla="*/ 6831395 h 7134208"/>
              <a:gd name="connsiteX16-1057" fmla="*/ 919656 w 9397013"/>
              <a:gd name="connsiteY16-1058" fmla="*/ 6434435 h 7134208"/>
              <a:gd name="connsiteX17-1059" fmla="*/ 5668965 w 9397013"/>
              <a:gd name="connsiteY17-1060" fmla="*/ 166254 h 7134208"/>
              <a:gd name="connsiteX18-1061" fmla="*/ 6114044 w 9397013"/>
              <a:gd name="connsiteY18-1062" fmla="*/ 197929 h 7134208"/>
              <a:gd name="connsiteX19-1063" fmla="*/ 1099910 w 9397013"/>
              <a:gd name="connsiteY19-1064" fmla="*/ 6831395 h 7134208"/>
              <a:gd name="connsiteX20-1065" fmla="*/ 6958778 w 9397013"/>
              <a:gd name="connsiteY20-1066" fmla="*/ 7124971 h 7134208"/>
              <a:gd name="connsiteX21-1067" fmla="*/ 6560038 w 9397013"/>
              <a:gd name="connsiteY21-1068" fmla="*/ 7134207 h 7134208"/>
              <a:gd name="connsiteX22-1069" fmla="*/ 3849932 w 9397013"/>
              <a:gd name="connsiteY22-1070" fmla="*/ 3596670 h 7134208"/>
              <a:gd name="connsiteX23-1071" fmla="*/ 4086202 w 9397013"/>
              <a:gd name="connsiteY23-1072" fmla="*/ 3287229 h 7134208"/>
              <a:gd name="connsiteX24-1073" fmla="*/ 6958778 w 9397013"/>
              <a:gd name="connsiteY24-1074" fmla="*/ 7124971 h 7134208"/>
              <a:gd name="connsiteX25-1075" fmla="*/ 7777211 w 9397013"/>
              <a:gd name="connsiteY25-1076" fmla="*/ 7124972 h 7134208"/>
              <a:gd name="connsiteX26-1077" fmla="*/ 7324729 w 9397013"/>
              <a:gd name="connsiteY26-1078" fmla="*/ 7124972 h 7134208"/>
              <a:gd name="connsiteX27-1079" fmla="*/ 4245793 w 9397013"/>
              <a:gd name="connsiteY27-1080" fmla="*/ 3078214 h 7134208"/>
              <a:gd name="connsiteX28-1081" fmla="*/ 4490696 w 9397013"/>
              <a:gd name="connsiteY28-1082" fmla="*/ 2757469 h 7134208"/>
              <a:gd name="connsiteX29-1083" fmla="*/ 7777211 w 9397013"/>
              <a:gd name="connsiteY29-1084" fmla="*/ 7124972 h 7134208"/>
              <a:gd name="connsiteX30-1085" fmla="*/ 8567691 w 9397013"/>
              <a:gd name="connsiteY30-1086" fmla="*/ 7124971 h 7134208"/>
              <a:gd name="connsiteX31-1087" fmla="*/ 8159389 w 9397013"/>
              <a:gd name="connsiteY31-1088" fmla="*/ 7134208 h 7134208"/>
              <a:gd name="connsiteX32-1089" fmla="*/ 4650570 w 9397013"/>
              <a:gd name="connsiteY32-1090" fmla="*/ 2548084 h 7134208"/>
              <a:gd name="connsiteX33-1091" fmla="*/ 4869244 w 9397013"/>
              <a:gd name="connsiteY33-1092" fmla="*/ 2261689 h 7134208"/>
              <a:gd name="connsiteX34-1093" fmla="*/ 8567691 w 9397013"/>
              <a:gd name="connsiteY34-1094" fmla="*/ 7124971 h 7134208"/>
              <a:gd name="connsiteX35-1095" fmla="*/ 9397013 w 9397013"/>
              <a:gd name="connsiteY35-1096" fmla="*/ 7134207 h 7134208"/>
              <a:gd name="connsiteX36-1097" fmla="*/ 8921338 w 9397013"/>
              <a:gd name="connsiteY36-1098" fmla="*/ 7115735 h 7134208"/>
              <a:gd name="connsiteX37-1099" fmla="*/ 5045299 w 9397013"/>
              <a:gd name="connsiteY37-1100" fmla="*/ 2031113 h 7134208"/>
              <a:gd name="connsiteX38-1101" fmla="*/ 5273037 w 9397013"/>
              <a:gd name="connsiteY38-1102" fmla="*/ 1732846 h 7134208"/>
              <a:gd name="connsiteX39-1103" fmla="*/ 9397013 w 9397013"/>
              <a:gd name="connsiteY39-1104" fmla="*/ 7134207 h 7134208"/>
              <a:gd name="connsiteX0-1105" fmla="*/ 168369 w 9397013"/>
              <a:gd name="connsiteY0-1106" fmla="*/ 4779933 h 7134208"/>
              <a:gd name="connsiteX1-1107" fmla="*/ 0 w 9397013"/>
              <a:gd name="connsiteY1-1108" fmla="*/ 4409146 h 7134208"/>
              <a:gd name="connsiteX2-1109" fmla="*/ 3332806 w 9397013"/>
              <a:gd name="connsiteY2-1110" fmla="*/ 0 h 7134208"/>
              <a:gd name="connsiteX3-1111" fmla="*/ 3794560 w 9397013"/>
              <a:gd name="connsiteY3-1112" fmla="*/ 32861 h 7134208"/>
              <a:gd name="connsiteX4-1113" fmla="*/ 168369 w 9397013"/>
              <a:gd name="connsiteY4-1114" fmla="*/ 4779933 h 7134208"/>
              <a:gd name="connsiteX5-1115" fmla="*/ 488220 w 9397013"/>
              <a:gd name="connsiteY5-1116" fmla="*/ 5484315 h 7134208"/>
              <a:gd name="connsiteX6-1117" fmla="*/ 299082 w 9397013"/>
              <a:gd name="connsiteY6-1118" fmla="*/ 5067791 h 7134208"/>
              <a:gd name="connsiteX7-1119" fmla="*/ 4106456 w 9397013"/>
              <a:gd name="connsiteY7-1120" fmla="*/ 55057 h 7134208"/>
              <a:gd name="connsiteX8-1121" fmla="*/ 4585079 w 9397013"/>
              <a:gd name="connsiteY8-1122" fmla="*/ 89119 h 7134208"/>
              <a:gd name="connsiteX9-1123" fmla="*/ 488220 w 9397013"/>
              <a:gd name="connsiteY9-1124" fmla="*/ 5484315 h 7134208"/>
              <a:gd name="connsiteX10-1125" fmla="*/ 779421 w 9397013"/>
              <a:gd name="connsiteY10-1126" fmla="*/ 6125606 h 7134208"/>
              <a:gd name="connsiteX11-1127" fmla="*/ 618065 w 9397013"/>
              <a:gd name="connsiteY11-1128" fmla="*/ 5770263 h 7134208"/>
              <a:gd name="connsiteX12-1129" fmla="*/ 4897528 w 9397013"/>
              <a:gd name="connsiteY12-1130" fmla="*/ 111354 h 7134208"/>
              <a:gd name="connsiteX13-1131" fmla="*/ 5324893 w 9397013"/>
              <a:gd name="connsiteY13-1132" fmla="*/ 141768 h 7134208"/>
              <a:gd name="connsiteX14-1133" fmla="*/ 779421 w 9397013"/>
              <a:gd name="connsiteY14-1134" fmla="*/ 6125606 h 7134208"/>
              <a:gd name="connsiteX15-1135" fmla="*/ 1099910 w 9397013"/>
              <a:gd name="connsiteY15-1136" fmla="*/ 6831395 h 7134208"/>
              <a:gd name="connsiteX16-1137" fmla="*/ 919656 w 9397013"/>
              <a:gd name="connsiteY16-1138" fmla="*/ 6434435 h 7134208"/>
              <a:gd name="connsiteX17-1139" fmla="*/ 5668965 w 9397013"/>
              <a:gd name="connsiteY17-1140" fmla="*/ 166254 h 7134208"/>
              <a:gd name="connsiteX18-1141" fmla="*/ 6077099 w 9397013"/>
              <a:gd name="connsiteY18-1142" fmla="*/ 225638 h 7134208"/>
              <a:gd name="connsiteX19-1143" fmla="*/ 1099910 w 9397013"/>
              <a:gd name="connsiteY19-1144" fmla="*/ 6831395 h 7134208"/>
              <a:gd name="connsiteX20-1145" fmla="*/ 6958778 w 9397013"/>
              <a:gd name="connsiteY20-1146" fmla="*/ 7124971 h 7134208"/>
              <a:gd name="connsiteX21-1147" fmla="*/ 6560038 w 9397013"/>
              <a:gd name="connsiteY21-1148" fmla="*/ 7134207 h 7134208"/>
              <a:gd name="connsiteX22-1149" fmla="*/ 3849932 w 9397013"/>
              <a:gd name="connsiteY22-1150" fmla="*/ 3596670 h 7134208"/>
              <a:gd name="connsiteX23-1151" fmla="*/ 4086202 w 9397013"/>
              <a:gd name="connsiteY23-1152" fmla="*/ 3287229 h 7134208"/>
              <a:gd name="connsiteX24-1153" fmla="*/ 6958778 w 9397013"/>
              <a:gd name="connsiteY24-1154" fmla="*/ 7124971 h 7134208"/>
              <a:gd name="connsiteX25-1155" fmla="*/ 7777211 w 9397013"/>
              <a:gd name="connsiteY25-1156" fmla="*/ 7124972 h 7134208"/>
              <a:gd name="connsiteX26-1157" fmla="*/ 7324729 w 9397013"/>
              <a:gd name="connsiteY26-1158" fmla="*/ 7124972 h 7134208"/>
              <a:gd name="connsiteX27-1159" fmla="*/ 4245793 w 9397013"/>
              <a:gd name="connsiteY27-1160" fmla="*/ 3078214 h 7134208"/>
              <a:gd name="connsiteX28-1161" fmla="*/ 4490696 w 9397013"/>
              <a:gd name="connsiteY28-1162" fmla="*/ 2757469 h 7134208"/>
              <a:gd name="connsiteX29-1163" fmla="*/ 7777211 w 9397013"/>
              <a:gd name="connsiteY29-1164" fmla="*/ 7124972 h 7134208"/>
              <a:gd name="connsiteX30-1165" fmla="*/ 8567691 w 9397013"/>
              <a:gd name="connsiteY30-1166" fmla="*/ 7124971 h 7134208"/>
              <a:gd name="connsiteX31-1167" fmla="*/ 8159389 w 9397013"/>
              <a:gd name="connsiteY31-1168" fmla="*/ 7134208 h 7134208"/>
              <a:gd name="connsiteX32-1169" fmla="*/ 4650570 w 9397013"/>
              <a:gd name="connsiteY32-1170" fmla="*/ 2548084 h 7134208"/>
              <a:gd name="connsiteX33-1171" fmla="*/ 4869244 w 9397013"/>
              <a:gd name="connsiteY33-1172" fmla="*/ 2261689 h 7134208"/>
              <a:gd name="connsiteX34-1173" fmla="*/ 8567691 w 9397013"/>
              <a:gd name="connsiteY34-1174" fmla="*/ 7124971 h 7134208"/>
              <a:gd name="connsiteX35-1175" fmla="*/ 9397013 w 9397013"/>
              <a:gd name="connsiteY35-1176" fmla="*/ 7134207 h 7134208"/>
              <a:gd name="connsiteX36-1177" fmla="*/ 8921338 w 9397013"/>
              <a:gd name="connsiteY36-1178" fmla="*/ 7115735 h 7134208"/>
              <a:gd name="connsiteX37-1179" fmla="*/ 5045299 w 9397013"/>
              <a:gd name="connsiteY37-1180" fmla="*/ 2031113 h 7134208"/>
              <a:gd name="connsiteX38-1181" fmla="*/ 5273037 w 9397013"/>
              <a:gd name="connsiteY38-1182" fmla="*/ 1732846 h 7134208"/>
              <a:gd name="connsiteX39-1183" fmla="*/ 9397013 w 9397013"/>
              <a:gd name="connsiteY39-1184" fmla="*/ 7134207 h 7134208"/>
              <a:gd name="connsiteX0-1185" fmla="*/ 168369 w 9397013"/>
              <a:gd name="connsiteY0-1186" fmla="*/ 4779933 h 7134208"/>
              <a:gd name="connsiteX1-1187" fmla="*/ 0 w 9397013"/>
              <a:gd name="connsiteY1-1188" fmla="*/ 4409146 h 7134208"/>
              <a:gd name="connsiteX2-1189" fmla="*/ 3332806 w 9397013"/>
              <a:gd name="connsiteY2-1190" fmla="*/ 0 h 7134208"/>
              <a:gd name="connsiteX3-1191" fmla="*/ 3794560 w 9397013"/>
              <a:gd name="connsiteY3-1192" fmla="*/ 32861 h 7134208"/>
              <a:gd name="connsiteX4-1193" fmla="*/ 168369 w 9397013"/>
              <a:gd name="connsiteY4-1194" fmla="*/ 4779933 h 7134208"/>
              <a:gd name="connsiteX5-1195" fmla="*/ 488220 w 9397013"/>
              <a:gd name="connsiteY5-1196" fmla="*/ 5484315 h 7134208"/>
              <a:gd name="connsiteX6-1197" fmla="*/ 299082 w 9397013"/>
              <a:gd name="connsiteY6-1198" fmla="*/ 5067791 h 7134208"/>
              <a:gd name="connsiteX7-1199" fmla="*/ 4106456 w 9397013"/>
              <a:gd name="connsiteY7-1200" fmla="*/ 55057 h 7134208"/>
              <a:gd name="connsiteX8-1201" fmla="*/ 4585079 w 9397013"/>
              <a:gd name="connsiteY8-1202" fmla="*/ 89119 h 7134208"/>
              <a:gd name="connsiteX9-1203" fmla="*/ 488220 w 9397013"/>
              <a:gd name="connsiteY9-1204" fmla="*/ 5484315 h 7134208"/>
              <a:gd name="connsiteX10-1205" fmla="*/ 779421 w 9397013"/>
              <a:gd name="connsiteY10-1206" fmla="*/ 6125606 h 7134208"/>
              <a:gd name="connsiteX11-1207" fmla="*/ 618065 w 9397013"/>
              <a:gd name="connsiteY11-1208" fmla="*/ 5770263 h 7134208"/>
              <a:gd name="connsiteX12-1209" fmla="*/ 4897528 w 9397013"/>
              <a:gd name="connsiteY12-1210" fmla="*/ 111354 h 7134208"/>
              <a:gd name="connsiteX13-1211" fmla="*/ 5324893 w 9397013"/>
              <a:gd name="connsiteY13-1212" fmla="*/ 141768 h 7134208"/>
              <a:gd name="connsiteX14-1213" fmla="*/ 779421 w 9397013"/>
              <a:gd name="connsiteY14-1214" fmla="*/ 6125606 h 7134208"/>
              <a:gd name="connsiteX15-1215" fmla="*/ 1099910 w 9397013"/>
              <a:gd name="connsiteY15-1216" fmla="*/ 6831395 h 7134208"/>
              <a:gd name="connsiteX16-1217" fmla="*/ 919656 w 9397013"/>
              <a:gd name="connsiteY16-1218" fmla="*/ 6434435 h 7134208"/>
              <a:gd name="connsiteX17-1219" fmla="*/ 5613547 w 9397013"/>
              <a:gd name="connsiteY17-1220" fmla="*/ 240145 h 7134208"/>
              <a:gd name="connsiteX18-1221" fmla="*/ 6077099 w 9397013"/>
              <a:gd name="connsiteY18-1222" fmla="*/ 225638 h 7134208"/>
              <a:gd name="connsiteX19-1223" fmla="*/ 1099910 w 9397013"/>
              <a:gd name="connsiteY19-1224" fmla="*/ 6831395 h 7134208"/>
              <a:gd name="connsiteX20-1225" fmla="*/ 6958778 w 9397013"/>
              <a:gd name="connsiteY20-1226" fmla="*/ 7124971 h 7134208"/>
              <a:gd name="connsiteX21-1227" fmla="*/ 6560038 w 9397013"/>
              <a:gd name="connsiteY21-1228" fmla="*/ 7134207 h 7134208"/>
              <a:gd name="connsiteX22-1229" fmla="*/ 3849932 w 9397013"/>
              <a:gd name="connsiteY22-1230" fmla="*/ 3596670 h 7134208"/>
              <a:gd name="connsiteX23-1231" fmla="*/ 4086202 w 9397013"/>
              <a:gd name="connsiteY23-1232" fmla="*/ 3287229 h 7134208"/>
              <a:gd name="connsiteX24-1233" fmla="*/ 6958778 w 9397013"/>
              <a:gd name="connsiteY24-1234" fmla="*/ 7124971 h 7134208"/>
              <a:gd name="connsiteX25-1235" fmla="*/ 7777211 w 9397013"/>
              <a:gd name="connsiteY25-1236" fmla="*/ 7124972 h 7134208"/>
              <a:gd name="connsiteX26-1237" fmla="*/ 7324729 w 9397013"/>
              <a:gd name="connsiteY26-1238" fmla="*/ 7124972 h 7134208"/>
              <a:gd name="connsiteX27-1239" fmla="*/ 4245793 w 9397013"/>
              <a:gd name="connsiteY27-1240" fmla="*/ 3078214 h 7134208"/>
              <a:gd name="connsiteX28-1241" fmla="*/ 4490696 w 9397013"/>
              <a:gd name="connsiteY28-1242" fmla="*/ 2757469 h 7134208"/>
              <a:gd name="connsiteX29-1243" fmla="*/ 7777211 w 9397013"/>
              <a:gd name="connsiteY29-1244" fmla="*/ 7124972 h 7134208"/>
              <a:gd name="connsiteX30-1245" fmla="*/ 8567691 w 9397013"/>
              <a:gd name="connsiteY30-1246" fmla="*/ 7124971 h 7134208"/>
              <a:gd name="connsiteX31-1247" fmla="*/ 8159389 w 9397013"/>
              <a:gd name="connsiteY31-1248" fmla="*/ 7134208 h 7134208"/>
              <a:gd name="connsiteX32-1249" fmla="*/ 4650570 w 9397013"/>
              <a:gd name="connsiteY32-1250" fmla="*/ 2548084 h 7134208"/>
              <a:gd name="connsiteX33-1251" fmla="*/ 4869244 w 9397013"/>
              <a:gd name="connsiteY33-1252" fmla="*/ 2261689 h 7134208"/>
              <a:gd name="connsiteX34-1253" fmla="*/ 8567691 w 9397013"/>
              <a:gd name="connsiteY34-1254" fmla="*/ 7124971 h 7134208"/>
              <a:gd name="connsiteX35-1255" fmla="*/ 9397013 w 9397013"/>
              <a:gd name="connsiteY35-1256" fmla="*/ 7134207 h 7134208"/>
              <a:gd name="connsiteX36-1257" fmla="*/ 8921338 w 9397013"/>
              <a:gd name="connsiteY36-1258" fmla="*/ 7115735 h 7134208"/>
              <a:gd name="connsiteX37-1259" fmla="*/ 5045299 w 9397013"/>
              <a:gd name="connsiteY37-1260" fmla="*/ 2031113 h 7134208"/>
              <a:gd name="connsiteX38-1261" fmla="*/ 5273037 w 9397013"/>
              <a:gd name="connsiteY38-1262" fmla="*/ 1732846 h 7134208"/>
              <a:gd name="connsiteX39-1263" fmla="*/ 9397013 w 9397013"/>
              <a:gd name="connsiteY39-1264" fmla="*/ 7134207 h 7134208"/>
              <a:gd name="connsiteX0-1265" fmla="*/ 168369 w 9397013"/>
              <a:gd name="connsiteY0-1266" fmla="*/ 4779933 h 7134208"/>
              <a:gd name="connsiteX1-1267" fmla="*/ 0 w 9397013"/>
              <a:gd name="connsiteY1-1268" fmla="*/ 4409146 h 7134208"/>
              <a:gd name="connsiteX2-1269" fmla="*/ 3332806 w 9397013"/>
              <a:gd name="connsiteY2-1270" fmla="*/ 0 h 7134208"/>
              <a:gd name="connsiteX3-1271" fmla="*/ 3794560 w 9397013"/>
              <a:gd name="connsiteY3-1272" fmla="*/ 32861 h 7134208"/>
              <a:gd name="connsiteX4-1273" fmla="*/ 168369 w 9397013"/>
              <a:gd name="connsiteY4-1274" fmla="*/ 4779933 h 7134208"/>
              <a:gd name="connsiteX5-1275" fmla="*/ 488220 w 9397013"/>
              <a:gd name="connsiteY5-1276" fmla="*/ 5484315 h 7134208"/>
              <a:gd name="connsiteX6-1277" fmla="*/ 299082 w 9397013"/>
              <a:gd name="connsiteY6-1278" fmla="*/ 5067791 h 7134208"/>
              <a:gd name="connsiteX7-1279" fmla="*/ 4106456 w 9397013"/>
              <a:gd name="connsiteY7-1280" fmla="*/ 55057 h 7134208"/>
              <a:gd name="connsiteX8-1281" fmla="*/ 4585079 w 9397013"/>
              <a:gd name="connsiteY8-1282" fmla="*/ 89119 h 7134208"/>
              <a:gd name="connsiteX9-1283" fmla="*/ 488220 w 9397013"/>
              <a:gd name="connsiteY9-1284" fmla="*/ 5484315 h 7134208"/>
              <a:gd name="connsiteX10-1285" fmla="*/ 779421 w 9397013"/>
              <a:gd name="connsiteY10-1286" fmla="*/ 6125606 h 7134208"/>
              <a:gd name="connsiteX11-1287" fmla="*/ 618065 w 9397013"/>
              <a:gd name="connsiteY11-1288" fmla="*/ 5770263 h 7134208"/>
              <a:gd name="connsiteX12-1289" fmla="*/ 4897528 w 9397013"/>
              <a:gd name="connsiteY12-1290" fmla="*/ 111354 h 7134208"/>
              <a:gd name="connsiteX13-1291" fmla="*/ 5324893 w 9397013"/>
              <a:gd name="connsiteY13-1292" fmla="*/ 141768 h 7134208"/>
              <a:gd name="connsiteX14-1293" fmla="*/ 779421 w 9397013"/>
              <a:gd name="connsiteY14-1294" fmla="*/ 6125606 h 7134208"/>
              <a:gd name="connsiteX15-1295" fmla="*/ 1099910 w 9397013"/>
              <a:gd name="connsiteY15-1296" fmla="*/ 6831395 h 7134208"/>
              <a:gd name="connsiteX16-1297" fmla="*/ 919656 w 9397013"/>
              <a:gd name="connsiteY16-1298" fmla="*/ 6434435 h 7134208"/>
              <a:gd name="connsiteX17-1299" fmla="*/ 5641256 w 9397013"/>
              <a:gd name="connsiteY17-1300" fmla="*/ 212436 h 7134208"/>
              <a:gd name="connsiteX18-1301" fmla="*/ 6077099 w 9397013"/>
              <a:gd name="connsiteY18-1302" fmla="*/ 225638 h 7134208"/>
              <a:gd name="connsiteX19-1303" fmla="*/ 1099910 w 9397013"/>
              <a:gd name="connsiteY19-1304" fmla="*/ 6831395 h 7134208"/>
              <a:gd name="connsiteX20-1305" fmla="*/ 6958778 w 9397013"/>
              <a:gd name="connsiteY20-1306" fmla="*/ 7124971 h 7134208"/>
              <a:gd name="connsiteX21-1307" fmla="*/ 6560038 w 9397013"/>
              <a:gd name="connsiteY21-1308" fmla="*/ 7134207 h 7134208"/>
              <a:gd name="connsiteX22-1309" fmla="*/ 3849932 w 9397013"/>
              <a:gd name="connsiteY22-1310" fmla="*/ 3596670 h 7134208"/>
              <a:gd name="connsiteX23-1311" fmla="*/ 4086202 w 9397013"/>
              <a:gd name="connsiteY23-1312" fmla="*/ 3287229 h 7134208"/>
              <a:gd name="connsiteX24-1313" fmla="*/ 6958778 w 9397013"/>
              <a:gd name="connsiteY24-1314" fmla="*/ 7124971 h 7134208"/>
              <a:gd name="connsiteX25-1315" fmla="*/ 7777211 w 9397013"/>
              <a:gd name="connsiteY25-1316" fmla="*/ 7124972 h 7134208"/>
              <a:gd name="connsiteX26-1317" fmla="*/ 7324729 w 9397013"/>
              <a:gd name="connsiteY26-1318" fmla="*/ 7124972 h 7134208"/>
              <a:gd name="connsiteX27-1319" fmla="*/ 4245793 w 9397013"/>
              <a:gd name="connsiteY27-1320" fmla="*/ 3078214 h 7134208"/>
              <a:gd name="connsiteX28-1321" fmla="*/ 4490696 w 9397013"/>
              <a:gd name="connsiteY28-1322" fmla="*/ 2757469 h 7134208"/>
              <a:gd name="connsiteX29-1323" fmla="*/ 7777211 w 9397013"/>
              <a:gd name="connsiteY29-1324" fmla="*/ 7124972 h 7134208"/>
              <a:gd name="connsiteX30-1325" fmla="*/ 8567691 w 9397013"/>
              <a:gd name="connsiteY30-1326" fmla="*/ 7124971 h 7134208"/>
              <a:gd name="connsiteX31-1327" fmla="*/ 8159389 w 9397013"/>
              <a:gd name="connsiteY31-1328" fmla="*/ 7134208 h 7134208"/>
              <a:gd name="connsiteX32-1329" fmla="*/ 4650570 w 9397013"/>
              <a:gd name="connsiteY32-1330" fmla="*/ 2548084 h 7134208"/>
              <a:gd name="connsiteX33-1331" fmla="*/ 4869244 w 9397013"/>
              <a:gd name="connsiteY33-1332" fmla="*/ 2261689 h 7134208"/>
              <a:gd name="connsiteX34-1333" fmla="*/ 8567691 w 9397013"/>
              <a:gd name="connsiteY34-1334" fmla="*/ 7124971 h 7134208"/>
              <a:gd name="connsiteX35-1335" fmla="*/ 9397013 w 9397013"/>
              <a:gd name="connsiteY35-1336" fmla="*/ 7134207 h 7134208"/>
              <a:gd name="connsiteX36-1337" fmla="*/ 8921338 w 9397013"/>
              <a:gd name="connsiteY36-1338" fmla="*/ 7115735 h 7134208"/>
              <a:gd name="connsiteX37-1339" fmla="*/ 5045299 w 9397013"/>
              <a:gd name="connsiteY37-1340" fmla="*/ 2031113 h 7134208"/>
              <a:gd name="connsiteX38-1341" fmla="*/ 5273037 w 9397013"/>
              <a:gd name="connsiteY38-1342" fmla="*/ 1732846 h 7134208"/>
              <a:gd name="connsiteX39-1343" fmla="*/ 9397013 w 9397013"/>
              <a:gd name="connsiteY39-1344" fmla="*/ 7134207 h 7134208"/>
              <a:gd name="connsiteX0-1345" fmla="*/ 168369 w 9397013"/>
              <a:gd name="connsiteY0-1346" fmla="*/ 4779933 h 7134208"/>
              <a:gd name="connsiteX1-1347" fmla="*/ 0 w 9397013"/>
              <a:gd name="connsiteY1-1348" fmla="*/ 4409146 h 7134208"/>
              <a:gd name="connsiteX2-1349" fmla="*/ 3332806 w 9397013"/>
              <a:gd name="connsiteY2-1350" fmla="*/ 0 h 7134208"/>
              <a:gd name="connsiteX3-1351" fmla="*/ 3794560 w 9397013"/>
              <a:gd name="connsiteY3-1352" fmla="*/ 32861 h 7134208"/>
              <a:gd name="connsiteX4-1353" fmla="*/ 168369 w 9397013"/>
              <a:gd name="connsiteY4-1354" fmla="*/ 4779933 h 7134208"/>
              <a:gd name="connsiteX5-1355" fmla="*/ 488220 w 9397013"/>
              <a:gd name="connsiteY5-1356" fmla="*/ 5484315 h 7134208"/>
              <a:gd name="connsiteX6-1357" fmla="*/ 299082 w 9397013"/>
              <a:gd name="connsiteY6-1358" fmla="*/ 5067791 h 7134208"/>
              <a:gd name="connsiteX7-1359" fmla="*/ 4106456 w 9397013"/>
              <a:gd name="connsiteY7-1360" fmla="*/ 55057 h 7134208"/>
              <a:gd name="connsiteX8-1361" fmla="*/ 4585079 w 9397013"/>
              <a:gd name="connsiteY8-1362" fmla="*/ 89119 h 7134208"/>
              <a:gd name="connsiteX9-1363" fmla="*/ 488220 w 9397013"/>
              <a:gd name="connsiteY9-1364" fmla="*/ 5484315 h 7134208"/>
              <a:gd name="connsiteX10-1365" fmla="*/ 779421 w 9397013"/>
              <a:gd name="connsiteY10-1366" fmla="*/ 6125606 h 7134208"/>
              <a:gd name="connsiteX11-1367" fmla="*/ 618065 w 9397013"/>
              <a:gd name="connsiteY11-1368" fmla="*/ 5770263 h 7134208"/>
              <a:gd name="connsiteX12-1369" fmla="*/ 4897528 w 9397013"/>
              <a:gd name="connsiteY12-1370" fmla="*/ 111354 h 7134208"/>
              <a:gd name="connsiteX13-1371" fmla="*/ 5260238 w 9397013"/>
              <a:gd name="connsiteY13-1372" fmla="*/ 234131 h 7134208"/>
              <a:gd name="connsiteX14-1373" fmla="*/ 779421 w 9397013"/>
              <a:gd name="connsiteY14-1374" fmla="*/ 6125606 h 7134208"/>
              <a:gd name="connsiteX15-1375" fmla="*/ 1099910 w 9397013"/>
              <a:gd name="connsiteY15-1376" fmla="*/ 6831395 h 7134208"/>
              <a:gd name="connsiteX16-1377" fmla="*/ 919656 w 9397013"/>
              <a:gd name="connsiteY16-1378" fmla="*/ 6434435 h 7134208"/>
              <a:gd name="connsiteX17-1379" fmla="*/ 5641256 w 9397013"/>
              <a:gd name="connsiteY17-1380" fmla="*/ 212436 h 7134208"/>
              <a:gd name="connsiteX18-1381" fmla="*/ 6077099 w 9397013"/>
              <a:gd name="connsiteY18-1382" fmla="*/ 225638 h 7134208"/>
              <a:gd name="connsiteX19-1383" fmla="*/ 1099910 w 9397013"/>
              <a:gd name="connsiteY19-1384" fmla="*/ 6831395 h 7134208"/>
              <a:gd name="connsiteX20-1385" fmla="*/ 6958778 w 9397013"/>
              <a:gd name="connsiteY20-1386" fmla="*/ 7124971 h 7134208"/>
              <a:gd name="connsiteX21-1387" fmla="*/ 6560038 w 9397013"/>
              <a:gd name="connsiteY21-1388" fmla="*/ 7134207 h 7134208"/>
              <a:gd name="connsiteX22-1389" fmla="*/ 3849932 w 9397013"/>
              <a:gd name="connsiteY22-1390" fmla="*/ 3596670 h 7134208"/>
              <a:gd name="connsiteX23-1391" fmla="*/ 4086202 w 9397013"/>
              <a:gd name="connsiteY23-1392" fmla="*/ 3287229 h 7134208"/>
              <a:gd name="connsiteX24-1393" fmla="*/ 6958778 w 9397013"/>
              <a:gd name="connsiteY24-1394" fmla="*/ 7124971 h 7134208"/>
              <a:gd name="connsiteX25-1395" fmla="*/ 7777211 w 9397013"/>
              <a:gd name="connsiteY25-1396" fmla="*/ 7124972 h 7134208"/>
              <a:gd name="connsiteX26-1397" fmla="*/ 7324729 w 9397013"/>
              <a:gd name="connsiteY26-1398" fmla="*/ 7124972 h 7134208"/>
              <a:gd name="connsiteX27-1399" fmla="*/ 4245793 w 9397013"/>
              <a:gd name="connsiteY27-1400" fmla="*/ 3078214 h 7134208"/>
              <a:gd name="connsiteX28-1401" fmla="*/ 4490696 w 9397013"/>
              <a:gd name="connsiteY28-1402" fmla="*/ 2757469 h 7134208"/>
              <a:gd name="connsiteX29-1403" fmla="*/ 7777211 w 9397013"/>
              <a:gd name="connsiteY29-1404" fmla="*/ 7124972 h 7134208"/>
              <a:gd name="connsiteX30-1405" fmla="*/ 8567691 w 9397013"/>
              <a:gd name="connsiteY30-1406" fmla="*/ 7124971 h 7134208"/>
              <a:gd name="connsiteX31-1407" fmla="*/ 8159389 w 9397013"/>
              <a:gd name="connsiteY31-1408" fmla="*/ 7134208 h 7134208"/>
              <a:gd name="connsiteX32-1409" fmla="*/ 4650570 w 9397013"/>
              <a:gd name="connsiteY32-1410" fmla="*/ 2548084 h 7134208"/>
              <a:gd name="connsiteX33-1411" fmla="*/ 4869244 w 9397013"/>
              <a:gd name="connsiteY33-1412" fmla="*/ 2261689 h 7134208"/>
              <a:gd name="connsiteX34-1413" fmla="*/ 8567691 w 9397013"/>
              <a:gd name="connsiteY34-1414" fmla="*/ 7124971 h 7134208"/>
              <a:gd name="connsiteX35-1415" fmla="*/ 9397013 w 9397013"/>
              <a:gd name="connsiteY35-1416" fmla="*/ 7134207 h 7134208"/>
              <a:gd name="connsiteX36-1417" fmla="*/ 8921338 w 9397013"/>
              <a:gd name="connsiteY36-1418" fmla="*/ 7115735 h 7134208"/>
              <a:gd name="connsiteX37-1419" fmla="*/ 5045299 w 9397013"/>
              <a:gd name="connsiteY37-1420" fmla="*/ 2031113 h 7134208"/>
              <a:gd name="connsiteX38-1421" fmla="*/ 5273037 w 9397013"/>
              <a:gd name="connsiteY38-1422" fmla="*/ 1732846 h 7134208"/>
              <a:gd name="connsiteX39-1423" fmla="*/ 9397013 w 9397013"/>
              <a:gd name="connsiteY39-1424" fmla="*/ 7134207 h 7134208"/>
              <a:gd name="connsiteX0-1425" fmla="*/ 168369 w 9397013"/>
              <a:gd name="connsiteY0-1426" fmla="*/ 4779933 h 7134208"/>
              <a:gd name="connsiteX1-1427" fmla="*/ 0 w 9397013"/>
              <a:gd name="connsiteY1-1428" fmla="*/ 4409146 h 7134208"/>
              <a:gd name="connsiteX2-1429" fmla="*/ 3332806 w 9397013"/>
              <a:gd name="connsiteY2-1430" fmla="*/ 0 h 7134208"/>
              <a:gd name="connsiteX3-1431" fmla="*/ 3794560 w 9397013"/>
              <a:gd name="connsiteY3-1432" fmla="*/ 32861 h 7134208"/>
              <a:gd name="connsiteX4-1433" fmla="*/ 168369 w 9397013"/>
              <a:gd name="connsiteY4-1434" fmla="*/ 4779933 h 7134208"/>
              <a:gd name="connsiteX5-1435" fmla="*/ 488220 w 9397013"/>
              <a:gd name="connsiteY5-1436" fmla="*/ 5484315 h 7134208"/>
              <a:gd name="connsiteX6-1437" fmla="*/ 299082 w 9397013"/>
              <a:gd name="connsiteY6-1438" fmla="*/ 5067791 h 7134208"/>
              <a:gd name="connsiteX7-1439" fmla="*/ 4106456 w 9397013"/>
              <a:gd name="connsiteY7-1440" fmla="*/ 55057 h 7134208"/>
              <a:gd name="connsiteX8-1441" fmla="*/ 4585079 w 9397013"/>
              <a:gd name="connsiteY8-1442" fmla="*/ 89119 h 7134208"/>
              <a:gd name="connsiteX9-1443" fmla="*/ 488220 w 9397013"/>
              <a:gd name="connsiteY9-1444" fmla="*/ 5484315 h 7134208"/>
              <a:gd name="connsiteX10-1445" fmla="*/ 779421 w 9397013"/>
              <a:gd name="connsiteY10-1446" fmla="*/ 6125606 h 7134208"/>
              <a:gd name="connsiteX11-1447" fmla="*/ 618065 w 9397013"/>
              <a:gd name="connsiteY11-1448" fmla="*/ 5770263 h 7134208"/>
              <a:gd name="connsiteX12-1449" fmla="*/ 4805164 w 9397013"/>
              <a:gd name="connsiteY12-1450" fmla="*/ 212954 h 7134208"/>
              <a:gd name="connsiteX13-1451" fmla="*/ 5260238 w 9397013"/>
              <a:gd name="connsiteY13-1452" fmla="*/ 234131 h 7134208"/>
              <a:gd name="connsiteX14-1453" fmla="*/ 779421 w 9397013"/>
              <a:gd name="connsiteY14-1454" fmla="*/ 6125606 h 7134208"/>
              <a:gd name="connsiteX15-1455" fmla="*/ 1099910 w 9397013"/>
              <a:gd name="connsiteY15-1456" fmla="*/ 6831395 h 7134208"/>
              <a:gd name="connsiteX16-1457" fmla="*/ 919656 w 9397013"/>
              <a:gd name="connsiteY16-1458" fmla="*/ 6434435 h 7134208"/>
              <a:gd name="connsiteX17-1459" fmla="*/ 5641256 w 9397013"/>
              <a:gd name="connsiteY17-1460" fmla="*/ 212436 h 7134208"/>
              <a:gd name="connsiteX18-1461" fmla="*/ 6077099 w 9397013"/>
              <a:gd name="connsiteY18-1462" fmla="*/ 225638 h 7134208"/>
              <a:gd name="connsiteX19-1463" fmla="*/ 1099910 w 9397013"/>
              <a:gd name="connsiteY19-1464" fmla="*/ 6831395 h 7134208"/>
              <a:gd name="connsiteX20-1465" fmla="*/ 6958778 w 9397013"/>
              <a:gd name="connsiteY20-1466" fmla="*/ 7124971 h 7134208"/>
              <a:gd name="connsiteX21-1467" fmla="*/ 6560038 w 9397013"/>
              <a:gd name="connsiteY21-1468" fmla="*/ 7134207 h 7134208"/>
              <a:gd name="connsiteX22-1469" fmla="*/ 3849932 w 9397013"/>
              <a:gd name="connsiteY22-1470" fmla="*/ 3596670 h 7134208"/>
              <a:gd name="connsiteX23-1471" fmla="*/ 4086202 w 9397013"/>
              <a:gd name="connsiteY23-1472" fmla="*/ 3287229 h 7134208"/>
              <a:gd name="connsiteX24-1473" fmla="*/ 6958778 w 9397013"/>
              <a:gd name="connsiteY24-1474" fmla="*/ 7124971 h 7134208"/>
              <a:gd name="connsiteX25-1475" fmla="*/ 7777211 w 9397013"/>
              <a:gd name="connsiteY25-1476" fmla="*/ 7124972 h 7134208"/>
              <a:gd name="connsiteX26-1477" fmla="*/ 7324729 w 9397013"/>
              <a:gd name="connsiteY26-1478" fmla="*/ 7124972 h 7134208"/>
              <a:gd name="connsiteX27-1479" fmla="*/ 4245793 w 9397013"/>
              <a:gd name="connsiteY27-1480" fmla="*/ 3078214 h 7134208"/>
              <a:gd name="connsiteX28-1481" fmla="*/ 4490696 w 9397013"/>
              <a:gd name="connsiteY28-1482" fmla="*/ 2757469 h 7134208"/>
              <a:gd name="connsiteX29-1483" fmla="*/ 7777211 w 9397013"/>
              <a:gd name="connsiteY29-1484" fmla="*/ 7124972 h 7134208"/>
              <a:gd name="connsiteX30-1485" fmla="*/ 8567691 w 9397013"/>
              <a:gd name="connsiteY30-1486" fmla="*/ 7124971 h 7134208"/>
              <a:gd name="connsiteX31-1487" fmla="*/ 8159389 w 9397013"/>
              <a:gd name="connsiteY31-1488" fmla="*/ 7134208 h 7134208"/>
              <a:gd name="connsiteX32-1489" fmla="*/ 4650570 w 9397013"/>
              <a:gd name="connsiteY32-1490" fmla="*/ 2548084 h 7134208"/>
              <a:gd name="connsiteX33-1491" fmla="*/ 4869244 w 9397013"/>
              <a:gd name="connsiteY33-1492" fmla="*/ 2261689 h 7134208"/>
              <a:gd name="connsiteX34-1493" fmla="*/ 8567691 w 9397013"/>
              <a:gd name="connsiteY34-1494" fmla="*/ 7124971 h 7134208"/>
              <a:gd name="connsiteX35-1495" fmla="*/ 9397013 w 9397013"/>
              <a:gd name="connsiteY35-1496" fmla="*/ 7134207 h 7134208"/>
              <a:gd name="connsiteX36-1497" fmla="*/ 8921338 w 9397013"/>
              <a:gd name="connsiteY36-1498" fmla="*/ 7115735 h 7134208"/>
              <a:gd name="connsiteX37-1499" fmla="*/ 5045299 w 9397013"/>
              <a:gd name="connsiteY37-1500" fmla="*/ 2031113 h 7134208"/>
              <a:gd name="connsiteX38-1501" fmla="*/ 5273037 w 9397013"/>
              <a:gd name="connsiteY38-1502" fmla="*/ 1732846 h 7134208"/>
              <a:gd name="connsiteX39-1503" fmla="*/ 9397013 w 9397013"/>
              <a:gd name="connsiteY39-1504" fmla="*/ 7134207 h 7134208"/>
              <a:gd name="connsiteX0-1505" fmla="*/ 168369 w 9397013"/>
              <a:gd name="connsiteY0-1506" fmla="*/ 4779933 h 7134208"/>
              <a:gd name="connsiteX1-1507" fmla="*/ 0 w 9397013"/>
              <a:gd name="connsiteY1-1508" fmla="*/ 4409146 h 7134208"/>
              <a:gd name="connsiteX2-1509" fmla="*/ 3332806 w 9397013"/>
              <a:gd name="connsiteY2-1510" fmla="*/ 0 h 7134208"/>
              <a:gd name="connsiteX3-1511" fmla="*/ 3794560 w 9397013"/>
              <a:gd name="connsiteY3-1512" fmla="*/ 32861 h 7134208"/>
              <a:gd name="connsiteX4-1513" fmla="*/ 168369 w 9397013"/>
              <a:gd name="connsiteY4-1514" fmla="*/ 4779933 h 7134208"/>
              <a:gd name="connsiteX5-1515" fmla="*/ 488220 w 9397013"/>
              <a:gd name="connsiteY5-1516" fmla="*/ 5484315 h 7134208"/>
              <a:gd name="connsiteX6-1517" fmla="*/ 299082 w 9397013"/>
              <a:gd name="connsiteY6-1518" fmla="*/ 5067791 h 7134208"/>
              <a:gd name="connsiteX7-1519" fmla="*/ 4106456 w 9397013"/>
              <a:gd name="connsiteY7-1520" fmla="*/ 55057 h 7134208"/>
              <a:gd name="connsiteX8-1521" fmla="*/ 4465006 w 9397013"/>
              <a:gd name="connsiteY8-1522" fmla="*/ 209192 h 7134208"/>
              <a:gd name="connsiteX9-1523" fmla="*/ 488220 w 9397013"/>
              <a:gd name="connsiteY9-1524" fmla="*/ 5484315 h 7134208"/>
              <a:gd name="connsiteX10-1525" fmla="*/ 779421 w 9397013"/>
              <a:gd name="connsiteY10-1526" fmla="*/ 6125606 h 7134208"/>
              <a:gd name="connsiteX11-1527" fmla="*/ 618065 w 9397013"/>
              <a:gd name="connsiteY11-1528" fmla="*/ 5770263 h 7134208"/>
              <a:gd name="connsiteX12-1529" fmla="*/ 4805164 w 9397013"/>
              <a:gd name="connsiteY12-1530" fmla="*/ 212954 h 7134208"/>
              <a:gd name="connsiteX13-1531" fmla="*/ 5260238 w 9397013"/>
              <a:gd name="connsiteY13-1532" fmla="*/ 234131 h 7134208"/>
              <a:gd name="connsiteX14-1533" fmla="*/ 779421 w 9397013"/>
              <a:gd name="connsiteY14-1534" fmla="*/ 6125606 h 7134208"/>
              <a:gd name="connsiteX15-1535" fmla="*/ 1099910 w 9397013"/>
              <a:gd name="connsiteY15-1536" fmla="*/ 6831395 h 7134208"/>
              <a:gd name="connsiteX16-1537" fmla="*/ 919656 w 9397013"/>
              <a:gd name="connsiteY16-1538" fmla="*/ 6434435 h 7134208"/>
              <a:gd name="connsiteX17-1539" fmla="*/ 5641256 w 9397013"/>
              <a:gd name="connsiteY17-1540" fmla="*/ 212436 h 7134208"/>
              <a:gd name="connsiteX18-1541" fmla="*/ 6077099 w 9397013"/>
              <a:gd name="connsiteY18-1542" fmla="*/ 225638 h 7134208"/>
              <a:gd name="connsiteX19-1543" fmla="*/ 1099910 w 9397013"/>
              <a:gd name="connsiteY19-1544" fmla="*/ 6831395 h 7134208"/>
              <a:gd name="connsiteX20-1545" fmla="*/ 6958778 w 9397013"/>
              <a:gd name="connsiteY20-1546" fmla="*/ 7124971 h 7134208"/>
              <a:gd name="connsiteX21-1547" fmla="*/ 6560038 w 9397013"/>
              <a:gd name="connsiteY21-1548" fmla="*/ 7134207 h 7134208"/>
              <a:gd name="connsiteX22-1549" fmla="*/ 3849932 w 9397013"/>
              <a:gd name="connsiteY22-1550" fmla="*/ 3596670 h 7134208"/>
              <a:gd name="connsiteX23-1551" fmla="*/ 4086202 w 9397013"/>
              <a:gd name="connsiteY23-1552" fmla="*/ 3287229 h 7134208"/>
              <a:gd name="connsiteX24-1553" fmla="*/ 6958778 w 9397013"/>
              <a:gd name="connsiteY24-1554" fmla="*/ 7124971 h 7134208"/>
              <a:gd name="connsiteX25-1555" fmla="*/ 7777211 w 9397013"/>
              <a:gd name="connsiteY25-1556" fmla="*/ 7124972 h 7134208"/>
              <a:gd name="connsiteX26-1557" fmla="*/ 7324729 w 9397013"/>
              <a:gd name="connsiteY26-1558" fmla="*/ 7124972 h 7134208"/>
              <a:gd name="connsiteX27-1559" fmla="*/ 4245793 w 9397013"/>
              <a:gd name="connsiteY27-1560" fmla="*/ 3078214 h 7134208"/>
              <a:gd name="connsiteX28-1561" fmla="*/ 4490696 w 9397013"/>
              <a:gd name="connsiteY28-1562" fmla="*/ 2757469 h 7134208"/>
              <a:gd name="connsiteX29-1563" fmla="*/ 7777211 w 9397013"/>
              <a:gd name="connsiteY29-1564" fmla="*/ 7124972 h 7134208"/>
              <a:gd name="connsiteX30-1565" fmla="*/ 8567691 w 9397013"/>
              <a:gd name="connsiteY30-1566" fmla="*/ 7124971 h 7134208"/>
              <a:gd name="connsiteX31-1567" fmla="*/ 8159389 w 9397013"/>
              <a:gd name="connsiteY31-1568" fmla="*/ 7134208 h 7134208"/>
              <a:gd name="connsiteX32-1569" fmla="*/ 4650570 w 9397013"/>
              <a:gd name="connsiteY32-1570" fmla="*/ 2548084 h 7134208"/>
              <a:gd name="connsiteX33-1571" fmla="*/ 4869244 w 9397013"/>
              <a:gd name="connsiteY33-1572" fmla="*/ 2261689 h 7134208"/>
              <a:gd name="connsiteX34-1573" fmla="*/ 8567691 w 9397013"/>
              <a:gd name="connsiteY34-1574" fmla="*/ 7124971 h 7134208"/>
              <a:gd name="connsiteX35-1575" fmla="*/ 9397013 w 9397013"/>
              <a:gd name="connsiteY35-1576" fmla="*/ 7134207 h 7134208"/>
              <a:gd name="connsiteX36-1577" fmla="*/ 8921338 w 9397013"/>
              <a:gd name="connsiteY36-1578" fmla="*/ 7115735 h 7134208"/>
              <a:gd name="connsiteX37-1579" fmla="*/ 5045299 w 9397013"/>
              <a:gd name="connsiteY37-1580" fmla="*/ 2031113 h 7134208"/>
              <a:gd name="connsiteX38-1581" fmla="*/ 5273037 w 9397013"/>
              <a:gd name="connsiteY38-1582" fmla="*/ 1732846 h 7134208"/>
              <a:gd name="connsiteX39-1583" fmla="*/ 9397013 w 9397013"/>
              <a:gd name="connsiteY39-1584" fmla="*/ 7134207 h 7134208"/>
              <a:gd name="connsiteX0-1585" fmla="*/ 168369 w 9397013"/>
              <a:gd name="connsiteY0-1586" fmla="*/ 4779933 h 7134208"/>
              <a:gd name="connsiteX1-1587" fmla="*/ 0 w 9397013"/>
              <a:gd name="connsiteY1-1588" fmla="*/ 4409146 h 7134208"/>
              <a:gd name="connsiteX2-1589" fmla="*/ 3332806 w 9397013"/>
              <a:gd name="connsiteY2-1590" fmla="*/ 0 h 7134208"/>
              <a:gd name="connsiteX3-1591" fmla="*/ 3794560 w 9397013"/>
              <a:gd name="connsiteY3-1592" fmla="*/ 32861 h 7134208"/>
              <a:gd name="connsiteX4-1593" fmla="*/ 168369 w 9397013"/>
              <a:gd name="connsiteY4-1594" fmla="*/ 4779933 h 7134208"/>
              <a:gd name="connsiteX5-1595" fmla="*/ 488220 w 9397013"/>
              <a:gd name="connsiteY5-1596" fmla="*/ 5484315 h 7134208"/>
              <a:gd name="connsiteX6-1597" fmla="*/ 299082 w 9397013"/>
              <a:gd name="connsiteY6-1598" fmla="*/ 5067791 h 7134208"/>
              <a:gd name="connsiteX7-1599" fmla="*/ 3977147 w 9397013"/>
              <a:gd name="connsiteY7-1600" fmla="*/ 212075 h 7134208"/>
              <a:gd name="connsiteX8-1601" fmla="*/ 4465006 w 9397013"/>
              <a:gd name="connsiteY8-1602" fmla="*/ 209192 h 7134208"/>
              <a:gd name="connsiteX9-1603" fmla="*/ 488220 w 9397013"/>
              <a:gd name="connsiteY9-1604" fmla="*/ 5484315 h 7134208"/>
              <a:gd name="connsiteX10-1605" fmla="*/ 779421 w 9397013"/>
              <a:gd name="connsiteY10-1606" fmla="*/ 6125606 h 7134208"/>
              <a:gd name="connsiteX11-1607" fmla="*/ 618065 w 9397013"/>
              <a:gd name="connsiteY11-1608" fmla="*/ 5770263 h 7134208"/>
              <a:gd name="connsiteX12-1609" fmla="*/ 4805164 w 9397013"/>
              <a:gd name="connsiteY12-1610" fmla="*/ 212954 h 7134208"/>
              <a:gd name="connsiteX13-1611" fmla="*/ 5260238 w 9397013"/>
              <a:gd name="connsiteY13-1612" fmla="*/ 234131 h 7134208"/>
              <a:gd name="connsiteX14-1613" fmla="*/ 779421 w 9397013"/>
              <a:gd name="connsiteY14-1614" fmla="*/ 6125606 h 7134208"/>
              <a:gd name="connsiteX15-1615" fmla="*/ 1099910 w 9397013"/>
              <a:gd name="connsiteY15-1616" fmla="*/ 6831395 h 7134208"/>
              <a:gd name="connsiteX16-1617" fmla="*/ 919656 w 9397013"/>
              <a:gd name="connsiteY16-1618" fmla="*/ 6434435 h 7134208"/>
              <a:gd name="connsiteX17-1619" fmla="*/ 5641256 w 9397013"/>
              <a:gd name="connsiteY17-1620" fmla="*/ 212436 h 7134208"/>
              <a:gd name="connsiteX18-1621" fmla="*/ 6077099 w 9397013"/>
              <a:gd name="connsiteY18-1622" fmla="*/ 225638 h 7134208"/>
              <a:gd name="connsiteX19-1623" fmla="*/ 1099910 w 9397013"/>
              <a:gd name="connsiteY19-1624" fmla="*/ 6831395 h 7134208"/>
              <a:gd name="connsiteX20-1625" fmla="*/ 6958778 w 9397013"/>
              <a:gd name="connsiteY20-1626" fmla="*/ 7124971 h 7134208"/>
              <a:gd name="connsiteX21-1627" fmla="*/ 6560038 w 9397013"/>
              <a:gd name="connsiteY21-1628" fmla="*/ 7134207 h 7134208"/>
              <a:gd name="connsiteX22-1629" fmla="*/ 3849932 w 9397013"/>
              <a:gd name="connsiteY22-1630" fmla="*/ 3596670 h 7134208"/>
              <a:gd name="connsiteX23-1631" fmla="*/ 4086202 w 9397013"/>
              <a:gd name="connsiteY23-1632" fmla="*/ 3287229 h 7134208"/>
              <a:gd name="connsiteX24-1633" fmla="*/ 6958778 w 9397013"/>
              <a:gd name="connsiteY24-1634" fmla="*/ 7124971 h 7134208"/>
              <a:gd name="connsiteX25-1635" fmla="*/ 7777211 w 9397013"/>
              <a:gd name="connsiteY25-1636" fmla="*/ 7124972 h 7134208"/>
              <a:gd name="connsiteX26-1637" fmla="*/ 7324729 w 9397013"/>
              <a:gd name="connsiteY26-1638" fmla="*/ 7124972 h 7134208"/>
              <a:gd name="connsiteX27-1639" fmla="*/ 4245793 w 9397013"/>
              <a:gd name="connsiteY27-1640" fmla="*/ 3078214 h 7134208"/>
              <a:gd name="connsiteX28-1641" fmla="*/ 4490696 w 9397013"/>
              <a:gd name="connsiteY28-1642" fmla="*/ 2757469 h 7134208"/>
              <a:gd name="connsiteX29-1643" fmla="*/ 7777211 w 9397013"/>
              <a:gd name="connsiteY29-1644" fmla="*/ 7124972 h 7134208"/>
              <a:gd name="connsiteX30-1645" fmla="*/ 8567691 w 9397013"/>
              <a:gd name="connsiteY30-1646" fmla="*/ 7124971 h 7134208"/>
              <a:gd name="connsiteX31-1647" fmla="*/ 8159389 w 9397013"/>
              <a:gd name="connsiteY31-1648" fmla="*/ 7134208 h 7134208"/>
              <a:gd name="connsiteX32-1649" fmla="*/ 4650570 w 9397013"/>
              <a:gd name="connsiteY32-1650" fmla="*/ 2548084 h 7134208"/>
              <a:gd name="connsiteX33-1651" fmla="*/ 4869244 w 9397013"/>
              <a:gd name="connsiteY33-1652" fmla="*/ 2261689 h 7134208"/>
              <a:gd name="connsiteX34-1653" fmla="*/ 8567691 w 9397013"/>
              <a:gd name="connsiteY34-1654" fmla="*/ 7124971 h 7134208"/>
              <a:gd name="connsiteX35-1655" fmla="*/ 9397013 w 9397013"/>
              <a:gd name="connsiteY35-1656" fmla="*/ 7134207 h 7134208"/>
              <a:gd name="connsiteX36-1657" fmla="*/ 8921338 w 9397013"/>
              <a:gd name="connsiteY36-1658" fmla="*/ 7115735 h 7134208"/>
              <a:gd name="connsiteX37-1659" fmla="*/ 5045299 w 9397013"/>
              <a:gd name="connsiteY37-1660" fmla="*/ 2031113 h 7134208"/>
              <a:gd name="connsiteX38-1661" fmla="*/ 5273037 w 9397013"/>
              <a:gd name="connsiteY38-1662" fmla="*/ 1732846 h 7134208"/>
              <a:gd name="connsiteX39-1663" fmla="*/ 9397013 w 9397013"/>
              <a:gd name="connsiteY39-1664" fmla="*/ 7134207 h 7134208"/>
              <a:gd name="connsiteX0-1665" fmla="*/ 168369 w 9397013"/>
              <a:gd name="connsiteY0-1666" fmla="*/ 4779933 h 7134208"/>
              <a:gd name="connsiteX1-1667" fmla="*/ 0 w 9397013"/>
              <a:gd name="connsiteY1-1668" fmla="*/ 4409146 h 7134208"/>
              <a:gd name="connsiteX2-1669" fmla="*/ 3332806 w 9397013"/>
              <a:gd name="connsiteY2-1670" fmla="*/ 0 h 7134208"/>
              <a:gd name="connsiteX3-1671" fmla="*/ 3628305 w 9397013"/>
              <a:gd name="connsiteY3-1672" fmla="*/ 208352 h 7134208"/>
              <a:gd name="connsiteX4-1673" fmla="*/ 168369 w 9397013"/>
              <a:gd name="connsiteY4-1674" fmla="*/ 4779933 h 7134208"/>
              <a:gd name="connsiteX5-1675" fmla="*/ 488220 w 9397013"/>
              <a:gd name="connsiteY5-1676" fmla="*/ 5484315 h 7134208"/>
              <a:gd name="connsiteX6-1677" fmla="*/ 299082 w 9397013"/>
              <a:gd name="connsiteY6-1678" fmla="*/ 5067791 h 7134208"/>
              <a:gd name="connsiteX7-1679" fmla="*/ 3977147 w 9397013"/>
              <a:gd name="connsiteY7-1680" fmla="*/ 212075 h 7134208"/>
              <a:gd name="connsiteX8-1681" fmla="*/ 4465006 w 9397013"/>
              <a:gd name="connsiteY8-1682" fmla="*/ 209192 h 7134208"/>
              <a:gd name="connsiteX9-1683" fmla="*/ 488220 w 9397013"/>
              <a:gd name="connsiteY9-1684" fmla="*/ 5484315 h 7134208"/>
              <a:gd name="connsiteX10-1685" fmla="*/ 779421 w 9397013"/>
              <a:gd name="connsiteY10-1686" fmla="*/ 6125606 h 7134208"/>
              <a:gd name="connsiteX11-1687" fmla="*/ 618065 w 9397013"/>
              <a:gd name="connsiteY11-1688" fmla="*/ 5770263 h 7134208"/>
              <a:gd name="connsiteX12-1689" fmla="*/ 4805164 w 9397013"/>
              <a:gd name="connsiteY12-1690" fmla="*/ 212954 h 7134208"/>
              <a:gd name="connsiteX13-1691" fmla="*/ 5260238 w 9397013"/>
              <a:gd name="connsiteY13-1692" fmla="*/ 234131 h 7134208"/>
              <a:gd name="connsiteX14-1693" fmla="*/ 779421 w 9397013"/>
              <a:gd name="connsiteY14-1694" fmla="*/ 6125606 h 7134208"/>
              <a:gd name="connsiteX15-1695" fmla="*/ 1099910 w 9397013"/>
              <a:gd name="connsiteY15-1696" fmla="*/ 6831395 h 7134208"/>
              <a:gd name="connsiteX16-1697" fmla="*/ 919656 w 9397013"/>
              <a:gd name="connsiteY16-1698" fmla="*/ 6434435 h 7134208"/>
              <a:gd name="connsiteX17-1699" fmla="*/ 5641256 w 9397013"/>
              <a:gd name="connsiteY17-1700" fmla="*/ 212436 h 7134208"/>
              <a:gd name="connsiteX18-1701" fmla="*/ 6077099 w 9397013"/>
              <a:gd name="connsiteY18-1702" fmla="*/ 225638 h 7134208"/>
              <a:gd name="connsiteX19-1703" fmla="*/ 1099910 w 9397013"/>
              <a:gd name="connsiteY19-1704" fmla="*/ 6831395 h 7134208"/>
              <a:gd name="connsiteX20-1705" fmla="*/ 6958778 w 9397013"/>
              <a:gd name="connsiteY20-1706" fmla="*/ 7124971 h 7134208"/>
              <a:gd name="connsiteX21-1707" fmla="*/ 6560038 w 9397013"/>
              <a:gd name="connsiteY21-1708" fmla="*/ 7134207 h 7134208"/>
              <a:gd name="connsiteX22-1709" fmla="*/ 3849932 w 9397013"/>
              <a:gd name="connsiteY22-1710" fmla="*/ 3596670 h 7134208"/>
              <a:gd name="connsiteX23-1711" fmla="*/ 4086202 w 9397013"/>
              <a:gd name="connsiteY23-1712" fmla="*/ 3287229 h 7134208"/>
              <a:gd name="connsiteX24-1713" fmla="*/ 6958778 w 9397013"/>
              <a:gd name="connsiteY24-1714" fmla="*/ 7124971 h 7134208"/>
              <a:gd name="connsiteX25-1715" fmla="*/ 7777211 w 9397013"/>
              <a:gd name="connsiteY25-1716" fmla="*/ 7124972 h 7134208"/>
              <a:gd name="connsiteX26-1717" fmla="*/ 7324729 w 9397013"/>
              <a:gd name="connsiteY26-1718" fmla="*/ 7124972 h 7134208"/>
              <a:gd name="connsiteX27-1719" fmla="*/ 4245793 w 9397013"/>
              <a:gd name="connsiteY27-1720" fmla="*/ 3078214 h 7134208"/>
              <a:gd name="connsiteX28-1721" fmla="*/ 4490696 w 9397013"/>
              <a:gd name="connsiteY28-1722" fmla="*/ 2757469 h 7134208"/>
              <a:gd name="connsiteX29-1723" fmla="*/ 7777211 w 9397013"/>
              <a:gd name="connsiteY29-1724" fmla="*/ 7124972 h 7134208"/>
              <a:gd name="connsiteX30-1725" fmla="*/ 8567691 w 9397013"/>
              <a:gd name="connsiteY30-1726" fmla="*/ 7124971 h 7134208"/>
              <a:gd name="connsiteX31-1727" fmla="*/ 8159389 w 9397013"/>
              <a:gd name="connsiteY31-1728" fmla="*/ 7134208 h 7134208"/>
              <a:gd name="connsiteX32-1729" fmla="*/ 4650570 w 9397013"/>
              <a:gd name="connsiteY32-1730" fmla="*/ 2548084 h 7134208"/>
              <a:gd name="connsiteX33-1731" fmla="*/ 4869244 w 9397013"/>
              <a:gd name="connsiteY33-1732" fmla="*/ 2261689 h 7134208"/>
              <a:gd name="connsiteX34-1733" fmla="*/ 8567691 w 9397013"/>
              <a:gd name="connsiteY34-1734" fmla="*/ 7124971 h 7134208"/>
              <a:gd name="connsiteX35-1735" fmla="*/ 9397013 w 9397013"/>
              <a:gd name="connsiteY35-1736" fmla="*/ 7134207 h 7134208"/>
              <a:gd name="connsiteX36-1737" fmla="*/ 8921338 w 9397013"/>
              <a:gd name="connsiteY36-1738" fmla="*/ 7115735 h 7134208"/>
              <a:gd name="connsiteX37-1739" fmla="*/ 5045299 w 9397013"/>
              <a:gd name="connsiteY37-1740" fmla="*/ 2031113 h 7134208"/>
              <a:gd name="connsiteX38-1741" fmla="*/ 5273037 w 9397013"/>
              <a:gd name="connsiteY38-1742" fmla="*/ 1732846 h 7134208"/>
              <a:gd name="connsiteX39-1743" fmla="*/ 9397013 w 9397013"/>
              <a:gd name="connsiteY39-1744" fmla="*/ 7134207 h 7134208"/>
              <a:gd name="connsiteX0-1745" fmla="*/ 168369 w 9397013"/>
              <a:gd name="connsiteY0-1746" fmla="*/ 4571581 h 6925856"/>
              <a:gd name="connsiteX1-1747" fmla="*/ 0 w 9397013"/>
              <a:gd name="connsiteY1-1748" fmla="*/ 4200794 h 6925856"/>
              <a:gd name="connsiteX2-1749" fmla="*/ 3175788 w 9397013"/>
              <a:gd name="connsiteY2-1750" fmla="*/ 4084 h 6925856"/>
              <a:gd name="connsiteX3-1751" fmla="*/ 3628305 w 9397013"/>
              <a:gd name="connsiteY3-1752" fmla="*/ 0 h 6925856"/>
              <a:gd name="connsiteX4-1753" fmla="*/ 168369 w 9397013"/>
              <a:gd name="connsiteY4-1754" fmla="*/ 4571581 h 6925856"/>
              <a:gd name="connsiteX5-1755" fmla="*/ 488220 w 9397013"/>
              <a:gd name="connsiteY5-1756" fmla="*/ 5275963 h 6925856"/>
              <a:gd name="connsiteX6-1757" fmla="*/ 299082 w 9397013"/>
              <a:gd name="connsiteY6-1758" fmla="*/ 4859439 h 6925856"/>
              <a:gd name="connsiteX7-1759" fmla="*/ 3977147 w 9397013"/>
              <a:gd name="connsiteY7-1760" fmla="*/ 3723 h 6925856"/>
              <a:gd name="connsiteX8-1761" fmla="*/ 4465006 w 9397013"/>
              <a:gd name="connsiteY8-1762" fmla="*/ 840 h 6925856"/>
              <a:gd name="connsiteX9-1763" fmla="*/ 488220 w 9397013"/>
              <a:gd name="connsiteY9-1764" fmla="*/ 5275963 h 6925856"/>
              <a:gd name="connsiteX10-1765" fmla="*/ 779421 w 9397013"/>
              <a:gd name="connsiteY10-1766" fmla="*/ 5917254 h 6925856"/>
              <a:gd name="connsiteX11-1767" fmla="*/ 618065 w 9397013"/>
              <a:gd name="connsiteY11-1768" fmla="*/ 5561911 h 6925856"/>
              <a:gd name="connsiteX12-1769" fmla="*/ 4805164 w 9397013"/>
              <a:gd name="connsiteY12-1770" fmla="*/ 4602 h 6925856"/>
              <a:gd name="connsiteX13-1771" fmla="*/ 5260238 w 9397013"/>
              <a:gd name="connsiteY13-1772" fmla="*/ 25779 h 6925856"/>
              <a:gd name="connsiteX14-1773" fmla="*/ 779421 w 9397013"/>
              <a:gd name="connsiteY14-1774" fmla="*/ 5917254 h 6925856"/>
              <a:gd name="connsiteX15-1775" fmla="*/ 1099910 w 9397013"/>
              <a:gd name="connsiteY15-1776" fmla="*/ 6623043 h 6925856"/>
              <a:gd name="connsiteX16-1777" fmla="*/ 919656 w 9397013"/>
              <a:gd name="connsiteY16-1778" fmla="*/ 6226083 h 6925856"/>
              <a:gd name="connsiteX17-1779" fmla="*/ 5641256 w 9397013"/>
              <a:gd name="connsiteY17-1780" fmla="*/ 4084 h 6925856"/>
              <a:gd name="connsiteX18-1781" fmla="*/ 6077099 w 9397013"/>
              <a:gd name="connsiteY18-1782" fmla="*/ 17286 h 6925856"/>
              <a:gd name="connsiteX19-1783" fmla="*/ 1099910 w 9397013"/>
              <a:gd name="connsiteY19-1784" fmla="*/ 6623043 h 6925856"/>
              <a:gd name="connsiteX20-1785" fmla="*/ 6958778 w 9397013"/>
              <a:gd name="connsiteY20-1786" fmla="*/ 6916619 h 6925856"/>
              <a:gd name="connsiteX21-1787" fmla="*/ 6560038 w 9397013"/>
              <a:gd name="connsiteY21-1788" fmla="*/ 6925855 h 6925856"/>
              <a:gd name="connsiteX22-1789" fmla="*/ 3849932 w 9397013"/>
              <a:gd name="connsiteY22-1790" fmla="*/ 3388318 h 6925856"/>
              <a:gd name="connsiteX23-1791" fmla="*/ 4086202 w 9397013"/>
              <a:gd name="connsiteY23-1792" fmla="*/ 3078877 h 6925856"/>
              <a:gd name="connsiteX24-1793" fmla="*/ 6958778 w 9397013"/>
              <a:gd name="connsiteY24-1794" fmla="*/ 6916619 h 6925856"/>
              <a:gd name="connsiteX25-1795" fmla="*/ 7777211 w 9397013"/>
              <a:gd name="connsiteY25-1796" fmla="*/ 6916620 h 6925856"/>
              <a:gd name="connsiteX26-1797" fmla="*/ 7324729 w 9397013"/>
              <a:gd name="connsiteY26-1798" fmla="*/ 6916620 h 6925856"/>
              <a:gd name="connsiteX27-1799" fmla="*/ 4245793 w 9397013"/>
              <a:gd name="connsiteY27-1800" fmla="*/ 2869862 h 6925856"/>
              <a:gd name="connsiteX28-1801" fmla="*/ 4490696 w 9397013"/>
              <a:gd name="connsiteY28-1802" fmla="*/ 2549117 h 6925856"/>
              <a:gd name="connsiteX29-1803" fmla="*/ 7777211 w 9397013"/>
              <a:gd name="connsiteY29-1804" fmla="*/ 6916620 h 6925856"/>
              <a:gd name="connsiteX30-1805" fmla="*/ 8567691 w 9397013"/>
              <a:gd name="connsiteY30-1806" fmla="*/ 6916619 h 6925856"/>
              <a:gd name="connsiteX31-1807" fmla="*/ 8159389 w 9397013"/>
              <a:gd name="connsiteY31-1808" fmla="*/ 6925856 h 6925856"/>
              <a:gd name="connsiteX32-1809" fmla="*/ 4650570 w 9397013"/>
              <a:gd name="connsiteY32-1810" fmla="*/ 2339732 h 6925856"/>
              <a:gd name="connsiteX33-1811" fmla="*/ 4869244 w 9397013"/>
              <a:gd name="connsiteY33-1812" fmla="*/ 2053337 h 6925856"/>
              <a:gd name="connsiteX34-1813" fmla="*/ 8567691 w 9397013"/>
              <a:gd name="connsiteY34-1814" fmla="*/ 6916619 h 6925856"/>
              <a:gd name="connsiteX35-1815" fmla="*/ 9397013 w 9397013"/>
              <a:gd name="connsiteY35-1816" fmla="*/ 6925855 h 6925856"/>
              <a:gd name="connsiteX36-1817" fmla="*/ 8921338 w 9397013"/>
              <a:gd name="connsiteY36-1818" fmla="*/ 6907383 h 6925856"/>
              <a:gd name="connsiteX37-1819" fmla="*/ 5045299 w 9397013"/>
              <a:gd name="connsiteY37-1820" fmla="*/ 1822761 h 6925856"/>
              <a:gd name="connsiteX38-1821" fmla="*/ 5273037 w 9397013"/>
              <a:gd name="connsiteY38-1822" fmla="*/ 1524494 h 6925856"/>
              <a:gd name="connsiteX39-1823" fmla="*/ 9397013 w 9397013"/>
              <a:gd name="connsiteY39-1824" fmla="*/ 6925855 h 6925856"/>
              <a:gd name="connsiteX0-1825" fmla="*/ 168369 w 9397013"/>
              <a:gd name="connsiteY0-1826" fmla="*/ 4571581 h 6925856"/>
              <a:gd name="connsiteX1-1827" fmla="*/ 0 w 9397013"/>
              <a:gd name="connsiteY1-1828" fmla="*/ 4200794 h 6925856"/>
              <a:gd name="connsiteX2-1829" fmla="*/ 3175788 w 9397013"/>
              <a:gd name="connsiteY2-1830" fmla="*/ 4084 h 6925856"/>
              <a:gd name="connsiteX3-1831" fmla="*/ 3628305 w 9397013"/>
              <a:gd name="connsiteY3-1832" fmla="*/ 0 h 6925856"/>
              <a:gd name="connsiteX4-1833" fmla="*/ 168369 w 9397013"/>
              <a:gd name="connsiteY4-1834" fmla="*/ 4571581 h 6925856"/>
              <a:gd name="connsiteX5-1835" fmla="*/ 488220 w 9397013"/>
              <a:gd name="connsiteY5-1836" fmla="*/ 5275963 h 6925856"/>
              <a:gd name="connsiteX6-1837" fmla="*/ 299082 w 9397013"/>
              <a:gd name="connsiteY6-1838" fmla="*/ 4859439 h 6925856"/>
              <a:gd name="connsiteX7-1839" fmla="*/ 3977147 w 9397013"/>
              <a:gd name="connsiteY7-1840" fmla="*/ 3723 h 6925856"/>
              <a:gd name="connsiteX8-1841" fmla="*/ 4465006 w 9397013"/>
              <a:gd name="connsiteY8-1842" fmla="*/ 840 h 6925856"/>
              <a:gd name="connsiteX9-1843" fmla="*/ 488220 w 9397013"/>
              <a:gd name="connsiteY9-1844" fmla="*/ 5275963 h 6925856"/>
              <a:gd name="connsiteX10-1845" fmla="*/ 779421 w 9397013"/>
              <a:gd name="connsiteY10-1846" fmla="*/ 5917254 h 6925856"/>
              <a:gd name="connsiteX11-1847" fmla="*/ 618065 w 9397013"/>
              <a:gd name="connsiteY11-1848" fmla="*/ 5561911 h 6925856"/>
              <a:gd name="connsiteX12-1849" fmla="*/ 4805164 w 9397013"/>
              <a:gd name="connsiteY12-1850" fmla="*/ 4602 h 6925856"/>
              <a:gd name="connsiteX13-1851" fmla="*/ 5260238 w 9397013"/>
              <a:gd name="connsiteY13-1852" fmla="*/ 25779 h 6925856"/>
              <a:gd name="connsiteX14-1853" fmla="*/ 779421 w 9397013"/>
              <a:gd name="connsiteY14-1854" fmla="*/ 5917254 h 6925856"/>
              <a:gd name="connsiteX15-1855" fmla="*/ 1598673 w 9397013"/>
              <a:gd name="connsiteY15-1856" fmla="*/ 5976498 h 6925856"/>
              <a:gd name="connsiteX16-1857" fmla="*/ 919656 w 9397013"/>
              <a:gd name="connsiteY16-1858" fmla="*/ 6226083 h 6925856"/>
              <a:gd name="connsiteX17-1859" fmla="*/ 5641256 w 9397013"/>
              <a:gd name="connsiteY17-1860" fmla="*/ 4084 h 6925856"/>
              <a:gd name="connsiteX18-1861" fmla="*/ 6077099 w 9397013"/>
              <a:gd name="connsiteY18-1862" fmla="*/ 17286 h 6925856"/>
              <a:gd name="connsiteX19-1863" fmla="*/ 1598673 w 9397013"/>
              <a:gd name="connsiteY19-1864" fmla="*/ 5976498 h 6925856"/>
              <a:gd name="connsiteX20-1865" fmla="*/ 6958778 w 9397013"/>
              <a:gd name="connsiteY20-1866" fmla="*/ 6916619 h 6925856"/>
              <a:gd name="connsiteX21-1867" fmla="*/ 6560038 w 9397013"/>
              <a:gd name="connsiteY21-1868" fmla="*/ 6925855 h 6925856"/>
              <a:gd name="connsiteX22-1869" fmla="*/ 3849932 w 9397013"/>
              <a:gd name="connsiteY22-1870" fmla="*/ 3388318 h 6925856"/>
              <a:gd name="connsiteX23-1871" fmla="*/ 4086202 w 9397013"/>
              <a:gd name="connsiteY23-1872" fmla="*/ 3078877 h 6925856"/>
              <a:gd name="connsiteX24-1873" fmla="*/ 6958778 w 9397013"/>
              <a:gd name="connsiteY24-1874" fmla="*/ 6916619 h 6925856"/>
              <a:gd name="connsiteX25-1875" fmla="*/ 7777211 w 9397013"/>
              <a:gd name="connsiteY25-1876" fmla="*/ 6916620 h 6925856"/>
              <a:gd name="connsiteX26-1877" fmla="*/ 7324729 w 9397013"/>
              <a:gd name="connsiteY26-1878" fmla="*/ 6916620 h 6925856"/>
              <a:gd name="connsiteX27-1879" fmla="*/ 4245793 w 9397013"/>
              <a:gd name="connsiteY27-1880" fmla="*/ 2869862 h 6925856"/>
              <a:gd name="connsiteX28-1881" fmla="*/ 4490696 w 9397013"/>
              <a:gd name="connsiteY28-1882" fmla="*/ 2549117 h 6925856"/>
              <a:gd name="connsiteX29-1883" fmla="*/ 7777211 w 9397013"/>
              <a:gd name="connsiteY29-1884" fmla="*/ 6916620 h 6925856"/>
              <a:gd name="connsiteX30-1885" fmla="*/ 8567691 w 9397013"/>
              <a:gd name="connsiteY30-1886" fmla="*/ 6916619 h 6925856"/>
              <a:gd name="connsiteX31-1887" fmla="*/ 8159389 w 9397013"/>
              <a:gd name="connsiteY31-1888" fmla="*/ 6925856 h 6925856"/>
              <a:gd name="connsiteX32-1889" fmla="*/ 4650570 w 9397013"/>
              <a:gd name="connsiteY32-1890" fmla="*/ 2339732 h 6925856"/>
              <a:gd name="connsiteX33-1891" fmla="*/ 4869244 w 9397013"/>
              <a:gd name="connsiteY33-1892" fmla="*/ 2053337 h 6925856"/>
              <a:gd name="connsiteX34-1893" fmla="*/ 8567691 w 9397013"/>
              <a:gd name="connsiteY34-1894" fmla="*/ 6916619 h 6925856"/>
              <a:gd name="connsiteX35-1895" fmla="*/ 9397013 w 9397013"/>
              <a:gd name="connsiteY35-1896" fmla="*/ 6925855 h 6925856"/>
              <a:gd name="connsiteX36-1897" fmla="*/ 8921338 w 9397013"/>
              <a:gd name="connsiteY36-1898" fmla="*/ 6907383 h 6925856"/>
              <a:gd name="connsiteX37-1899" fmla="*/ 5045299 w 9397013"/>
              <a:gd name="connsiteY37-1900" fmla="*/ 1822761 h 6925856"/>
              <a:gd name="connsiteX38-1901" fmla="*/ 5273037 w 9397013"/>
              <a:gd name="connsiteY38-1902" fmla="*/ 1524494 h 6925856"/>
              <a:gd name="connsiteX39-1903" fmla="*/ 9397013 w 9397013"/>
              <a:gd name="connsiteY39-1904" fmla="*/ 6925855 h 6925856"/>
              <a:gd name="connsiteX0-1905" fmla="*/ 168369 w 9397013"/>
              <a:gd name="connsiteY0-1906" fmla="*/ 4571581 h 6925856"/>
              <a:gd name="connsiteX1-1907" fmla="*/ 0 w 9397013"/>
              <a:gd name="connsiteY1-1908" fmla="*/ 4200794 h 6925856"/>
              <a:gd name="connsiteX2-1909" fmla="*/ 3175788 w 9397013"/>
              <a:gd name="connsiteY2-1910" fmla="*/ 4084 h 6925856"/>
              <a:gd name="connsiteX3-1911" fmla="*/ 3628305 w 9397013"/>
              <a:gd name="connsiteY3-1912" fmla="*/ 0 h 6925856"/>
              <a:gd name="connsiteX4-1913" fmla="*/ 168369 w 9397013"/>
              <a:gd name="connsiteY4-1914" fmla="*/ 4571581 h 6925856"/>
              <a:gd name="connsiteX5-1915" fmla="*/ 488220 w 9397013"/>
              <a:gd name="connsiteY5-1916" fmla="*/ 5275963 h 6925856"/>
              <a:gd name="connsiteX6-1917" fmla="*/ 299082 w 9397013"/>
              <a:gd name="connsiteY6-1918" fmla="*/ 4859439 h 6925856"/>
              <a:gd name="connsiteX7-1919" fmla="*/ 3977147 w 9397013"/>
              <a:gd name="connsiteY7-1920" fmla="*/ 3723 h 6925856"/>
              <a:gd name="connsiteX8-1921" fmla="*/ 4465006 w 9397013"/>
              <a:gd name="connsiteY8-1922" fmla="*/ 840 h 6925856"/>
              <a:gd name="connsiteX9-1923" fmla="*/ 488220 w 9397013"/>
              <a:gd name="connsiteY9-1924" fmla="*/ 5275963 h 6925856"/>
              <a:gd name="connsiteX10-1925" fmla="*/ 779421 w 9397013"/>
              <a:gd name="connsiteY10-1926" fmla="*/ 5917254 h 6925856"/>
              <a:gd name="connsiteX11-1927" fmla="*/ 618065 w 9397013"/>
              <a:gd name="connsiteY11-1928" fmla="*/ 5561911 h 6925856"/>
              <a:gd name="connsiteX12-1929" fmla="*/ 4805164 w 9397013"/>
              <a:gd name="connsiteY12-1930" fmla="*/ 4602 h 6925856"/>
              <a:gd name="connsiteX13-1931" fmla="*/ 5260238 w 9397013"/>
              <a:gd name="connsiteY13-1932" fmla="*/ 25779 h 6925856"/>
              <a:gd name="connsiteX14-1933" fmla="*/ 779421 w 9397013"/>
              <a:gd name="connsiteY14-1934" fmla="*/ 5917254 h 6925856"/>
              <a:gd name="connsiteX15-1935" fmla="*/ 1598673 w 9397013"/>
              <a:gd name="connsiteY15-1936" fmla="*/ 5976498 h 6925856"/>
              <a:gd name="connsiteX16-1937" fmla="*/ 1566201 w 9397013"/>
              <a:gd name="connsiteY16-1938" fmla="*/ 5394811 h 6925856"/>
              <a:gd name="connsiteX17-1939" fmla="*/ 5641256 w 9397013"/>
              <a:gd name="connsiteY17-1940" fmla="*/ 4084 h 6925856"/>
              <a:gd name="connsiteX18-1941" fmla="*/ 6077099 w 9397013"/>
              <a:gd name="connsiteY18-1942" fmla="*/ 17286 h 6925856"/>
              <a:gd name="connsiteX19-1943" fmla="*/ 1598673 w 9397013"/>
              <a:gd name="connsiteY19-1944" fmla="*/ 5976498 h 6925856"/>
              <a:gd name="connsiteX20-1945" fmla="*/ 6958778 w 9397013"/>
              <a:gd name="connsiteY20-1946" fmla="*/ 6916619 h 6925856"/>
              <a:gd name="connsiteX21-1947" fmla="*/ 6560038 w 9397013"/>
              <a:gd name="connsiteY21-1948" fmla="*/ 6925855 h 6925856"/>
              <a:gd name="connsiteX22-1949" fmla="*/ 3849932 w 9397013"/>
              <a:gd name="connsiteY22-1950" fmla="*/ 3388318 h 6925856"/>
              <a:gd name="connsiteX23-1951" fmla="*/ 4086202 w 9397013"/>
              <a:gd name="connsiteY23-1952" fmla="*/ 3078877 h 6925856"/>
              <a:gd name="connsiteX24-1953" fmla="*/ 6958778 w 9397013"/>
              <a:gd name="connsiteY24-1954" fmla="*/ 6916619 h 6925856"/>
              <a:gd name="connsiteX25-1955" fmla="*/ 7777211 w 9397013"/>
              <a:gd name="connsiteY25-1956" fmla="*/ 6916620 h 6925856"/>
              <a:gd name="connsiteX26-1957" fmla="*/ 7324729 w 9397013"/>
              <a:gd name="connsiteY26-1958" fmla="*/ 6916620 h 6925856"/>
              <a:gd name="connsiteX27-1959" fmla="*/ 4245793 w 9397013"/>
              <a:gd name="connsiteY27-1960" fmla="*/ 2869862 h 6925856"/>
              <a:gd name="connsiteX28-1961" fmla="*/ 4490696 w 9397013"/>
              <a:gd name="connsiteY28-1962" fmla="*/ 2549117 h 6925856"/>
              <a:gd name="connsiteX29-1963" fmla="*/ 7777211 w 9397013"/>
              <a:gd name="connsiteY29-1964" fmla="*/ 6916620 h 6925856"/>
              <a:gd name="connsiteX30-1965" fmla="*/ 8567691 w 9397013"/>
              <a:gd name="connsiteY30-1966" fmla="*/ 6916619 h 6925856"/>
              <a:gd name="connsiteX31-1967" fmla="*/ 8159389 w 9397013"/>
              <a:gd name="connsiteY31-1968" fmla="*/ 6925856 h 6925856"/>
              <a:gd name="connsiteX32-1969" fmla="*/ 4650570 w 9397013"/>
              <a:gd name="connsiteY32-1970" fmla="*/ 2339732 h 6925856"/>
              <a:gd name="connsiteX33-1971" fmla="*/ 4869244 w 9397013"/>
              <a:gd name="connsiteY33-1972" fmla="*/ 2053337 h 6925856"/>
              <a:gd name="connsiteX34-1973" fmla="*/ 8567691 w 9397013"/>
              <a:gd name="connsiteY34-1974" fmla="*/ 6916619 h 6925856"/>
              <a:gd name="connsiteX35-1975" fmla="*/ 9397013 w 9397013"/>
              <a:gd name="connsiteY35-1976" fmla="*/ 6925855 h 6925856"/>
              <a:gd name="connsiteX36-1977" fmla="*/ 8921338 w 9397013"/>
              <a:gd name="connsiteY36-1978" fmla="*/ 6907383 h 6925856"/>
              <a:gd name="connsiteX37-1979" fmla="*/ 5045299 w 9397013"/>
              <a:gd name="connsiteY37-1980" fmla="*/ 1822761 h 6925856"/>
              <a:gd name="connsiteX38-1981" fmla="*/ 5273037 w 9397013"/>
              <a:gd name="connsiteY38-1982" fmla="*/ 1524494 h 6925856"/>
              <a:gd name="connsiteX39-1983" fmla="*/ 9397013 w 9397013"/>
              <a:gd name="connsiteY39-1984" fmla="*/ 6925855 h 6925856"/>
              <a:gd name="connsiteX0-1985" fmla="*/ 168369 w 9397013"/>
              <a:gd name="connsiteY0-1986" fmla="*/ 4571581 h 6925856"/>
              <a:gd name="connsiteX1-1987" fmla="*/ 0 w 9397013"/>
              <a:gd name="connsiteY1-1988" fmla="*/ 4200794 h 6925856"/>
              <a:gd name="connsiteX2-1989" fmla="*/ 3175788 w 9397013"/>
              <a:gd name="connsiteY2-1990" fmla="*/ 4084 h 6925856"/>
              <a:gd name="connsiteX3-1991" fmla="*/ 3628305 w 9397013"/>
              <a:gd name="connsiteY3-1992" fmla="*/ 0 h 6925856"/>
              <a:gd name="connsiteX4-1993" fmla="*/ 168369 w 9397013"/>
              <a:gd name="connsiteY4-1994" fmla="*/ 4571581 h 6925856"/>
              <a:gd name="connsiteX5-1995" fmla="*/ 488220 w 9397013"/>
              <a:gd name="connsiteY5-1996" fmla="*/ 5275963 h 6925856"/>
              <a:gd name="connsiteX6-1997" fmla="*/ 299082 w 9397013"/>
              <a:gd name="connsiteY6-1998" fmla="*/ 4859439 h 6925856"/>
              <a:gd name="connsiteX7-1999" fmla="*/ 3977147 w 9397013"/>
              <a:gd name="connsiteY7-2000" fmla="*/ 3723 h 6925856"/>
              <a:gd name="connsiteX8-2001" fmla="*/ 4465006 w 9397013"/>
              <a:gd name="connsiteY8-2002" fmla="*/ 840 h 6925856"/>
              <a:gd name="connsiteX9-2003" fmla="*/ 488220 w 9397013"/>
              <a:gd name="connsiteY9-2004" fmla="*/ 5275963 h 6925856"/>
              <a:gd name="connsiteX10-2005" fmla="*/ 779421 w 9397013"/>
              <a:gd name="connsiteY10-2006" fmla="*/ 5917254 h 6925856"/>
              <a:gd name="connsiteX11-2007" fmla="*/ 618065 w 9397013"/>
              <a:gd name="connsiteY11-2008" fmla="*/ 5561911 h 6925856"/>
              <a:gd name="connsiteX12-2009" fmla="*/ 4805164 w 9397013"/>
              <a:gd name="connsiteY12-2010" fmla="*/ 4602 h 6925856"/>
              <a:gd name="connsiteX13-2011" fmla="*/ 5260238 w 9397013"/>
              <a:gd name="connsiteY13-2012" fmla="*/ 25779 h 6925856"/>
              <a:gd name="connsiteX14-2013" fmla="*/ 779421 w 9397013"/>
              <a:gd name="connsiteY14-2014" fmla="*/ 5917254 h 6925856"/>
              <a:gd name="connsiteX15-2015" fmla="*/ 1580200 w 9397013"/>
              <a:gd name="connsiteY15-2016" fmla="*/ 5985735 h 6925856"/>
              <a:gd name="connsiteX16-2017" fmla="*/ 1566201 w 9397013"/>
              <a:gd name="connsiteY16-2018" fmla="*/ 5394811 h 6925856"/>
              <a:gd name="connsiteX17-2019" fmla="*/ 5641256 w 9397013"/>
              <a:gd name="connsiteY17-2020" fmla="*/ 4084 h 6925856"/>
              <a:gd name="connsiteX18-2021" fmla="*/ 6077099 w 9397013"/>
              <a:gd name="connsiteY18-2022" fmla="*/ 17286 h 6925856"/>
              <a:gd name="connsiteX19-2023" fmla="*/ 1580200 w 9397013"/>
              <a:gd name="connsiteY19-2024" fmla="*/ 5985735 h 6925856"/>
              <a:gd name="connsiteX20-2025" fmla="*/ 6958778 w 9397013"/>
              <a:gd name="connsiteY20-2026" fmla="*/ 6916619 h 6925856"/>
              <a:gd name="connsiteX21-2027" fmla="*/ 6560038 w 9397013"/>
              <a:gd name="connsiteY21-2028" fmla="*/ 6925855 h 6925856"/>
              <a:gd name="connsiteX22-2029" fmla="*/ 3849932 w 9397013"/>
              <a:gd name="connsiteY22-2030" fmla="*/ 3388318 h 6925856"/>
              <a:gd name="connsiteX23-2031" fmla="*/ 4086202 w 9397013"/>
              <a:gd name="connsiteY23-2032" fmla="*/ 3078877 h 6925856"/>
              <a:gd name="connsiteX24-2033" fmla="*/ 6958778 w 9397013"/>
              <a:gd name="connsiteY24-2034" fmla="*/ 6916619 h 6925856"/>
              <a:gd name="connsiteX25-2035" fmla="*/ 7777211 w 9397013"/>
              <a:gd name="connsiteY25-2036" fmla="*/ 6916620 h 6925856"/>
              <a:gd name="connsiteX26-2037" fmla="*/ 7324729 w 9397013"/>
              <a:gd name="connsiteY26-2038" fmla="*/ 6916620 h 6925856"/>
              <a:gd name="connsiteX27-2039" fmla="*/ 4245793 w 9397013"/>
              <a:gd name="connsiteY27-2040" fmla="*/ 2869862 h 6925856"/>
              <a:gd name="connsiteX28-2041" fmla="*/ 4490696 w 9397013"/>
              <a:gd name="connsiteY28-2042" fmla="*/ 2549117 h 6925856"/>
              <a:gd name="connsiteX29-2043" fmla="*/ 7777211 w 9397013"/>
              <a:gd name="connsiteY29-2044" fmla="*/ 6916620 h 6925856"/>
              <a:gd name="connsiteX30-2045" fmla="*/ 8567691 w 9397013"/>
              <a:gd name="connsiteY30-2046" fmla="*/ 6916619 h 6925856"/>
              <a:gd name="connsiteX31-2047" fmla="*/ 8159389 w 9397013"/>
              <a:gd name="connsiteY31-2048" fmla="*/ 6925856 h 6925856"/>
              <a:gd name="connsiteX32-2049" fmla="*/ 4650570 w 9397013"/>
              <a:gd name="connsiteY32-2050" fmla="*/ 2339732 h 6925856"/>
              <a:gd name="connsiteX33-2051" fmla="*/ 4869244 w 9397013"/>
              <a:gd name="connsiteY33-2052" fmla="*/ 2053337 h 6925856"/>
              <a:gd name="connsiteX34-2053" fmla="*/ 8567691 w 9397013"/>
              <a:gd name="connsiteY34-2054" fmla="*/ 6916619 h 6925856"/>
              <a:gd name="connsiteX35-2055" fmla="*/ 9397013 w 9397013"/>
              <a:gd name="connsiteY35-2056" fmla="*/ 6925855 h 6925856"/>
              <a:gd name="connsiteX36-2057" fmla="*/ 8921338 w 9397013"/>
              <a:gd name="connsiteY36-2058" fmla="*/ 6907383 h 6925856"/>
              <a:gd name="connsiteX37-2059" fmla="*/ 5045299 w 9397013"/>
              <a:gd name="connsiteY37-2060" fmla="*/ 1822761 h 6925856"/>
              <a:gd name="connsiteX38-2061" fmla="*/ 5273037 w 9397013"/>
              <a:gd name="connsiteY38-2062" fmla="*/ 1524494 h 6925856"/>
              <a:gd name="connsiteX39-2063" fmla="*/ 9397013 w 9397013"/>
              <a:gd name="connsiteY39-2064" fmla="*/ 6925855 h 6925856"/>
              <a:gd name="connsiteX0-2065" fmla="*/ 168369 w 9397013"/>
              <a:gd name="connsiteY0-2066" fmla="*/ 4571581 h 6925856"/>
              <a:gd name="connsiteX1-2067" fmla="*/ 0 w 9397013"/>
              <a:gd name="connsiteY1-2068" fmla="*/ 4200794 h 6925856"/>
              <a:gd name="connsiteX2-2069" fmla="*/ 3175788 w 9397013"/>
              <a:gd name="connsiteY2-2070" fmla="*/ 4084 h 6925856"/>
              <a:gd name="connsiteX3-2071" fmla="*/ 3628305 w 9397013"/>
              <a:gd name="connsiteY3-2072" fmla="*/ 0 h 6925856"/>
              <a:gd name="connsiteX4-2073" fmla="*/ 168369 w 9397013"/>
              <a:gd name="connsiteY4-2074" fmla="*/ 4571581 h 6925856"/>
              <a:gd name="connsiteX5-2075" fmla="*/ 488220 w 9397013"/>
              <a:gd name="connsiteY5-2076" fmla="*/ 5275963 h 6925856"/>
              <a:gd name="connsiteX6-2077" fmla="*/ 299082 w 9397013"/>
              <a:gd name="connsiteY6-2078" fmla="*/ 4859439 h 6925856"/>
              <a:gd name="connsiteX7-2079" fmla="*/ 3977147 w 9397013"/>
              <a:gd name="connsiteY7-2080" fmla="*/ 3723 h 6925856"/>
              <a:gd name="connsiteX8-2081" fmla="*/ 4465006 w 9397013"/>
              <a:gd name="connsiteY8-2082" fmla="*/ 840 h 6925856"/>
              <a:gd name="connsiteX9-2083" fmla="*/ 488220 w 9397013"/>
              <a:gd name="connsiteY9-2084" fmla="*/ 5275963 h 6925856"/>
              <a:gd name="connsiteX10-2085" fmla="*/ 1601458 w 9397013"/>
              <a:gd name="connsiteY10-2086" fmla="*/ 4845836 h 6925856"/>
              <a:gd name="connsiteX11-2087" fmla="*/ 618065 w 9397013"/>
              <a:gd name="connsiteY11-2088" fmla="*/ 5561911 h 6925856"/>
              <a:gd name="connsiteX12-2089" fmla="*/ 4805164 w 9397013"/>
              <a:gd name="connsiteY12-2090" fmla="*/ 4602 h 6925856"/>
              <a:gd name="connsiteX13-2091" fmla="*/ 5260238 w 9397013"/>
              <a:gd name="connsiteY13-2092" fmla="*/ 25779 h 6925856"/>
              <a:gd name="connsiteX14-2093" fmla="*/ 1601458 w 9397013"/>
              <a:gd name="connsiteY14-2094" fmla="*/ 4845836 h 6925856"/>
              <a:gd name="connsiteX15-2095" fmla="*/ 1580200 w 9397013"/>
              <a:gd name="connsiteY15-2096" fmla="*/ 5985735 h 6925856"/>
              <a:gd name="connsiteX16-2097" fmla="*/ 1566201 w 9397013"/>
              <a:gd name="connsiteY16-2098" fmla="*/ 5394811 h 6925856"/>
              <a:gd name="connsiteX17-2099" fmla="*/ 5641256 w 9397013"/>
              <a:gd name="connsiteY17-2100" fmla="*/ 4084 h 6925856"/>
              <a:gd name="connsiteX18-2101" fmla="*/ 6077099 w 9397013"/>
              <a:gd name="connsiteY18-2102" fmla="*/ 17286 h 6925856"/>
              <a:gd name="connsiteX19-2103" fmla="*/ 1580200 w 9397013"/>
              <a:gd name="connsiteY19-2104" fmla="*/ 5985735 h 6925856"/>
              <a:gd name="connsiteX20-2105" fmla="*/ 6958778 w 9397013"/>
              <a:gd name="connsiteY20-2106" fmla="*/ 6916619 h 6925856"/>
              <a:gd name="connsiteX21-2107" fmla="*/ 6560038 w 9397013"/>
              <a:gd name="connsiteY21-2108" fmla="*/ 6925855 h 6925856"/>
              <a:gd name="connsiteX22-2109" fmla="*/ 3849932 w 9397013"/>
              <a:gd name="connsiteY22-2110" fmla="*/ 3388318 h 6925856"/>
              <a:gd name="connsiteX23-2111" fmla="*/ 4086202 w 9397013"/>
              <a:gd name="connsiteY23-2112" fmla="*/ 3078877 h 6925856"/>
              <a:gd name="connsiteX24-2113" fmla="*/ 6958778 w 9397013"/>
              <a:gd name="connsiteY24-2114" fmla="*/ 6916619 h 6925856"/>
              <a:gd name="connsiteX25-2115" fmla="*/ 7777211 w 9397013"/>
              <a:gd name="connsiteY25-2116" fmla="*/ 6916620 h 6925856"/>
              <a:gd name="connsiteX26-2117" fmla="*/ 7324729 w 9397013"/>
              <a:gd name="connsiteY26-2118" fmla="*/ 6916620 h 6925856"/>
              <a:gd name="connsiteX27-2119" fmla="*/ 4245793 w 9397013"/>
              <a:gd name="connsiteY27-2120" fmla="*/ 2869862 h 6925856"/>
              <a:gd name="connsiteX28-2121" fmla="*/ 4490696 w 9397013"/>
              <a:gd name="connsiteY28-2122" fmla="*/ 2549117 h 6925856"/>
              <a:gd name="connsiteX29-2123" fmla="*/ 7777211 w 9397013"/>
              <a:gd name="connsiteY29-2124" fmla="*/ 6916620 h 6925856"/>
              <a:gd name="connsiteX30-2125" fmla="*/ 8567691 w 9397013"/>
              <a:gd name="connsiteY30-2126" fmla="*/ 6916619 h 6925856"/>
              <a:gd name="connsiteX31-2127" fmla="*/ 8159389 w 9397013"/>
              <a:gd name="connsiteY31-2128" fmla="*/ 6925856 h 6925856"/>
              <a:gd name="connsiteX32-2129" fmla="*/ 4650570 w 9397013"/>
              <a:gd name="connsiteY32-2130" fmla="*/ 2339732 h 6925856"/>
              <a:gd name="connsiteX33-2131" fmla="*/ 4869244 w 9397013"/>
              <a:gd name="connsiteY33-2132" fmla="*/ 2053337 h 6925856"/>
              <a:gd name="connsiteX34-2133" fmla="*/ 8567691 w 9397013"/>
              <a:gd name="connsiteY34-2134" fmla="*/ 6916619 h 6925856"/>
              <a:gd name="connsiteX35-2135" fmla="*/ 9397013 w 9397013"/>
              <a:gd name="connsiteY35-2136" fmla="*/ 6925855 h 6925856"/>
              <a:gd name="connsiteX36-2137" fmla="*/ 8921338 w 9397013"/>
              <a:gd name="connsiteY36-2138" fmla="*/ 6907383 h 6925856"/>
              <a:gd name="connsiteX37-2139" fmla="*/ 5045299 w 9397013"/>
              <a:gd name="connsiteY37-2140" fmla="*/ 1822761 h 6925856"/>
              <a:gd name="connsiteX38-2141" fmla="*/ 5273037 w 9397013"/>
              <a:gd name="connsiteY38-2142" fmla="*/ 1524494 h 6925856"/>
              <a:gd name="connsiteX39-2143" fmla="*/ 9397013 w 9397013"/>
              <a:gd name="connsiteY39-2144" fmla="*/ 6925855 h 6925856"/>
              <a:gd name="connsiteX0-2145" fmla="*/ 168369 w 9397013"/>
              <a:gd name="connsiteY0-2146" fmla="*/ 4571581 h 6925856"/>
              <a:gd name="connsiteX1-2147" fmla="*/ 0 w 9397013"/>
              <a:gd name="connsiteY1-2148" fmla="*/ 4200794 h 6925856"/>
              <a:gd name="connsiteX2-2149" fmla="*/ 3175788 w 9397013"/>
              <a:gd name="connsiteY2-2150" fmla="*/ 4084 h 6925856"/>
              <a:gd name="connsiteX3-2151" fmla="*/ 3628305 w 9397013"/>
              <a:gd name="connsiteY3-2152" fmla="*/ 0 h 6925856"/>
              <a:gd name="connsiteX4-2153" fmla="*/ 168369 w 9397013"/>
              <a:gd name="connsiteY4-2154" fmla="*/ 4571581 h 6925856"/>
              <a:gd name="connsiteX5-2155" fmla="*/ 488220 w 9397013"/>
              <a:gd name="connsiteY5-2156" fmla="*/ 5275963 h 6925856"/>
              <a:gd name="connsiteX6-2157" fmla="*/ 299082 w 9397013"/>
              <a:gd name="connsiteY6-2158" fmla="*/ 4859439 h 6925856"/>
              <a:gd name="connsiteX7-2159" fmla="*/ 3977147 w 9397013"/>
              <a:gd name="connsiteY7-2160" fmla="*/ 3723 h 6925856"/>
              <a:gd name="connsiteX8-2161" fmla="*/ 4465006 w 9397013"/>
              <a:gd name="connsiteY8-2162" fmla="*/ 840 h 6925856"/>
              <a:gd name="connsiteX9-2163" fmla="*/ 488220 w 9397013"/>
              <a:gd name="connsiteY9-2164" fmla="*/ 5275963 h 6925856"/>
              <a:gd name="connsiteX10-2165" fmla="*/ 1601458 w 9397013"/>
              <a:gd name="connsiteY10-2166" fmla="*/ 4845836 h 6925856"/>
              <a:gd name="connsiteX11-2167" fmla="*/ 1550937 w 9397013"/>
              <a:gd name="connsiteY11-2168" fmla="*/ 4315002 h 6925856"/>
              <a:gd name="connsiteX12-2169" fmla="*/ 4805164 w 9397013"/>
              <a:gd name="connsiteY12-2170" fmla="*/ 4602 h 6925856"/>
              <a:gd name="connsiteX13-2171" fmla="*/ 5260238 w 9397013"/>
              <a:gd name="connsiteY13-2172" fmla="*/ 25779 h 6925856"/>
              <a:gd name="connsiteX14-2173" fmla="*/ 1601458 w 9397013"/>
              <a:gd name="connsiteY14-2174" fmla="*/ 4845836 h 6925856"/>
              <a:gd name="connsiteX15-2175" fmla="*/ 1580200 w 9397013"/>
              <a:gd name="connsiteY15-2176" fmla="*/ 5985735 h 6925856"/>
              <a:gd name="connsiteX16-2177" fmla="*/ 1566201 w 9397013"/>
              <a:gd name="connsiteY16-2178" fmla="*/ 5394811 h 6925856"/>
              <a:gd name="connsiteX17-2179" fmla="*/ 5641256 w 9397013"/>
              <a:gd name="connsiteY17-2180" fmla="*/ 4084 h 6925856"/>
              <a:gd name="connsiteX18-2181" fmla="*/ 6077099 w 9397013"/>
              <a:gd name="connsiteY18-2182" fmla="*/ 17286 h 6925856"/>
              <a:gd name="connsiteX19-2183" fmla="*/ 1580200 w 9397013"/>
              <a:gd name="connsiteY19-2184" fmla="*/ 5985735 h 6925856"/>
              <a:gd name="connsiteX20-2185" fmla="*/ 6958778 w 9397013"/>
              <a:gd name="connsiteY20-2186" fmla="*/ 6916619 h 6925856"/>
              <a:gd name="connsiteX21-2187" fmla="*/ 6560038 w 9397013"/>
              <a:gd name="connsiteY21-2188" fmla="*/ 6925855 h 6925856"/>
              <a:gd name="connsiteX22-2189" fmla="*/ 3849932 w 9397013"/>
              <a:gd name="connsiteY22-2190" fmla="*/ 3388318 h 6925856"/>
              <a:gd name="connsiteX23-2191" fmla="*/ 4086202 w 9397013"/>
              <a:gd name="connsiteY23-2192" fmla="*/ 3078877 h 6925856"/>
              <a:gd name="connsiteX24-2193" fmla="*/ 6958778 w 9397013"/>
              <a:gd name="connsiteY24-2194" fmla="*/ 6916619 h 6925856"/>
              <a:gd name="connsiteX25-2195" fmla="*/ 7777211 w 9397013"/>
              <a:gd name="connsiteY25-2196" fmla="*/ 6916620 h 6925856"/>
              <a:gd name="connsiteX26-2197" fmla="*/ 7324729 w 9397013"/>
              <a:gd name="connsiteY26-2198" fmla="*/ 6916620 h 6925856"/>
              <a:gd name="connsiteX27-2199" fmla="*/ 4245793 w 9397013"/>
              <a:gd name="connsiteY27-2200" fmla="*/ 2869862 h 6925856"/>
              <a:gd name="connsiteX28-2201" fmla="*/ 4490696 w 9397013"/>
              <a:gd name="connsiteY28-2202" fmla="*/ 2549117 h 6925856"/>
              <a:gd name="connsiteX29-2203" fmla="*/ 7777211 w 9397013"/>
              <a:gd name="connsiteY29-2204" fmla="*/ 6916620 h 6925856"/>
              <a:gd name="connsiteX30-2205" fmla="*/ 8567691 w 9397013"/>
              <a:gd name="connsiteY30-2206" fmla="*/ 6916619 h 6925856"/>
              <a:gd name="connsiteX31-2207" fmla="*/ 8159389 w 9397013"/>
              <a:gd name="connsiteY31-2208" fmla="*/ 6925856 h 6925856"/>
              <a:gd name="connsiteX32-2209" fmla="*/ 4650570 w 9397013"/>
              <a:gd name="connsiteY32-2210" fmla="*/ 2339732 h 6925856"/>
              <a:gd name="connsiteX33-2211" fmla="*/ 4869244 w 9397013"/>
              <a:gd name="connsiteY33-2212" fmla="*/ 2053337 h 6925856"/>
              <a:gd name="connsiteX34-2213" fmla="*/ 8567691 w 9397013"/>
              <a:gd name="connsiteY34-2214" fmla="*/ 6916619 h 6925856"/>
              <a:gd name="connsiteX35-2215" fmla="*/ 9397013 w 9397013"/>
              <a:gd name="connsiteY35-2216" fmla="*/ 6925855 h 6925856"/>
              <a:gd name="connsiteX36-2217" fmla="*/ 8921338 w 9397013"/>
              <a:gd name="connsiteY36-2218" fmla="*/ 6907383 h 6925856"/>
              <a:gd name="connsiteX37-2219" fmla="*/ 5045299 w 9397013"/>
              <a:gd name="connsiteY37-2220" fmla="*/ 1822761 h 6925856"/>
              <a:gd name="connsiteX38-2221" fmla="*/ 5273037 w 9397013"/>
              <a:gd name="connsiteY38-2222" fmla="*/ 1524494 h 6925856"/>
              <a:gd name="connsiteX39-2223" fmla="*/ 9397013 w 9397013"/>
              <a:gd name="connsiteY39-2224" fmla="*/ 6925855 h 6925856"/>
              <a:gd name="connsiteX0-2225" fmla="*/ 168369 w 9397013"/>
              <a:gd name="connsiteY0-2226" fmla="*/ 4571581 h 6925856"/>
              <a:gd name="connsiteX1-2227" fmla="*/ 0 w 9397013"/>
              <a:gd name="connsiteY1-2228" fmla="*/ 4200794 h 6925856"/>
              <a:gd name="connsiteX2-2229" fmla="*/ 3175788 w 9397013"/>
              <a:gd name="connsiteY2-2230" fmla="*/ 4084 h 6925856"/>
              <a:gd name="connsiteX3-2231" fmla="*/ 3628305 w 9397013"/>
              <a:gd name="connsiteY3-2232" fmla="*/ 0 h 6925856"/>
              <a:gd name="connsiteX4-2233" fmla="*/ 168369 w 9397013"/>
              <a:gd name="connsiteY4-2234" fmla="*/ 4571581 h 6925856"/>
              <a:gd name="connsiteX5-2235" fmla="*/ 488220 w 9397013"/>
              <a:gd name="connsiteY5-2236" fmla="*/ 5275963 h 6925856"/>
              <a:gd name="connsiteX6-2237" fmla="*/ 299082 w 9397013"/>
              <a:gd name="connsiteY6-2238" fmla="*/ 4859439 h 6925856"/>
              <a:gd name="connsiteX7-2239" fmla="*/ 3977147 w 9397013"/>
              <a:gd name="connsiteY7-2240" fmla="*/ 3723 h 6925856"/>
              <a:gd name="connsiteX8-2241" fmla="*/ 4465006 w 9397013"/>
              <a:gd name="connsiteY8-2242" fmla="*/ 840 h 6925856"/>
              <a:gd name="connsiteX9-2243" fmla="*/ 488220 w 9397013"/>
              <a:gd name="connsiteY9-2244" fmla="*/ 5275963 h 6925856"/>
              <a:gd name="connsiteX10-2245" fmla="*/ 1573749 w 9397013"/>
              <a:gd name="connsiteY10-2246" fmla="*/ 4882781 h 6925856"/>
              <a:gd name="connsiteX11-2247" fmla="*/ 1550937 w 9397013"/>
              <a:gd name="connsiteY11-2248" fmla="*/ 4315002 h 6925856"/>
              <a:gd name="connsiteX12-2249" fmla="*/ 4805164 w 9397013"/>
              <a:gd name="connsiteY12-2250" fmla="*/ 4602 h 6925856"/>
              <a:gd name="connsiteX13-2251" fmla="*/ 5260238 w 9397013"/>
              <a:gd name="connsiteY13-2252" fmla="*/ 25779 h 6925856"/>
              <a:gd name="connsiteX14-2253" fmla="*/ 1573749 w 9397013"/>
              <a:gd name="connsiteY14-2254" fmla="*/ 4882781 h 6925856"/>
              <a:gd name="connsiteX15-2255" fmla="*/ 1580200 w 9397013"/>
              <a:gd name="connsiteY15-2256" fmla="*/ 5985735 h 6925856"/>
              <a:gd name="connsiteX16-2257" fmla="*/ 1566201 w 9397013"/>
              <a:gd name="connsiteY16-2258" fmla="*/ 5394811 h 6925856"/>
              <a:gd name="connsiteX17-2259" fmla="*/ 5641256 w 9397013"/>
              <a:gd name="connsiteY17-2260" fmla="*/ 4084 h 6925856"/>
              <a:gd name="connsiteX18-2261" fmla="*/ 6077099 w 9397013"/>
              <a:gd name="connsiteY18-2262" fmla="*/ 17286 h 6925856"/>
              <a:gd name="connsiteX19-2263" fmla="*/ 1580200 w 9397013"/>
              <a:gd name="connsiteY19-2264" fmla="*/ 5985735 h 6925856"/>
              <a:gd name="connsiteX20-2265" fmla="*/ 6958778 w 9397013"/>
              <a:gd name="connsiteY20-2266" fmla="*/ 6916619 h 6925856"/>
              <a:gd name="connsiteX21-2267" fmla="*/ 6560038 w 9397013"/>
              <a:gd name="connsiteY21-2268" fmla="*/ 6925855 h 6925856"/>
              <a:gd name="connsiteX22-2269" fmla="*/ 3849932 w 9397013"/>
              <a:gd name="connsiteY22-2270" fmla="*/ 3388318 h 6925856"/>
              <a:gd name="connsiteX23-2271" fmla="*/ 4086202 w 9397013"/>
              <a:gd name="connsiteY23-2272" fmla="*/ 3078877 h 6925856"/>
              <a:gd name="connsiteX24-2273" fmla="*/ 6958778 w 9397013"/>
              <a:gd name="connsiteY24-2274" fmla="*/ 6916619 h 6925856"/>
              <a:gd name="connsiteX25-2275" fmla="*/ 7777211 w 9397013"/>
              <a:gd name="connsiteY25-2276" fmla="*/ 6916620 h 6925856"/>
              <a:gd name="connsiteX26-2277" fmla="*/ 7324729 w 9397013"/>
              <a:gd name="connsiteY26-2278" fmla="*/ 6916620 h 6925856"/>
              <a:gd name="connsiteX27-2279" fmla="*/ 4245793 w 9397013"/>
              <a:gd name="connsiteY27-2280" fmla="*/ 2869862 h 6925856"/>
              <a:gd name="connsiteX28-2281" fmla="*/ 4490696 w 9397013"/>
              <a:gd name="connsiteY28-2282" fmla="*/ 2549117 h 6925856"/>
              <a:gd name="connsiteX29-2283" fmla="*/ 7777211 w 9397013"/>
              <a:gd name="connsiteY29-2284" fmla="*/ 6916620 h 6925856"/>
              <a:gd name="connsiteX30-2285" fmla="*/ 8567691 w 9397013"/>
              <a:gd name="connsiteY30-2286" fmla="*/ 6916619 h 6925856"/>
              <a:gd name="connsiteX31-2287" fmla="*/ 8159389 w 9397013"/>
              <a:gd name="connsiteY31-2288" fmla="*/ 6925856 h 6925856"/>
              <a:gd name="connsiteX32-2289" fmla="*/ 4650570 w 9397013"/>
              <a:gd name="connsiteY32-2290" fmla="*/ 2339732 h 6925856"/>
              <a:gd name="connsiteX33-2291" fmla="*/ 4869244 w 9397013"/>
              <a:gd name="connsiteY33-2292" fmla="*/ 2053337 h 6925856"/>
              <a:gd name="connsiteX34-2293" fmla="*/ 8567691 w 9397013"/>
              <a:gd name="connsiteY34-2294" fmla="*/ 6916619 h 6925856"/>
              <a:gd name="connsiteX35-2295" fmla="*/ 9397013 w 9397013"/>
              <a:gd name="connsiteY35-2296" fmla="*/ 6925855 h 6925856"/>
              <a:gd name="connsiteX36-2297" fmla="*/ 8921338 w 9397013"/>
              <a:gd name="connsiteY36-2298" fmla="*/ 6907383 h 6925856"/>
              <a:gd name="connsiteX37-2299" fmla="*/ 5045299 w 9397013"/>
              <a:gd name="connsiteY37-2300" fmla="*/ 1822761 h 6925856"/>
              <a:gd name="connsiteX38-2301" fmla="*/ 5273037 w 9397013"/>
              <a:gd name="connsiteY38-2302" fmla="*/ 1524494 h 6925856"/>
              <a:gd name="connsiteX39-2303" fmla="*/ 9397013 w 9397013"/>
              <a:gd name="connsiteY39-2304" fmla="*/ 6925855 h 6925856"/>
              <a:gd name="connsiteX0-2305" fmla="*/ 168369 w 9397013"/>
              <a:gd name="connsiteY0-2306" fmla="*/ 4571581 h 6925856"/>
              <a:gd name="connsiteX1-2307" fmla="*/ 0 w 9397013"/>
              <a:gd name="connsiteY1-2308" fmla="*/ 4200794 h 6925856"/>
              <a:gd name="connsiteX2-2309" fmla="*/ 3175788 w 9397013"/>
              <a:gd name="connsiteY2-2310" fmla="*/ 4084 h 6925856"/>
              <a:gd name="connsiteX3-2311" fmla="*/ 3628305 w 9397013"/>
              <a:gd name="connsiteY3-2312" fmla="*/ 0 h 6925856"/>
              <a:gd name="connsiteX4-2313" fmla="*/ 168369 w 9397013"/>
              <a:gd name="connsiteY4-2314" fmla="*/ 4571581 h 6925856"/>
              <a:gd name="connsiteX5-2315" fmla="*/ 1578111 w 9397013"/>
              <a:gd name="connsiteY5-2316" fmla="*/ 3835090 h 6925856"/>
              <a:gd name="connsiteX6-2317" fmla="*/ 299082 w 9397013"/>
              <a:gd name="connsiteY6-2318" fmla="*/ 4859439 h 6925856"/>
              <a:gd name="connsiteX7-2319" fmla="*/ 3977147 w 9397013"/>
              <a:gd name="connsiteY7-2320" fmla="*/ 3723 h 6925856"/>
              <a:gd name="connsiteX8-2321" fmla="*/ 4465006 w 9397013"/>
              <a:gd name="connsiteY8-2322" fmla="*/ 840 h 6925856"/>
              <a:gd name="connsiteX9-2323" fmla="*/ 1578111 w 9397013"/>
              <a:gd name="connsiteY9-2324" fmla="*/ 3835090 h 6925856"/>
              <a:gd name="connsiteX10-2325" fmla="*/ 1573749 w 9397013"/>
              <a:gd name="connsiteY10-2326" fmla="*/ 4882781 h 6925856"/>
              <a:gd name="connsiteX11-2327" fmla="*/ 1550937 w 9397013"/>
              <a:gd name="connsiteY11-2328" fmla="*/ 4315002 h 6925856"/>
              <a:gd name="connsiteX12-2329" fmla="*/ 4805164 w 9397013"/>
              <a:gd name="connsiteY12-2330" fmla="*/ 4602 h 6925856"/>
              <a:gd name="connsiteX13-2331" fmla="*/ 5260238 w 9397013"/>
              <a:gd name="connsiteY13-2332" fmla="*/ 25779 h 6925856"/>
              <a:gd name="connsiteX14-2333" fmla="*/ 1573749 w 9397013"/>
              <a:gd name="connsiteY14-2334" fmla="*/ 4882781 h 6925856"/>
              <a:gd name="connsiteX15-2335" fmla="*/ 1580200 w 9397013"/>
              <a:gd name="connsiteY15-2336" fmla="*/ 5985735 h 6925856"/>
              <a:gd name="connsiteX16-2337" fmla="*/ 1566201 w 9397013"/>
              <a:gd name="connsiteY16-2338" fmla="*/ 5394811 h 6925856"/>
              <a:gd name="connsiteX17-2339" fmla="*/ 5641256 w 9397013"/>
              <a:gd name="connsiteY17-2340" fmla="*/ 4084 h 6925856"/>
              <a:gd name="connsiteX18-2341" fmla="*/ 6077099 w 9397013"/>
              <a:gd name="connsiteY18-2342" fmla="*/ 17286 h 6925856"/>
              <a:gd name="connsiteX19-2343" fmla="*/ 1580200 w 9397013"/>
              <a:gd name="connsiteY19-2344" fmla="*/ 5985735 h 6925856"/>
              <a:gd name="connsiteX20-2345" fmla="*/ 6958778 w 9397013"/>
              <a:gd name="connsiteY20-2346" fmla="*/ 6916619 h 6925856"/>
              <a:gd name="connsiteX21-2347" fmla="*/ 6560038 w 9397013"/>
              <a:gd name="connsiteY21-2348" fmla="*/ 6925855 h 6925856"/>
              <a:gd name="connsiteX22-2349" fmla="*/ 3849932 w 9397013"/>
              <a:gd name="connsiteY22-2350" fmla="*/ 3388318 h 6925856"/>
              <a:gd name="connsiteX23-2351" fmla="*/ 4086202 w 9397013"/>
              <a:gd name="connsiteY23-2352" fmla="*/ 3078877 h 6925856"/>
              <a:gd name="connsiteX24-2353" fmla="*/ 6958778 w 9397013"/>
              <a:gd name="connsiteY24-2354" fmla="*/ 6916619 h 6925856"/>
              <a:gd name="connsiteX25-2355" fmla="*/ 7777211 w 9397013"/>
              <a:gd name="connsiteY25-2356" fmla="*/ 6916620 h 6925856"/>
              <a:gd name="connsiteX26-2357" fmla="*/ 7324729 w 9397013"/>
              <a:gd name="connsiteY26-2358" fmla="*/ 6916620 h 6925856"/>
              <a:gd name="connsiteX27-2359" fmla="*/ 4245793 w 9397013"/>
              <a:gd name="connsiteY27-2360" fmla="*/ 2869862 h 6925856"/>
              <a:gd name="connsiteX28-2361" fmla="*/ 4490696 w 9397013"/>
              <a:gd name="connsiteY28-2362" fmla="*/ 2549117 h 6925856"/>
              <a:gd name="connsiteX29-2363" fmla="*/ 7777211 w 9397013"/>
              <a:gd name="connsiteY29-2364" fmla="*/ 6916620 h 6925856"/>
              <a:gd name="connsiteX30-2365" fmla="*/ 8567691 w 9397013"/>
              <a:gd name="connsiteY30-2366" fmla="*/ 6916619 h 6925856"/>
              <a:gd name="connsiteX31-2367" fmla="*/ 8159389 w 9397013"/>
              <a:gd name="connsiteY31-2368" fmla="*/ 6925856 h 6925856"/>
              <a:gd name="connsiteX32-2369" fmla="*/ 4650570 w 9397013"/>
              <a:gd name="connsiteY32-2370" fmla="*/ 2339732 h 6925856"/>
              <a:gd name="connsiteX33-2371" fmla="*/ 4869244 w 9397013"/>
              <a:gd name="connsiteY33-2372" fmla="*/ 2053337 h 6925856"/>
              <a:gd name="connsiteX34-2373" fmla="*/ 8567691 w 9397013"/>
              <a:gd name="connsiteY34-2374" fmla="*/ 6916619 h 6925856"/>
              <a:gd name="connsiteX35-2375" fmla="*/ 9397013 w 9397013"/>
              <a:gd name="connsiteY35-2376" fmla="*/ 6925855 h 6925856"/>
              <a:gd name="connsiteX36-2377" fmla="*/ 8921338 w 9397013"/>
              <a:gd name="connsiteY36-2378" fmla="*/ 6907383 h 6925856"/>
              <a:gd name="connsiteX37-2379" fmla="*/ 5045299 w 9397013"/>
              <a:gd name="connsiteY37-2380" fmla="*/ 1822761 h 6925856"/>
              <a:gd name="connsiteX38-2381" fmla="*/ 5273037 w 9397013"/>
              <a:gd name="connsiteY38-2382" fmla="*/ 1524494 h 6925856"/>
              <a:gd name="connsiteX39-2383" fmla="*/ 9397013 w 9397013"/>
              <a:gd name="connsiteY39-2384" fmla="*/ 6925855 h 6925856"/>
              <a:gd name="connsiteX0-2385" fmla="*/ 168369 w 9397013"/>
              <a:gd name="connsiteY0-2386" fmla="*/ 4571581 h 6925856"/>
              <a:gd name="connsiteX1-2387" fmla="*/ 0 w 9397013"/>
              <a:gd name="connsiteY1-2388" fmla="*/ 4200794 h 6925856"/>
              <a:gd name="connsiteX2-2389" fmla="*/ 3175788 w 9397013"/>
              <a:gd name="connsiteY2-2390" fmla="*/ 4084 h 6925856"/>
              <a:gd name="connsiteX3-2391" fmla="*/ 3628305 w 9397013"/>
              <a:gd name="connsiteY3-2392" fmla="*/ 0 h 6925856"/>
              <a:gd name="connsiteX4-2393" fmla="*/ 168369 w 9397013"/>
              <a:gd name="connsiteY4-2394" fmla="*/ 4571581 h 6925856"/>
              <a:gd name="connsiteX5-2395" fmla="*/ 1578111 w 9397013"/>
              <a:gd name="connsiteY5-2396" fmla="*/ 3835090 h 6925856"/>
              <a:gd name="connsiteX6-2397" fmla="*/ 1564463 w 9397013"/>
              <a:gd name="connsiteY6-2398" fmla="*/ 3206130 h 6925856"/>
              <a:gd name="connsiteX7-2399" fmla="*/ 3977147 w 9397013"/>
              <a:gd name="connsiteY7-2400" fmla="*/ 3723 h 6925856"/>
              <a:gd name="connsiteX8-2401" fmla="*/ 4465006 w 9397013"/>
              <a:gd name="connsiteY8-2402" fmla="*/ 840 h 6925856"/>
              <a:gd name="connsiteX9-2403" fmla="*/ 1578111 w 9397013"/>
              <a:gd name="connsiteY9-2404" fmla="*/ 3835090 h 6925856"/>
              <a:gd name="connsiteX10-2405" fmla="*/ 1573749 w 9397013"/>
              <a:gd name="connsiteY10-2406" fmla="*/ 4882781 h 6925856"/>
              <a:gd name="connsiteX11-2407" fmla="*/ 1550937 w 9397013"/>
              <a:gd name="connsiteY11-2408" fmla="*/ 4315002 h 6925856"/>
              <a:gd name="connsiteX12-2409" fmla="*/ 4805164 w 9397013"/>
              <a:gd name="connsiteY12-2410" fmla="*/ 4602 h 6925856"/>
              <a:gd name="connsiteX13-2411" fmla="*/ 5260238 w 9397013"/>
              <a:gd name="connsiteY13-2412" fmla="*/ 25779 h 6925856"/>
              <a:gd name="connsiteX14-2413" fmla="*/ 1573749 w 9397013"/>
              <a:gd name="connsiteY14-2414" fmla="*/ 4882781 h 6925856"/>
              <a:gd name="connsiteX15-2415" fmla="*/ 1580200 w 9397013"/>
              <a:gd name="connsiteY15-2416" fmla="*/ 5985735 h 6925856"/>
              <a:gd name="connsiteX16-2417" fmla="*/ 1566201 w 9397013"/>
              <a:gd name="connsiteY16-2418" fmla="*/ 5394811 h 6925856"/>
              <a:gd name="connsiteX17-2419" fmla="*/ 5641256 w 9397013"/>
              <a:gd name="connsiteY17-2420" fmla="*/ 4084 h 6925856"/>
              <a:gd name="connsiteX18-2421" fmla="*/ 6077099 w 9397013"/>
              <a:gd name="connsiteY18-2422" fmla="*/ 17286 h 6925856"/>
              <a:gd name="connsiteX19-2423" fmla="*/ 1580200 w 9397013"/>
              <a:gd name="connsiteY19-2424" fmla="*/ 5985735 h 6925856"/>
              <a:gd name="connsiteX20-2425" fmla="*/ 6958778 w 9397013"/>
              <a:gd name="connsiteY20-2426" fmla="*/ 6916619 h 6925856"/>
              <a:gd name="connsiteX21-2427" fmla="*/ 6560038 w 9397013"/>
              <a:gd name="connsiteY21-2428" fmla="*/ 6925855 h 6925856"/>
              <a:gd name="connsiteX22-2429" fmla="*/ 3849932 w 9397013"/>
              <a:gd name="connsiteY22-2430" fmla="*/ 3388318 h 6925856"/>
              <a:gd name="connsiteX23-2431" fmla="*/ 4086202 w 9397013"/>
              <a:gd name="connsiteY23-2432" fmla="*/ 3078877 h 6925856"/>
              <a:gd name="connsiteX24-2433" fmla="*/ 6958778 w 9397013"/>
              <a:gd name="connsiteY24-2434" fmla="*/ 6916619 h 6925856"/>
              <a:gd name="connsiteX25-2435" fmla="*/ 7777211 w 9397013"/>
              <a:gd name="connsiteY25-2436" fmla="*/ 6916620 h 6925856"/>
              <a:gd name="connsiteX26-2437" fmla="*/ 7324729 w 9397013"/>
              <a:gd name="connsiteY26-2438" fmla="*/ 6916620 h 6925856"/>
              <a:gd name="connsiteX27-2439" fmla="*/ 4245793 w 9397013"/>
              <a:gd name="connsiteY27-2440" fmla="*/ 2869862 h 6925856"/>
              <a:gd name="connsiteX28-2441" fmla="*/ 4490696 w 9397013"/>
              <a:gd name="connsiteY28-2442" fmla="*/ 2549117 h 6925856"/>
              <a:gd name="connsiteX29-2443" fmla="*/ 7777211 w 9397013"/>
              <a:gd name="connsiteY29-2444" fmla="*/ 6916620 h 6925856"/>
              <a:gd name="connsiteX30-2445" fmla="*/ 8567691 w 9397013"/>
              <a:gd name="connsiteY30-2446" fmla="*/ 6916619 h 6925856"/>
              <a:gd name="connsiteX31-2447" fmla="*/ 8159389 w 9397013"/>
              <a:gd name="connsiteY31-2448" fmla="*/ 6925856 h 6925856"/>
              <a:gd name="connsiteX32-2449" fmla="*/ 4650570 w 9397013"/>
              <a:gd name="connsiteY32-2450" fmla="*/ 2339732 h 6925856"/>
              <a:gd name="connsiteX33-2451" fmla="*/ 4869244 w 9397013"/>
              <a:gd name="connsiteY33-2452" fmla="*/ 2053337 h 6925856"/>
              <a:gd name="connsiteX34-2453" fmla="*/ 8567691 w 9397013"/>
              <a:gd name="connsiteY34-2454" fmla="*/ 6916619 h 6925856"/>
              <a:gd name="connsiteX35-2455" fmla="*/ 9397013 w 9397013"/>
              <a:gd name="connsiteY35-2456" fmla="*/ 6925855 h 6925856"/>
              <a:gd name="connsiteX36-2457" fmla="*/ 8921338 w 9397013"/>
              <a:gd name="connsiteY36-2458" fmla="*/ 6907383 h 6925856"/>
              <a:gd name="connsiteX37-2459" fmla="*/ 5045299 w 9397013"/>
              <a:gd name="connsiteY37-2460" fmla="*/ 1822761 h 6925856"/>
              <a:gd name="connsiteX38-2461" fmla="*/ 5273037 w 9397013"/>
              <a:gd name="connsiteY38-2462" fmla="*/ 1524494 h 6925856"/>
              <a:gd name="connsiteX39-2463" fmla="*/ 9397013 w 9397013"/>
              <a:gd name="connsiteY39-2464" fmla="*/ 6925855 h 6925856"/>
              <a:gd name="connsiteX0-2465" fmla="*/ 1572296 w 9397013"/>
              <a:gd name="connsiteY0-2466" fmla="*/ 2715072 h 6925856"/>
              <a:gd name="connsiteX1-2467" fmla="*/ 0 w 9397013"/>
              <a:gd name="connsiteY1-2468" fmla="*/ 4200794 h 6925856"/>
              <a:gd name="connsiteX2-2469" fmla="*/ 3175788 w 9397013"/>
              <a:gd name="connsiteY2-2470" fmla="*/ 4084 h 6925856"/>
              <a:gd name="connsiteX3-2471" fmla="*/ 3628305 w 9397013"/>
              <a:gd name="connsiteY3-2472" fmla="*/ 0 h 6925856"/>
              <a:gd name="connsiteX4-2473" fmla="*/ 1572296 w 9397013"/>
              <a:gd name="connsiteY4-2474" fmla="*/ 2715072 h 6925856"/>
              <a:gd name="connsiteX5-2475" fmla="*/ 1578111 w 9397013"/>
              <a:gd name="connsiteY5-2476" fmla="*/ 3835090 h 6925856"/>
              <a:gd name="connsiteX6-2477" fmla="*/ 1564463 w 9397013"/>
              <a:gd name="connsiteY6-2478" fmla="*/ 3206130 h 6925856"/>
              <a:gd name="connsiteX7-2479" fmla="*/ 3977147 w 9397013"/>
              <a:gd name="connsiteY7-2480" fmla="*/ 3723 h 6925856"/>
              <a:gd name="connsiteX8-2481" fmla="*/ 4465006 w 9397013"/>
              <a:gd name="connsiteY8-2482" fmla="*/ 840 h 6925856"/>
              <a:gd name="connsiteX9-2483" fmla="*/ 1578111 w 9397013"/>
              <a:gd name="connsiteY9-2484" fmla="*/ 3835090 h 6925856"/>
              <a:gd name="connsiteX10-2485" fmla="*/ 1573749 w 9397013"/>
              <a:gd name="connsiteY10-2486" fmla="*/ 4882781 h 6925856"/>
              <a:gd name="connsiteX11-2487" fmla="*/ 1550937 w 9397013"/>
              <a:gd name="connsiteY11-2488" fmla="*/ 4315002 h 6925856"/>
              <a:gd name="connsiteX12-2489" fmla="*/ 4805164 w 9397013"/>
              <a:gd name="connsiteY12-2490" fmla="*/ 4602 h 6925856"/>
              <a:gd name="connsiteX13-2491" fmla="*/ 5260238 w 9397013"/>
              <a:gd name="connsiteY13-2492" fmla="*/ 25779 h 6925856"/>
              <a:gd name="connsiteX14-2493" fmla="*/ 1573749 w 9397013"/>
              <a:gd name="connsiteY14-2494" fmla="*/ 4882781 h 6925856"/>
              <a:gd name="connsiteX15-2495" fmla="*/ 1580200 w 9397013"/>
              <a:gd name="connsiteY15-2496" fmla="*/ 5985735 h 6925856"/>
              <a:gd name="connsiteX16-2497" fmla="*/ 1566201 w 9397013"/>
              <a:gd name="connsiteY16-2498" fmla="*/ 5394811 h 6925856"/>
              <a:gd name="connsiteX17-2499" fmla="*/ 5641256 w 9397013"/>
              <a:gd name="connsiteY17-2500" fmla="*/ 4084 h 6925856"/>
              <a:gd name="connsiteX18-2501" fmla="*/ 6077099 w 9397013"/>
              <a:gd name="connsiteY18-2502" fmla="*/ 17286 h 6925856"/>
              <a:gd name="connsiteX19-2503" fmla="*/ 1580200 w 9397013"/>
              <a:gd name="connsiteY19-2504" fmla="*/ 5985735 h 6925856"/>
              <a:gd name="connsiteX20-2505" fmla="*/ 6958778 w 9397013"/>
              <a:gd name="connsiteY20-2506" fmla="*/ 6916619 h 6925856"/>
              <a:gd name="connsiteX21-2507" fmla="*/ 6560038 w 9397013"/>
              <a:gd name="connsiteY21-2508" fmla="*/ 6925855 h 6925856"/>
              <a:gd name="connsiteX22-2509" fmla="*/ 3849932 w 9397013"/>
              <a:gd name="connsiteY22-2510" fmla="*/ 3388318 h 6925856"/>
              <a:gd name="connsiteX23-2511" fmla="*/ 4086202 w 9397013"/>
              <a:gd name="connsiteY23-2512" fmla="*/ 3078877 h 6925856"/>
              <a:gd name="connsiteX24-2513" fmla="*/ 6958778 w 9397013"/>
              <a:gd name="connsiteY24-2514" fmla="*/ 6916619 h 6925856"/>
              <a:gd name="connsiteX25-2515" fmla="*/ 7777211 w 9397013"/>
              <a:gd name="connsiteY25-2516" fmla="*/ 6916620 h 6925856"/>
              <a:gd name="connsiteX26-2517" fmla="*/ 7324729 w 9397013"/>
              <a:gd name="connsiteY26-2518" fmla="*/ 6916620 h 6925856"/>
              <a:gd name="connsiteX27-2519" fmla="*/ 4245793 w 9397013"/>
              <a:gd name="connsiteY27-2520" fmla="*/ 2869862 h 6925856"/>
              <a:gd name="connsiteX28-2521" fmla="*/ 4490696 w 9397013"/>
              <a:gd name="connsiteY28-2522" fmla="*/ 2549117 h 6925856"/>
              <a:gd name="connsiteX29-2523" fmla="*/ 7777211 w 9397013"/>
              <a:gd name="connsiteY29-2524" fmla="*/ 6916620 h 6925856"/>
              <a:gd name="connsiteX30-2525" fmla="*/ 8567691 w 9397013"/>
              <a:gd name="connsiteY30-2526" fmla="*/ 6916619 h 6925856"/>
              <a:gd name="connsiteX31-2527" fmla="*/ 8159389 w 9397013"/>
              <a:gd name="connsiteY31-2528" fmla="*/ 6925856 h 6925856"/>
              <a:gd name="connsiteX32-2529" fmla="*/ 4650570 w 9397013"/>
              <a:gd name="connsiteY32-2530" fmla="*/ 2339732 h 6925856"/>
              <a:gd name="connsiteX33-2531" fmla="*/ 4869244 w 9397013"/>
              <a:gd name="connsiteY33-2532" fmla="*/ 2053337 h 6925856"/>
              <a:gd name="connsiteX34-2533" fmla="*/ 8567691 w 9397013"/>
              <a:gd name="connsiteY34-2534" fmla="*/ 6916619 h 6925856"/>
              <a:gd name="connsiteX35-2535" fmla="*/ 9397013 w 9397013"/>
              <a:gd name="connsiteY35-2536" fmla="*/ 6925855 h 6925856"/>
              <a:gd name="connsiteX36-2537" fmla="*/ 8921338 w 9397013"/>
              <a:gd name="connsiteY36-2538" fmla="*/ 6907383 h 6925856"/>
              <a:gd name="connsiteX37-2539" fmla="*/ 5045299 w 9397013"/>
              <a:gd name="connsiteY37-2540" fmla="*/ 1822761 h 6925856"/>
              <a:gd name="connsiteX38-2541" fmla="*/ 5273037 w 9397013"/>
              <a:gd name="connsiteY38-2542" fmla="*/ 1524494 h 6925856"/>
              <a:gd name="connsiteX39-2543" fmla="*/ 9397013 w 9397013"/>
              <a:gd name="connsiteY39-2544" fmla="*/ 6925855 h 6925856"/>
              <a:gd name="connsiteX0-2545" fmla="*/ 21359 w 7846076"/>
              <a:gd name="connsiteY0-2546" fmla="*/ 2715072 h 6925856"/>
              <a:gd name="connsiteX1-2547" fmla="*/ 28481 w 7846076"/>
              <a:gd name="connsiteY1-2548" fmla="*/ 2104139 h 6925856"/>
              <a:gd name="connsiteX2-2549" fmla="*/ 1624851 w 7846076"/>
              <a:gd name="connsiteY2-2550" fmla="*/ 4084 h 6925856"/>
              <a:gd name="connsiteX3-2551" fmla="*/ 2077368 w 7846076"/>
              <a:gd name="connsiteY3-2552" fmla="*/ 0 h 6925856"/>
              <a:gd name="connsiteX4-2553" fmla="*/ 21359 w 7846076"/>
              <a:gd name="connsiteY4-2554" fmla="*/ 2715072 h 6925856"/>
              <a:gd name="connsiteX5-2555" fmla="*/ 27174 w 7846076"/>
              <a:gd name="connsiteY5-2556" fmla="*/ 3835090 h 6925856"/>
              <a:gd name="connsiteX6-2557" fmla="*/ 13526 w 7846076"/>
              <a:gd name="connsiteY6-2558" fmla="*/ 3206130 h 6925856"/>
              <a:gd name="connsiteX7-2559" fmla="*/ 2426210 w 7846076"/>
              <a:gd name="connsiteY7-2560" fmla="*/ 3723 h 6925856"/>
              <a:gd name="connsiteX8-2561" fmla="*/ 2914069 w 7846076"/>
              <a:gd name="connsiteY8-2562" fmla="*/ 840 h 6925856"/>
              <a:gd name="connsiteX9-2563" fmla="*/ 27174 w 7846076"/>
              <a:gd name="connsiteY9-2564" fmla="*/ 3835090 h 6925856"/>
              <a:gd name="connsiteX10-2565" fmla="*/ 22812 w 7846076"/>
              <a:gd name="connsiteY10-2566" fmla="*/ 4882781 h 6925856"/>
              <a:gd name="connsiteX11-2567" fmla="*/ 0 w 7846076"/>
              <a:gd name="connsiteY11-2568" fmla="*/ 4315002 h 6925856"/>
              <a:gd name="connsiteX12-2569" fmla="*/ 3254227 w 7846076"/>
              <a:gd name="connsiteY12-2570" fmla="*/ 4602 h 6925856"/>
              <a:gd name="connsiteX13-2571" fmla="*/ 3709301 w 7846076"/>
              <a:gd name="connsiteY13-2572" fmla="*/ 25779 h 6925856"/>
              <a:gd name="connsiteX14-2573" fmla="*/ 22812 w 7846076"/>
              <a:gd name="connsiteY14-2574" fmla="*/ 4882781 h 6925856"/>
              <a:gd name="connsiteX15-2575" fmla="*/ 29263 w 7846076"/>
              <a:gd name="connsiteY15-2576" fmla="*/ 5985735 h 6925856"/>
              <a:gd name="connsiteX16-2577" fmla="*/ 15264 w 7846076"/>
              <a:gd name="connsiteY16-2578" fmla="*/ 5394811 h 6925856"/>
              <a:gd name="connsiteX17-2579" fmla="*/ 4090319 w 7846076"/>
              <a:gd name="connsiteY17-2580" fmla="*/ 4084 h 6925856"/>
              <a:gd name="connsiteX18-2581" fmla="*/ 4526162 w 7846076"/>
              <a:gd name="connsiteY18-2582" fmla="*/ 17286 h 6925856"/>
              <a:gd name="connsiteX19-2583" fmla="*/ 29263 w 7846076"/>
              <a:gd name="connsiteY19-2584" fmla="*/ 5985735 h 6925856"/>
              <a:gd name="connsiteX20-2585" fmla="*/ 5407841 w 7846076"/>
              <a:gd name="connsiteY20-2586" fmla="*/ 6916619 h 6925856"/>
              <a:gd name="connsiteX21-2587" fmla="*/ 5009101 w 7846076"/>
              <a:gd name="connsiteY21-2588" fmla="*/ 6925855 h 6925856"/>
              <a:gd name="connsiteX22-2589" fmla="*/ 2298995 w 7846076"/>
              <a:gd name="connsiteY22-2590" fmla="*/ 3388318 h 6925856"/>
              <a:gd name="connsiteX23-2591" fmla="*/ 2535265 w 7846076"/>
              <a:gd name="connsiteY23-2592" fmla="*/ 3078877 h 6925856"/>
              <a:gd name="connsiteX24-2593" fmla="*/ 5407841 w 7846076"/>
              <a:gd name="connsiteY24-2594" fmla="*/ 6916619 h 6925856"/>
              <a:gd name="connsiteX25-2595" fmla="*/ 6226274 w 7846076"/>
              <a:gd name="connsiteY25-2596" fmla="*/ 6916620 h 6925856"/>
              <a:gd name="connsiteX26-2597" fmla="*/ 5773792 w 7846076"/>
              <a:gd name="connsiteY26-2598" fmla="*/ 6916620 h 6925856"/>
              <a:gd name="connsiteX27-2599" fmla="*/ 2694856 w 7846076"/>
              <a:gd name="connsiteY27-2600" fmla="*/ 2869862 h 6925856"/>
              <a:gd name="connsiteX28-2601" fmla="*/ 2939759 w 7846076"/>
              <a:gd name="connsiteY28-2602" fmla="*/ 2549117 h 6925856"/>
              <a:gd name="connsiteX29-2603" fmla="*/ 6226274 w 7846076"/>
              <a:gd name="connsiteY29-2604" fmla="*/ 6916620 h 6925856"/>
              <a:gd name="connsiteX30-2605" fmla="*/ 7016754 w 7846076"/>
              <a:gd name="connsiteY30-2606" fmla="*/ 6916619 h 6925856"/>
              <a:gd name="connsiteX31-2607" fmla="*/ 6608452 w 7846076"/>
              <a:gd name="connsiteY31-2608" fmla="*/ 6925856 h 6925856"/>
              <a:gd name="connsiteX32-2609" fmla="*/ 3099633 w 7846076"/>
              <a:gd name="connsiteY32-2610" fmla="*/ 2339732 h 6925856"/>
              <a:gd name="connsiteX33-2611" fmla="*/ 3318307 w 7846076"/>
              <a:gd name="connsiteY33-2612" fmla="*/ 2053337 h 6925856"/>
              <a:gd name="connsiteX34-2613" fmla="*/ 7016754 w 7846076"/>
              <a:gd name="connsiteY34-2614" fmla="*/ 6916619 h 6925856"/>
              <a:gd name="connsiteX35-2615" fmla="*/ 7846076 w 7846076"/>
              <a:gd name="connsiteY35-2616" fmla="*/ 6925855 h 6925856"/>
              <a:gd name="connsiteX36-2617" fmla="*/ 7370401 w 7846076"/>
              <a:gd name="connsiteY36-2618" fmla="*/ 6907383 h 6925856"/>
              <a:gd name="connsiteX37-2619" fmla="*/ 3494362 w 7846076"/>
              <a:gd name="connsiteY37-2620" fmla="*/ 1822761 h 6925856"/>
              <a:gd name="connsiteX38-2621" fmla="*/ 3722100 w 7846076"/>
              <a:gd name="connsiteY38-2622" fmla="*/ 1524494 h 6925856"/>
              <a:gd name="connsiteX39-2623" fmla="*/ 7846076 w 7846076"/>
              <a:gd name="connsiteY39-2624" fmla="*/ 6925855 h 692585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129" y="connsiteY32-130"/>
              </a:cxn>
              <a:cxn ang="0">
                <a:pos x="connsiteX33-131" y="connsiteY33-132"/>
              </a:cxn>
              <a:cxn ang="0">
                <a:pos x="connsiteX34-133" y="connsiteY34-134"/>
              </a:cxn>
              <a:cxn ang="0">
                <a:pos x="connsiteX35-135" y="connsiteY35-136"/>
              </a:cxn>
              <a:cxn ang="0">
                <a:pos x="connsiteX36-137" y="connsiteY36-138"/>
              </a:cxn>
              <a:cxn ang="0">
                <a:pos x="connsiteX37-139" y="connsiteY37-140"/>
              </a:cxn>
              <a:cxn ang="0">
                <a:pos x="connsiteX38-141" y="connsiteY38-142"/>
              </a:cxn>
              <a:cxn ang="0">
                <a:pos x="connsiteX39-143" y="connsiteY39-144"/>
              </a:cxn>
            </a:cxnLst>
            <a:rect l="l" t="t" r="r" b="b"/>
            <a:pathLst>
              <a:path w="7846076" h="6925856">
                <a:moveTo>
                  <a:pt x="21359" y="2715072"/>
                </a:moveTo>
                <a:lnTo>
                  <a:pt x="28481" y="2104139"/>
                </a:lnTo>
                <a:lnTo>
                  <a:pt x="1624851" y="4084"/>
                </a:lnTo>
                <a:lnTo>
                  <a:pt x="2077368" y="0"/>
                </a:lnTo>
                <a:lnTo>
                  <a:pt x="21359" y="2715072"/>
                </a:lnTo>
                <a:close/>
                <a:moveTo>
                  <a:pt x="27174" y="3835090"/>
                </a:moveTo>
                <a:lnTo>
                  <a:pt x="13526" y="3206130"/>
                </a:lnTo>
                <a:lnTo>
                  <a:pt x="2426210" y="3723"/>
                </a:lnTo>
                <a:lnTo>
                  <a:pt x="2914069" y="840"/>
                </a:lnTo>
                <a:lnTo>
                  <a:pt x="27174" y="3835090"/>
                </a:lnTo>
                <a:close/>
                <a:moveTo>
                  <a:pt x="22812" y="4882781"/>
                </a:moveTo>
                <a:lnTo>
                  <a:pt x="0" y="4315002"/>
                </a:lnTo>
                <a:lnTo>
                  <a:pt x="3254227" y="4602"/>
                </a:lnTo>
                <a:lnTo>
                  <a:pt x="3709301" y="25779"/>
                </a:lnTo>
                <a:lnTo>
                  <a:pt x="22812" y="4882781"/>
                </a:lnTo>
                <a:close/>
                <a:moveTo>
                  <a:pt x="29263" y="5985735"/>
                </a:moveTo>
                <a:lnTo>
                  <a:pt x="15264" y="5394811"/>
                </a:lnTo>
                <a:lnTo>
                  <a:pt x="4090319" y="4084"/>
                </a:lnTo>
                <a:lnTo>
                  <a:pt x="4526162" y="17286"/>
                </a:lnTo>
                <a:lnTo>
                  <a:pt x="29263" y="5985735"/>
                </a:lnTo>
                <a:close/>
                <a:moveTo>
                  <a:pt x="5407841" y="6916619"/>
                </a:moveTo>
                <a:lnTo>
                  <a:pt x="5009101" y="6925855"/>
                </a:lnTo>
                <a:lnTo>
                  <a:pt x="2298995" y="3388318"/>
                </a:lnTo>
                <a:lnTo>
                  <a:pt x="2535265" y="3078877"/>
                </a:lnTo>
                <a:lnTo>
                  <a:pt x="5407841" y="6916619"/>
                </a:lnTo>
                <a:close/>
                <a:moveTo>
                  <a:pt x="6226274" y="6916620"/>
                </a:moveTo>
                <a:lnTo>
                  <a:pt x="5773792" y="6916620"/>
                </a:lnTo>
                <a:lnTo>
                  <a:pt x="2694856" y="2869862"/>
                </a:lnTo>
                <a:lnTo>
                  <a:pt x="2939759" y="2549117"/>
                </a:lnTo>
                <a:lnTo>
                  <a:pt x="6226274" y="6916620"/>
                </a:lnTo>
                <a:close/>
                <a:moveTo>
                  <a:pt x="7016754" y="6916619"/>
                </a:moveTo>
                <a:lnTo>
                  <a:pt x="6608452" y="6925856"/>
                </a:lnTo>
                <a:lnTo>
                  <a:pt x="3099633" y="2339732"/>
                </a:lnTo>
                <a:lnTo>
                  <a:pt x="3318307" y="2053337"/>
                </a:lnTo>
                <a:lnTo>
                  <a:pt x="7016754" y="6916619"/>
                </a:lnTo>
                <a:close/>
                <a:moveTo>
                  <a:pt x="7846076" y="6925855"/>
                </a:moveTo>
                <a:lnTo>
                  <a:pt x="7370401" y="6907383"/>
                </a:lnTo>
                <a:lnTo>
                  <a:pt x="3494362" y="1822761"/>
                </a:lnTo>
                <a:lnTo>
                  <a:pt x="3722100" y="1524494"/>
                </a:lnTo>
                <a:lnTo>
                  <a:pt x="7846076" y="6925855"/>
                </a:lnTo>
                <a:close/>
              </a:path>
            </a:pathLst>
          </a:custGeom>
          <a:solidFill>
            <a:schemeClr val="bg1">
              <a:lumMod val="9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5" name="文本框 4"/>
          <p:cNvSpPr txBox="1"/>
          <p:nvPr/>
        </p:nvSpPr>
        <p:spPr>
          <a:xfrm>
            <a:off x="641380" y="1028700"/>
            <a:ext cx="10243956" cy="5028941"/>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zh-CN" altLang="en-US" dirty="0"/>
              <a:t>创新是人类社会进步的重要推动力，但创新却并不总是受到欢迎，被怀疑甚至拒绝是创新在其诞生初期的常态：</a:t>
            </a:r>
            <a:endParaRPr lang="en-US" altLang="zh-CN" dirty="0"/>
          </a:p>
          <a:p>
            <a:pPr marL="742950" lvl="1" indent="-285750">
              <a:lnSpc>
                <a:spcPct val="150000"/>
              </a:lnSpc>
              <a:buFont typeface="Arial" panose="020B0604020202020204" pitchFamily="34" charset="0"/>
              <a:buChar char="•"/>
            </a:pPr>
            <a:r>
              <a:rPr lang="zh-CN" altLang="en-US" dirty="0"/>
              <a:t>地心说 、进化论、相对论、量子力学</a:t>
            </a:r>
            <a:endParaRPr lang="en-US" altLang="zh-CN" dirty="0"/>
          </a:p>
          <a:p>
            <a:pPr marL="742950" lvl="1" indent="-285750">
              <a:lnSpc>
                <a:spcPct val="150000"/>
              </a:lnSpc>
              <a:buFont typeface="Arial" panose="020B0604020202020204" pitchFamily="34" charset="0"/>
              <a:buChar char="•"/>
            </a:pPr>
            <a:endParaRPr lang="en-US" altLang="zh-CN" dirty="0"/>
          </a:p>
          <a:p>
            <a:pPr marL="285750" indent="-285750">
              <a:lnSpc>
                <a:spcPct val="150000"/>
              </a:lnSpc>
              <a:buFont typeface="Arial" panose="020B0604020202020204" pitchFamily="34" charset="0"/>
              <a:buChar char="•"/>
            </a:pPr>
            <a:r>
              <a:rPr lang="zh-CN" altLang="en-US" dirty="0"/>
              <a:t>在科学创新研究中，学者发现以科学论文为代表的创新科学成果往往伴随着延迟认可和负面评价现象，而相关研究主要基于论文发表后的计量指标开展：</a:t>
            </a:r>
            <a:endParaRPr lang="en-US" altLang="zh-CN" dirty="0"/>
          </a:p>
          <a:p>
            <a:pPr marL="742950" lvl="1" indent="-285750">
              <a:lnSpc>
                <a:spcPct val="150000"/>
              </a:lnSpc>
              <a:buFont typeface="Arial" panose="020B0604020202020204" pitchFamily="34" charset="0"/>
              <a:buChar char="•"/>
            </a:pPr>
            <a:r>
              <a:rPr lang="zh-CN" altLang="en-US" dirty="0"/>
              <a:t>被引量、引文起飞时间、期刊影响因子、技术影响力等</a:t>
            </a:r>
            <a:endParaRPr lang="en-US" altLang="zh-CN" dirty="0"/>
          </a:p>
          <a:p>
            <a:pPr marL="285750" indent="-285750">
              <a:lnSpc>
                <a:spcPct val="150000"/>
              </a:lnSpc>
              <a:buFont typeface="Arial" panose="020B0604020202020204" pitchFamily="34" charset="0"/>
              <a:buChar char="•"/>
            </a:pPr>
            <a:endParaRPr lang="en-US" altLang="zh-CN" dirty="0"/>
          </a:p>
          <a:p>
            <a:pPr marL="285750" indent="-285750">
              <a:lnSpc>
                <a:spcPct val="150000"/>
              </a:lnSpc>
              <a:buFont typeface="Arial" panose="020B0604020202020204" pitchFamily="34" charset="0"/>
              <a:buChar char="•"/>
            </a:pPr>
            <a:r>
              <a:rPr lang="zh-CN" altLang="en-US" dirty="0"/>
              <a:t>论文在发表前的评审过程中是否会因为创新性而遭受偏见？对这一问题的回答有助于深化我们对创新科学成果扩散机制的认识</a:t>
            </a:r>
            <a:endParaRPr lang="en-US" altLang="zh-CN" dirty="0"/>
          </a:p>
          <a:p>
            <a:pPr marL="285750" indent="-285750">
              <a:lnSpc>
                <a:spcPct val="150000"/>
              </a:lnSpc>
              <a:buFont typeface="Arial" panose="020B0604020202020204" pitchFamily="34" charset="0"/>
              <a:buChar char="•"/>
            </a:pPr>
            <a:endParaRPr lang="en-US" altLang="zh-CN" dirty="0"/>
          </a:p>
          <a:p>
            <a:pPr marL="285750" indent="-285750">
              <a:lnSpc>
                <a:spcPct val="150000"/>
              </a:lnSpc>
              <a:buFont typeface="Arial" panose="020B0604020202020204" pitchFamily="34" charset="0"/>
              <a:buChar char="•"/>
            </a:pPr>
            <a:r>
              <a:rPr lang="zh-CN" altLang="en-US" dirty="0"/>
              <a:t>论文从投稿到录用所经历的时间数据（投录时间）为我们初步探索上述问题提供定量的研究视角</a:t>
            </a:r>
            <a:endParaRPr lang="en-US" altLang="zh-CN" dirty="0"/>
          </a:p>
        </p:txBody>
      </p:sp>
    </p:spTree>
    <p:custDataLst>
      <p:tags r:id="rId1"/>
    </p:custData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iṣlide"/>
        <p:cNvGrpSpPr/>
        <p:nvPr/>
      </p:nvGrpSpPr>
      <p:grpSpPr>
        <a:xfrm>
          <a:off x="0" y="0"/>
          <a:ext cx="0" cy="0"/>
          <a:chOff x="0" y="0"/>
          <a:chExt cx="0" cy="0"/>
        </a:xfrm>
      </p:grpSpPr>
      <p:sp>
        <p:nvSpPr>
          <p:cNvPr id="2" name="íšľîḓê"/>
          <p:cNvSpPr>
            <a:spLocks noGrp="1"/>
          </p:cNvSpPr>
          <p:nvPr>
            <p:ph type="title"/>
          </p:nvPr>
        </p:nvSpPr>
        <p:spPr/>
        <p:txBody>
          <a:bodyPr/>
          <a:lstStyle/>
          <a:p>
            <a:r>
              <a:rPr lang="en-US" altLang="zh-CN" dirty="0"/>
              <a:t>2. </a:t>
            </a:r>
            <a:r>
              <a:rPr lang="zh-CN" altLang="en-US" dirty="0"/>
              <a:t>研究问题</a:t>
            </a:r>
            <a:endParaRPr lang="zh-CN" altLang="en-US" dirty="0"/>
          </a:p>
        </p:txBody>
      </p:sp>
      <p:sp>
        <p:nvSpPr>
          <p:cNvPr id="4" name="ïṣḷide"/>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110" name="íṥļîďè"/>
          <p:cNvSpPr/>
          <p:nvPr/>
        </p:nvSpPr>
        <p:spPr>
          <a:xfrm rot="10800000">
            <a:off x="4396104" y="0"/>
            <a:ext cx="7846076" cy="6857999"/>
          </a:xfrm>
          <a:custGeom>
            <a:avLst/>
            <a:gdLst>
              <a:gd name="connsiteX0" fmla="*/ 168369 w 9517086"/>
              <a:gd name="connsiteY0" fmla="*/ 4779933 h 7291226"/>
              <a:gd name="connsiteX1" fmla="*/ 0 w 9517086"/>
              <a:gd name="connsiteY1" fmla="*/ 4409146 h 7291226"/>
              <a:gd name="connsiteX2" fmla="*/ 3332806 w 9517086"/>
              <a:gd name="connsiteY2" fmla="*/ 0 h 7291226"/>
              <a:gd name="connsiteX3" fmla="*/ 3794560 w 9517086"/>
              <a:gd name="connsiteY3" fmla="*/ 32861 h 7291226"/>
              <a:gd name="connsiteX4" fmla="*/ 488220 w 9517086"/>
              <a:gd name="connsiteY4" fmla="*/ 5484315 h 7291226"/>
              <a:gd name="connsiteX5" fmla="*/ 299082 w 9517086"/>
              <a:gd name="connsiteY5" fmla="*/ 5067791 h 7291226"/>
              <a:gd name="connsiteX6" fmla="*/ 4106456 w 9517086"/>
              <a:gd name="connsiteY6" fmla="*/ 55057 h 7291226"/>
              <a:gd name="connsiteX7" fmla="*/ 4585079 w 9517086"/>
              <a:gd name="connsiteY7" fmla="*/ 89119 h 7291226"/>
              <a:gd name="connsiteX8" fmla="*/ 779421 w 9517086"/>
              <a:gd name="connsiteY8" fmla="*/ 6125606 h 7291226"/>
              <a:gd name="connsiteX9" fmla="*/ 618065 w 9517086"/>
              <a:gd name="connsiteY9" fmla="*/ 5770263 h 7291226"/>
              <a:gd name="connsiteX10" fmla="*/ 4897528 w 9517086"/>
              <a:gd name="connsiteY10" fmla="*/ 111354 h 7291226"/>
              <a:gd name="connsiteX11" fmla="*/ 5324893 w 9517086"/>
              <a:gd name="connsiteY11" fmla="*/ 141768 h 7291226"/>
              <a:gd name="connsiteX12" fmla="*/ 1099910 w 9517086"/>
              <a:gd name="connsiteY12" fmla="*/ 6831395 h 7291226"/>
              <a:gd name="connsiteX13" fmla="*/ 919656 w 9517086"/>
              <a:gd name="connsiteY13" fmla="*/ 6434435 h 7291226"/>
              <a:gd name="connsiteX14" fmla="*/ 5668965 w 9517086"/>
              <a:gd name="connsiteY14" fmla="*/ 166254 h 7291226"/>
              <a:gd name="connsiteX15" fmla="*/ 6114044 w 9517086"/>
              <a:gd name="connsiteY15" fmla="*/ 197929 h 7291226"/>
              <a:gd name="connsiteX16" fmla="*/ 7106560 w 9517086"/>
              <a:gd name="connsiteY16" fmla="*/ 7291226 h 7291226"/>
              <a:gd name="connsiteX17" fmla="*/ 6670875 w 9517086"/>
              <a:gd name="connsiteY17" fmla="*/ 7291226 h 7291226"/>
              <a:gd name="connsiteX18" fmla="*/ 3849932 w 9517086"/>
              <a:gd name="connsiteY18" fmla="*/ 3596670 h 7291226"/>
              <a:gd name="connsiteX19" fmla="*/ 4086202 w 9517086"/>
              <a:gd name="connsiteY19" fmla="*/ 3287229 h 7291226"/>
              <a:gd name="connsiteX20" fmla="*/ 7934229 w 9517086"/>
              <a:gd name="connsiteY20" fmla="*/ 7291226 h 7291226"/>
              <a:gd name="connsiteX21" fmla="*/ 7444802 w 9517086"/>
              <a:gd name="connsiteY21" fmla="*/ 7291226 h 7291226"/>
              <a:gd name="connsiteX22" fmla="*/ 4245793 w 9517086"/>
              <a:gd name="connsiteY22" fmla="*/ 3078214 h 7291226"/>
              <a:gd name="connsiteX23" fmla="*/ 4490696 w 9517086"/>
              <a:gd name="connsiteY23" fmla="*/ 2757469 h 7291226"/>
              <a:gd name="connsiteX24" fmla="*/ 8687764 w 9517086"/>
              <a:gd name="connsiteY24" fmla="*/ 7291226 h 7291226"/>
              <a:gd name="connsiteX25" fmla="*/ 8270226 w 9517086"/>
              <a:gd name="connsiteY25" fmla="*/ 7291226 h 7291226"/>
              <a:gd name="connsiteX26" fmla="*/ 4650570 w 9517086"/>
              <a:gd name="connsiteY26" fmla="*/ 2548084 h 7291226"/>
              <a:gd name="connsiteX27" fmla="*/ 4869244 w 9517086"/>
              <a:gd name="connsiteY27" fmla="*/ 2261689 h 7291226"/>
              <a:gd name="connsiteX28" fmla="*/ 9517086 w 9517086"/>
              <a:gd name="connsiteY28" fmla="*/ 7291226 h 7291226"/>
              <a:gd name="connsiteX29" fmla="*/ 9050647 w 9517086"/>
              <a:gd name="connsiteY29" fmla="*/ 7291226 h 7291226"/>
              <a:gd name="connsiteX30" fmla="*/ 5045299 w 9517086"/>
              <a:gd name="connsiteY30" fmla="*/ 2031113 h 7291226"/>
              <a:gd name="connsiteX31" fmla="*/ 5273037 w 9517086"/>
              <a:gd name="connsiteY31" fmla="*/ 1732846 h 7291226"/>
              <a:gd name="connsiteX0-1" fmla="*/ 168369 w 9378540"/>
              <a:gd name="connsiteY0-2" fmla="*/ 4779933 h 7291226"/>
              <a:gd name="connsiteX1-3" fmla="*/ 0 w 9378540"/>
              <a:gd name="connsiteY1-4" fmla="*/ 4409146 h 7291226"/>
              <a:gd name="connsiteX2-5" fmla="*/ 3332806 w 9378540"/>
              <a:gd name="connsiteY2-6" fmla="*/ 0 h 7291226"/>
              <a:gd name="connsiteX3-7" fmla="*/ 3794560 w 9378540"/>
              <a:gd name="connsiteY3-8" fmla="*/ 32861 h 7291226"/>
              <a:gd name="connsiteX4-9" fmla="*/ 168369 w 9378540"/>
              <a:gd name="connsiteY4-10" fmla="*/ 4779933 h 7291226"/>
              <a:gd name="connsiteX5-11" fmla="*/ 488220 w 9378540"/>
              <a:gd name="connsiteY5-12" fmla="*/ 5484315 h 7291226"/>
              <a:gd name="connsiteX6-13" fmla="*/ 299082 w 9378540"/>
              <a:gd name="connsiteY6-14" fmla="*/ 5067791 h 7291226"/>
              <a:gd name="connsiteX7-15" fmla="*/ 4106456 w 9378540"/>
              <a:gd name="connsiteY7-16" fmla="*/ 55057 h 7291226"/>
              <a:gd name="connsiteX8-17" fmla="*/ 4585079 w 9378540"/>
              <a:gd name="connsiteY8-18" fmla="*/ 89119 h 7291226"/>
              <a:gd name="connsiteX9-19" fmla="*/ 488220 w 9378540"/>
              <a:gd name="connsiteY9-20" fmla="*/ 5484315 h 7291226"/>
              <a:gd name="connsiteX10-21" fmla="*/ 779421 w 9378540"/>
              <a:gd name="connsiteY10-22" fmla="*/ 6125606 h 7291226"/>
              <a:gd name="connsiteX11-23" fmla="*/ 618065 w 9378540"/>
              <a:gd name="connsiteY11-24" fmla="*/ 5770263 h 7291226"/>
              <a:gd name="connsiteX12-25" fmla="*/ 4897528 w 9378540"/>
              <a:gd name="connsiteY12-26" fmla="*/ 111354 h 7291226"/>
              <a:gd name="connsiteX13-27" fmla="*/ 5324893 w 9378540"/>
              <a:gd name="connsiteY13-28" fmla="*/ 141768 h 7291226"/>
              <a:gd name="connsiteX14-29" fmla="*/ 779421 w 9378540"/>
              <a:gd name="connsiteY14-30" fmla="*/ 6125606 h 7291226"/>
              <a:gd name="connsiteX15-31" fmla="*/ 1099910 w 9378540"/>
              <a:gd name="connsiteY15-32" fmla="*/ 6831395 h 7291226"/>
              <a:gd name="connsiteX16-33" fmla="*/ 919656 w 9378540"/>
              <a:gd name="connsiteY16-34" fmla="*/ 6434435 h 7291226"/>
              <a:gd name="connsiteX17-35" fmla="*/ 5668965 w 9378540"/>
              <a:gd name="connsiteY17-36" fmla="*/ 166254 h 7291226"/>
              <a:gd name="connsiteX18-37" fmla="*/ 6114044 w 9378540"/>
              <a:gd name="connsiteY18-38" fmla="*/ 197929 h 7291226"/>
              <a:gd name="connsiteX19-39" fmla="*/ 1099910 w 9378540"/>
              <a:gd name="connsiteY19-40" fmla="*/ 6831395 h 7291226"/>
              <a:gd name="connsiteX20-41" fmla="*/ 7106560 w 9378540"/>
              <a:gd name="connsiteY20-42" fmla="*/ 7291226 h 7291226"/>
              <a:gd name="connsiteX21-43" fmla="*/ 6670875 w 9378540"/>
              <a:gd name="connsiteY21-44" fmla="*/ 7291226 h 7291226"/>
              <a:gd name="connsiteX22-45" fmla="*/ 3849932 w 9378540"/>
              <a:gd name="connsiteY22-46" fmla="*/ 3596670 h 7291226"/>
              <a:gd name="connsiteX23-47" fmla="*/ 4086202 w 9378540"/>
              <a:gd name="connsiteY23-48" fmla="*/ 3287229 h 7291226"/>
              <a:gd name="connsiteX24-49" fmla="*/ 7106560 w 9378540"/>
              <a:gd name="connsiteY24-50" fmla="*/ 7291226 h 7291226"/>
              <a:gd name="connsiteX25-51" fmla="*/ 7934229 w 9378540"/>
              <a:gd name="connsiteY25-52" fmla="*/ 7291226 h 7291226"/>
              <a:gd name="connsiteX26-53" fmla="*/ 7444802 w 9378540"/>
              <a:gd name="connsiteY26-54" fmla="*/ 7291226 h 7291226"/>
              <a:gd name="connsiteX27-55" fmla="*/ 4245793 w 9378540"/>
              <a:gd name="connsiteY27-56" fmla="*/ 3078214 h 7291226"/>
              <a:gd name="connsiteX28-57" fmla="*/ 4490696 w 9378540"/>
              <a:gd name="connsiteY28-58" fmla="*/ 2757469 h 7291226"/>
              <a:gd name="connsiteX29-59" fmla="*/ 7934229 w 9378540"/>
              <a:gd name="connsiteY29-60" fmla="*/ 7291226 h 7291226"/>
              <a:gd name="connsiteX30-61" fmla="*/ 8687764 w 9378540"/>
              <a:gd name="connsiteY30-62" fmla="*/ 7291226 h 7291226"/>
              <a:gd name="connsiteX31-63" fmla="*/ 8270226 w 9378540"/>
              <a:gd name="connsiteY31-64" fmla="*/ 7291226 h 7291226"/>
              <a:gd name="connsiteX32" fmla="*/ 4650570 w 9378540"/>
              <a:gd name="connsiteY32" fmla="*/ 2548084 h 7291226"/>
              <a:gd name="connsiteX33" fmla="*/ 4869244 w 9378540"/>
              <a:gd name="connsiteY33" fmla="*/ 2261689 h 7291226"/>
              <a:gd name="connsiteX34" fmla="*/ 8687764 w 9378540"/>
              <a:gd name="connsiteY34" fmla="*/ 7291226 h 7291226"/>
              <a:gd name="connsiteX35" fmla="*/ 9378540 w 9378540"/>
              <a:gd name="connsiteY35" fmla="*/ 7097262 h 7291226"/>
              <a:gd name="connsiteX36" fmla="*/ 9050647 w 9378540"/>
              <a:gd name="connsiteY36" fmla="*/ 7291226 h 7291226"/>
              <a:gd name="connsiteX37" fmla="*/ 5045299 w 9378540"/>
              <a:gd name="connsiteY37" fmla="*/ 2031113 h 7291226"/>
              <a:gd name="connsiteX38" fmla="*/ 5273037 w 9378540"/>
              <a:gd name="connsiteY38" fmla="*/ 1732846 h 7291226"/>
              <a:gd name="connsiteX39" fmla="*/ 9378540 w 9378540"/>
              <a:gd name="connsiteY39" fmla="*/ 7097262 h 7291226"/>
              <a:gd name="connsiteX0-65" fmla="*/ 168369 w 9378540"/>
              <a:gd name="connsiteY0-66" fmla="*/ 4779933 h 7291226"/>
              <a:gd name="connsiteX1-67" fmla="*/ 0 w 9378540"/>
              <a:gd name="connsiteY1-68" fmla="*/ 4409146 h 7291226"/>
              <a:gd name="connsiteX2-69" fmla="*/ 3332806 w 9378540"/>
              <a:gd name="connsiteY2-70" fmla="*/ 0 h 7291226"/>
              <a:gd name="connsiteX3-71" fmla="*/ 3794560 w 9378540"/>
              <a:gd name="connsiteY3-72" fmla="*/ 32861 h 7291226"/>
              <a:gd name="connsiteX4-73" fmla="*/ 168369 w 9378540"/>
              <a:gd name="connsiteY4-74" fmla="*/ 4779933 h 7291226"/>
              <a:gd name="connsiteX5-75" fmla="*/ 488220 w 9378540"/>
              <a:gd name="connsiteY5-76" fmla="*/ 5484315 h 7291226"/>
              <a:gd name="connsiteX6-77" fmla="*/ 299082 w 9378540"/>
              <a:gd name="connsiteY6-78" fmla="*/ 5067791 h 7291226"/>
              <a:gd name="connsiteX7-79" fmla="*/ 4106456 w 9378540"/>
              <a:gd name="connsiteY7-80" fmla="*/ 55057 h 7291226"/>
              <a:gd name="connsiteX8-81" fmla="*/ 4585079 w 9378540"/>
              <a:gd name="connsiteY8-82" fmla="*/ 89119 h 7291226"/>
              <a:gd name="connsiteX9-83" fmla="*/ 488220 w 9378540"/>
              <a:gd name="connsiteY9-84" fmla="*/ 5484315 h 7291226"/>
              <a:gd name="connsiteX10-85" fmla="*/ 779421 w 9378540"/>
              <a:gd name="connsiteY10-86" fmla="*/ 6125606 h 7291226"/>
              <a:gd name="connsiteX11-87" fmla="*/ 618065 w 9378540"/>
              <a:gd name="connsiteY11-88" fmla="*/ 5770263 h 7291226"/>
              <a:gd name="connsiteX12-89" fmla="*/ 4897528 w 9378540"/>
              <a:gd name="connsiteY12-90" fmla="*/ 111354 h 7291226"/>
              <a:gd name="connsiteX13-91" fmla="*/ 5324893 w 9378540"/>
              <a:gd name="connsiteY13-92" fmla="*/ 141768 h 7291226"/>
              <a:gd name="connsiteX14-93" fmla="*/ 779421 w 9378540"/>
              <a:gd name="connsiteY14-94" fmla="*/ 6125606 h 7291226"/>
              <a:gd name="connsiteX15-95" fmla="*/ 1099910 w 9378540"/>
              <a:gd name="connsiteY15-96" fmla="*/ 6831395 h 7291226"/>
              <a:gd name="connsiteX16-97" fmla="*/ 919656 w 9378540"/>
              <a:gd name="connsiteY16-98" fmla="*/ 6434435 h 7291226"/>
              <a:gd name="connsiteX17-99" fmla="*/ 5668965 w 9378540"/>
              <a:gd name="connsiteY17-100" fmla="*/ 166254 h 7291226"/>
              <a:gd name="connsiteX18-101" fmla="*/ 6114044 w 9378540"/>
              <a:gd name="connsiteY18-102" fmla="*/ 197929 h 7291226"/>
              <a:gd name="connsiteX19-103" fmla="*/ 1099910 w 9378540"/>
              <a:gd name="connsiteY19-104" fmla="*/ 6831395 h 7291226"/>
              <a:gd name="connsiteX20-105" fmla="*/ 7106560 w 9378540"/>
              <a:gd name="connsiteY20-106" fmla="*/ 7291226 h 7291226"/>
              <a:gd name="connsiteX21-107" fmla="*/ 6670875 w 9378540"/>
              <a:gd name="connsiteY21-108" fmla="*/ 7291226 h 7291226"/>
              <a:gd name="connsiteX22-109" fmla="*/ 3849932 w 9378540"/>
              <a:gd name="connsiteY22-110" fmla="*/ 3596670 h 7291226"/>
              <a:gd name="connsiteX23-111" fmla="*/ 4086202 w 9378540"/>
              <a:gd name="connsiteY23-112" fmla="*/ 3287229 h 7291226"/>
              <a:gd name="connsiteX24-113" fmla="*/ 7106560 w 9378540"/>
              <a:gd name="connsiteY24-114" fmla="*/ 7291226 h 7291226"/>
              <a:gd name="connsiteX25-115" fmla="*/ 7934229 w 9378540"/>
              <a:gd name="connsiteY25-116" fmla="*/ 7291226 h 7291226"/>
              <a:gd name="connsiteX26-117" fmla="*/ 7444802 w 9378540"/>
              <a:gd name="connsiteY26-118" fmla="*/ 7291226 h 7291226"/>
              <a:gd name="connsiteX27-119" fmla="*/ 4245793 w 9378540"/>
              <a:gd name="connsiteY27-120" fmla="*/ 3078214 h 7291226"/>
              <a:gd name="connsiteX28-121" fmla="*/ 4490696 w 9378540"/>
              <a:gd name="connsiteY28-122" fmla="*/ 2757469 h 7291226"/>
              <a:gd name="connsiteX29-123" fmla="*/ 7934229 w 9378540"/>
              <a:gd name="connsiteY29-124" fmla="*/ 7291226 h 7291226"/>
              <a:gd name="connsiteX30-125" fmla="*/ 8687764 w 9378540"/>
              <a:gd name="connsiteY30-126" fmla="*/ 7291226 h 7291226"/>
              <a:gd name="connsiteX31-127" fmla="*/ 8270226 w 9378540"/>
              <a:gd name="connsiteY31-128" fmla="*/ 7291226 h 7291226"/>
              <a:gd name="connsiteX32-129" fmla="*/ 4650570 w 9378540"/>
              <a:gd name="connsiteY32-130" fmla="*/ 2548084 h 7291226"/>
              <a:gd name="connsiteX33-131" fmla="*/ 4869244 w 9378540"/>
              <a:gd name="connsiteY33-132" fmla="*/ 2261689 h 7291226"/>
              <a:gd name="connsiteX34-133" fmla="*/ 8687764 w 9378540"/>
              <a:gd name="connsiteY34-134" fmla="*/ 7291226 h 7291226"/>
              <a:gd name="connsiteX35-135" fmla="*/ 9378540 w 9378540"/>
              <a:gd name="connsiteY35-136" fmla="*/ 7097262 h 7291226"/>
              <a:gd name="connsiteX36-137" fmla="*/ 8921338 w 9378540"/>
              <a:gd name="connsiteY36-138" fmla="*/ 7115735 h 7291226"/>
              <a:gd name="connsiteX37-139" fmla="*/ 5045299 w 9378540"/>
              <a:gd name="connsiteY37-140" fmla="*/ 2031113 h 7291226"/>
              <a:gd name="connsiteX38-141" fmla="*/ 5273037 w 9378540"/>
              <a:gd name="connsiteY38-142" fmla="*/ 1732846 h 7291226"/>
              <a:gd name="connsiteX39-143" fmla="*/ 9378540 w 9378540"/>
              <a:gd name="connsiteY39-144" fmla="*/ 7097262 h 7291226"/>
              <a:gd name="connsiteX0-145" fmla="*/ 168369 w 9397013"/>
              <a:gd name="connsiteY0-146" fmla="*/ 4779933 h 7291226"/>
              <a:gd name="connsiteX1-147" fmla="*/ 0 w 9397013"/>
              <a:gd name="connsiteY1-148" fmla="*/ 4409146 h 7291226"/>
              <a:gd name="connsiteX2-149" fmla="*/ 3332806 w 9397013"/>
              <a:gd name="connsiteY2-150" fmla="*/ 0 h 7291226"/>
              <a:gd name="connsiteX3-151" fmla="*/ 3794560 w 9397013"/>
              <a:gd name="connsiteY3-152" fmla="*/ 32861 h 7291226"/>
              <a:gd name="connsiteX4-153" fmla="*/ 168369 w 9397013"/>
              <a:gd name="connsiteY4-154" fmla="*/ 4779933 h 7291226"/>
              <a:gd name="connsiteX5-155" fmla="*/ 488220 w 9397013"/>
              <a:gd name="connsiteY5-156" fmla="*/ 5484315 h 7291226"/>
              <a:gd name="connsiteX6-157" fmla="*/ 299082 w 9397013"/>
              <a:gd name="connsiteY6-158" fmla="*/ 5067791 h 7291226"/>
              <a:gd name="connsiteX7-159" fmla="*/ 4106456 w 9397013"/>
              <a:gd name="connsiteY7-160" fmla="*/ 55057 h 7291226"/>
              <a:gd name="connsiteX8-161" fmla="*/ 4585079 w 9397013"/>
              <a:gd name="connsiteY8-162" fmla="*/ 89119 h 7291226"/>
              <a:gd name="connsiteX9-163" fmla="*/ 488220 w 9397013"/>
              <a:gd name="connsiteY9-164" fmla="*/ 5484315 h 7291226"/>
              <a:gd name="connsiteX10-165" fmla="*/ 779421 w 9397013"/>
              <a:gd name="connsiteY10-166" fmla="*/ 6125606 h 7291226"/>
              <a:gd name="connsiteX11-167" fmla="*/ 618065 w 9397013"/>
              <a:gd name="connsiteY11-168" fmla="*/ 5770263 h 7291226"/>
              <a:gd name="connsiteX12-169" fmla="*/ 4897528 w 9397013"/>
              <a:gd name="connsiteY12-170" fmla="*/ 111354 h 7291226"/>
              <a:gd name="connsiteX13-171" fmla="*/ 5324893 w 9397013"/>
              <a:gd name="connsiteY13-172" fmla="*/ 141768 h 7291226"/>
              <a:gd name="connsiteX14-173" fmla="*/ 779421 w 9397013"/>
              <a:gd name="connsiteY14-174" fmla="*/ 6125606 h 7291226"/>
              <a:gd name="connsiteX15-175" fmla="*/ 1099910 w 9397013"/>
              <a:gd name="connsiteY15-176" fmla="*/ 6831395 h 7291226"/>
              <a:gd name="connsiteX16-177" fmla="*/ 919656 w 9397013"/>
              <a:gd name="connsiteY16-178" fmla="*/ 6434435 h 7291226"/>
              <a:gd name="connsiteX17-179" fmla="*/ 5668965 w 9397013"/>
              <a:gd name="connsiteY17-180" fmla="*/ 166254 h 7291226"/>
              <a:gd name="connsiteX18-181" fmla="*/ 6114044 w 9397013"/>
              <a:gd name="connsiteY18-182" fmla="*/ 197929 h 7291226"/>
              <a:gd name="connsiteX19-183" fmla="*/ 1099910 w 9397013"/>
              <a:gd name="connsiteY19-184" fmla="*/ 6831395 h 7291226"/>
              <a:gd name="connsiteX20-185" fmla="*/ 7106560 w 9397013"/>
              <a:gd name="connsiteY20-186" fmla="*/ 7291226 h 7291226"/>
              <a:gd name="connsiteX21-187" fmla="*/ 6670875 w 9397013"/>
              <a:gd name="connsiteY21-188" fmla="*/ 7291226 h 7291226"/>
              <a:gd name="connsiteX22-189" fmla="*/ 3849932 w 9397013"/>
              <a:gd name="connsiteY22-190" fmla="*/ 3596670 h 7291226"/>
              <a:gd name="connsiteX23-191" fmla="*/ 4086202 w 9397013"/>
              <a:gd name="connsiteY23-192" fmla="*/ 3287229 h 7291226"/>
              <a:gd name="connsiteX24-193" fmla="*/ 7106560 w 9397013"/>
              <a:gd name="connsiteY24-194" fmla="*/ 7291226 h 7291226"/>
              <a:gd name="connsiteX25-195" fmla="*/ 7934229 w 9397013"/>
              <a:gd name="connsiteY25-196" fmla="*/ 7291226 h 7291226"/>
              <a:gd name="connsiteX26-197" fmla="*/ 7444802 w 9397013"/>
              <a:gd name="connsiteY26-198" fmla="*/ 7291226 h 7291226"/>
              <a:gd name="connsiteX27-199" fmla="*/ 4245793 w 9397013"/>
              <a:gd name="connsiteY27-200" fmla="*/ 3078214 h 7291226"/>
              <a:gd name="connsiteX28-201" fmla="*/ 4490696 w 9397013"/>
              <a:gd name="connsiteY28-202" fmla="*/ 2757469 h 7291226"/>
              <a:gd name="connsiteX29-203" fmla="*/ 7934229 w 9397013"/>
              <a:gd name="connsiteY29-204" fmla="*/ 7291226 h 7291226"/>
              <a:gd name="connsiteX30-205" fmla="*/ 8687764 w 9397013"/>
              <a:gd name="connsiteY30-206" fmla="*/ 7291226 h 7291226"/>
              <a:gd name="connsiteX31-207" fmla="*/ 8270226 w 9397013"/>
              <a:gd name="connsiteY31-208" fmla="*/ 7291226 h 7291226"/>
              <a:gd name="connsiteX32-209" fmla="*/ 4650570 w 9397013"/>
              <a:gd name="connsiteY32-210" fmla="*/ 2548084 h 7291226"/>
              <a:gd name="connsiteX33-211" fmla="*/ 4869244 w 9397013"/>
              <a:gd name="connsiteY33-212" fmla="*/ 2261689 h 7291226"/>
              <a:gd name="connsiteX34-213" fmla="*/ 8687764 w 9397013"/>
              <a:gd name="connsiteY34-214" fmla="*/ 7291226 h 7291226"/>
              <a:gd name="connsiteX35-215" fmla="*/ 9397013 w 9397013"/>
              <a:gd name="connsiteY35-216" fmla="*/ 7134207 h 7291226"/>
              <a:gd name="connsiteX36-217" fmla="*/ 8921338 w 9397013"/>
              <a:gd name="connsiteY36-218" fmla="*/ 7115735 h 7291226"/>
              <a:gd name="connsiteX37-219" fmla="*/ 5045299 w 9397013"/>
              <a:gd name="connsiteY37-220" fmla="*/ 2031113 h 7291226"/>
              <a:gd name="connsiteX38-221" fmla="*/ 5273037 w 9397013"/>
              <a:gd name="connsiteY38-222" fmla="*/ 1732846 h 7291226"/>
              <a:gd name="connsiteX39-223" fmla="*/ 9397013 w 9397013"/>
              <a:gd name="connsiteY39-224" fmla="*/ 7134207 h 7291226"/>
              <a:gd name="connsiteX0-225" fmla="*/ 168369 w 9397013"/>
              <a:gd name="connsiteY0-226" fmla="*/ 4779933 h 7291226"/>
              <a:gd name="connsiteX1-227" fmla="*/ 0 w 9397013"/>
              <a:gd name="connsiteY1-228" fmla="*/ 4409146 h 7291226"/>
              <a:gd name="connsiteX2-229" fmla="*/ 3332806 w 9397013"/>
              <a:gd name="connsiteY2-230" fmla="*/ 0 h 7291226"/>
              <a:gd name="connsiteX3-231" fmla="*/ 3794560 w 9397013"/>
              <a:gd name="connsiteY3-232" fmla="*/ 32861 h 7291226"/>
              <a:gd name="connsiteX4-233" fmla="*/ 168369 w 9397013"/>
              <a:gd name="connsiteY4-234" fmla="*/ 4779933 h 7291226"/>
              <a:gd name="connsiteX5-235" fmla="*/ 488220 w 9397013"/>
              <a:gd name="connsiteY5-236" fmla="*/ 5484315 h 7291226"/>
              <a:gd name="connsiteX6-237" fmla="*/ 299082 w 9397013"/>
              <a:gd name="connsiteY6-238" fmla="*/ 5067791 h 7291226"/>
              <a:gd name="connsiteX7-239" fmla="*/ 4106456 w 9397013"/>
              <a:gd name="connsiteY7-240" fmla="*/ 55057 h 7291226"/>
              <a:gd name="connsiteX8-241" fmla="*/ 4585079 w 9397013"/>
              <a:gd name="connsiteY8-242" fmla="*/ 89119 h 7291226"/>
              <a:gd name="connsiteX9-243" fmla="*/ 488220 w 9397013"/>
              <a:gd name="connsiteY9-244" fmla="*/ 5484315 h 7291226"/>
              <a:gd name="connsiteX10-245" fmla="*/ 779421 w 9397013"/>
              <a:gd name="connsiteY10-246" fmla="*/ 6125606 h 7291226"/>
              <a:gd name="connsiteX11-247" fmla="*/ 618065 w 9397013"/>
              <a:gd name="connsiteY11-248" fmla="*/ 5770263 h 7291226"/>
              <a:gd name="connsiteX12-249" fmla="*/ 4897528 w 9397013"/>
              <a:gd name="connsiteY12-250" fmla="*/ 111354 h 7291226"/>
              <a:gd name="connsiteX13-251" fmla="*/ 5324893 w 9397013"/>
              <a:gd name="connsiteY13-252" fmla="*/ 141768 h 7291226"/>
              <a:gd name="connsiteX14-253" fmla="*/ 779421 w 9397013"/>
              <a:gd name="connsiteY14-254" fmla="*/ 6125606 h 7291226"/>
              <a:gd name="connsiteX15-255" fmla="*/ 1099910 w 9397013"/>
              <a:gd name="connsiteY15-256" fmla="*/ 6831395 h 7291226"/>
              <a:gd name="connsiteX16-257" fmla="*/ 919656 w 9397013"/>
              <a:gd name="connsiteY16-258" fmla="*/ 6434435 h 7291226"/>
              <a:gd name="connsiteX17-259" fmla="*/ 5668965 w 9397013"/>
              <a:gd name="connsiteY17-260" fmla="*/ 166254 h 7291226"/>
              <a:gd name="connsiteX18-261" fmla="*/ 6114044 w 9397013"/>
              <a:gd name="connsiteY18-262" fmla="*/ 197929 h 7291226"/>
              <a:gd name="connsiteX19-263" fmla="*/ 1099910 w 9397013"/>
              <a:gd name="connsiteY19-264" fmla="*/ 6831395 h 7291226"/>
              <a:gd name="connsiteX20-265" fmla="*/ 7106560 w 9397013"/>
              <a:gd name="connsiteY20-266" fmla="*/ 7291226 h 7291226"/>
              <a:gd name="connsiteX21-267" fmla="*/ 6670875 w 9397013"/>
              <a:gd name="connsiteY21-268" fmla="*/ 7291226 h 7291226"/>
              <a:gd name="connsiteX22-269" fmla="*/ 3849932 w 9397013"/>
              <a:gd name="connsiteY22-270" fmla="*/ 3596670 h 7291226"/>
              <a:gd name="connsiteX23-271" fmla="*/ 4086202 w 9397013"/>
              <a:gd name="connsiteY23-272" fmla="*/ 3287229 h 7291226"/>
              <a:gd name="connsiteX24-273" fmla="*/ 7106560 w 9397013"/>
              <a:gd name="connsiteY24-274" fmla="*/ 7291226 h 7291226"/>
              <a:gd name="connsiteX25-275" fmla="*/ 7934229 w 9397013"/>
              <a:gd name="connsiteY25-276" fmla="*/ 7291226 h 7291226"/>
              <a:gd name="connsiteX26-277" fmla="*/ 7444802 w 9397013"/>
              <a:gd name="connsiteY26-278" fmla="*/ 7291226 h 7291226"/>
              <a:gd name="connsiteX27-279" fmla="*/ 4245793 w 9397013"/>
              <a:gd name="connsiteY27-280" fmla="*/ 3078214 h 7291226"/>
              <a:gd name="connsiteX28-281" fmla="*/ 4490696 w 9397013"/>
              <a:gd name="connsiteY28-282" fmla="*/ 2757469 h 7291226"/>
              <a:gd name="connsiteX29-283" fmla="*/ 7934229 w 9397013"/>
              <a:gd name="connsiteY29-284" fmla="*/ 7291226 h 7291226"/>
              <a:gd name="connsiteX30-285" fmla="*/ 8530746 w 9397013"/>
              <a:gd name="connsiteY30-286" fmla="*/ 7088026 h 7291226"/>
              <a:gd name="connsiteX31-287" fmla="*/ 8270226 w 9397013"/>
              <a:gd name="connsiteY31-288" fmla="*/ 7291226 h 7291226"/>
              <a:gd name="connsiteX32-289" fmla="*/ 4650570 w 9397013"/>
              <a:gd name="connsiteY32-290" fmla="*/ 2548084 h 7291226"/>
              <a:gd name="connsiteX33-291" fmla="*/ 4869244 w 9397013"/>
              <a:gd name="connsiteY33-292" fmla="*/ 2261689 h 7291226"/>
              <a:gd name="connsiteX34-293" fmla="*/ 8530746 w 9397013"/>
              <a:gd name="connsiteY34-294" fmla="*/ 7088026 h 7291226"/>
              <a:gd name="connsiteX35-295" fmla="*/ 9397013 w 9397013"/>
              <a:gd name="connsiteY35-296" fmla="*/ 7134207 h 7291226"/>
              <a:gd name="connsiteX36-297" fmla="*/ 8921338 w 9397013"/>
              <a:gd name="connsiteY36-298" fmla="*/ 7115735 h 7291226"/>
              <a:gd name="connsiteX37-299" fmla="*/ 5045299 w 9397013"/>
              <a:gd name="connsiteY37-300" fmla="*/ 2031113 h 7291226"/>
              <a:gd name="connsiteX38-301" fmla="*/ 5273037 w 9397013"/>
              <a:gd name="connsiteY38-302" fmla="*/ 1732846 h 7291226"/>
              <a:gd name="connsiteX39-303" fmla="*/ 9397013 w 9397013"/>
              <a:gd name="connsiteY39-304" fmla="*/ 7134207 h 7291226"/>
              <a:gd name="connsiteX0-305" fmla="*/ 168369 w 9397013"/>
              <a:gd name="connsiteY0-306" fmla="*/ 4779933 h 7291226"/>
              <a:gd name="connsiteX1-307" fmla="*/ 0 w 9397013"/>
              <a:gd name="connsiteY1-308" fmla="*/ 4409146 h 7291226"/>
              <a:gd name="connsiteX2-309" fmla="*/ 3332806 w 9397013"/>
              <a:gd name="connsiteY2-310" fmla="*/ 0 h 7291226"/>
              <a:gd name="connsiteX3-311" fmla="*/ 3794560 w 9397013"/>
              <a:gd name="connsiteY3-312" fmla="*/ 32861 h 7291226"/>
              <a:gd name="connsiteX4-313" fmla="*/ 168369 w 9397013"/>
              <a:gd name="connsiteY4-314" fmla="*/ 4779933 h 7291226"/>
              <a:gd name="connsiteX5-315" fmla="*/ 488220 w 9397013"/>
              <a:gd name="connsiteY5-316" fmla="*/ 5484315 h 7291226"/>
              <a:gd name="connsiteX6-317" fmla="*/ 299082 w 9397013"/>
              <a:gd name="connsiteY6-318" fmla="*/ 5067791 h 7291226"/>
              <a:gd name="connsiteX7-319" fmla="*/ 4106456 w 9397013"/>
              <a:gd name="connsiteY7-320" fmla="*/ 55057 h 7291226"/>
              <a:gd name="connsiteX8-321" fmla="*/ 4585079 w 9397013"/>
              <a:gd name="connsiteY8-322" fmla="*/ 89119 h 7291226"/>
              <a:gd name="connsiteX9-323" fmla="*/ 488220 w 9397013"/>
              <a:gd name="connsiteY9-324" fmla="*/ 5484315 h 7291226"/>
              <a:gd name="connsiteX10-325" fmla="*/ 779421 w 9397013"/>
              <a:gd name="connsiteY10-326" fmla="*/ 6125606 h 7291226"/>
              <a:gd name="connsiteX11-327" fmla="*/ 618065 w 9397013"/>
              <a:gd name="connsiteY11-328" fmla="*/ 5770263 h 7291226"/>
              <a:gd name="connsiteX12-329" fmla="*/ 4897528 w 9397013"/>
              <a:gd name="connsiteY12-330" fmla="*/ 111354 h 7291226"/>
              <a:gd name="connsiteX13-331" fmla="*/ 5324893 w 9397013"/>
              <a:gd name="connsiteY13-332" fmla="*/ 141768 h 7291226"/>
              <a:gd name="connsiteX14-333" fmla="*/ 779421 w 9397013"/>
              <a:gd name="connsiteY14-334" fmla="*/ 6125606 h 7291226"/>
              <a:gd name="connsiteX15-335" fmla="*/ 1099910 w 9397013"/>
              <a:gd name="connsiteY15-336" fmla="*/ 6831395 h 7291226"/>
              <a:gd name="connsiteX16-337" fmla="*/ 919656 w 9397013"/>
              <a:gd name="connsiteY16-338" fmla="*/ 6434435 h 7291226"/>
              <a:gd name="connsiteX17-339" fmla="*/ 5668965 w 9397013"/>
              <a:gd name="connsiteY17-340" fmla="*/ 166254 h 7291226"/>
              <a:gd name="connsiteX18-341" fmla="*/ 6114044 w 9397013"/>
              <a:gd name="connsiteY18-342" fmla="*/ 197929 h 7291226"/>
              <a:gd name="connsiteX19-343" fmla="*/ 1099910 w 9397013"/>
              <a:gd name="connsiteY19-344" fmla="*/ 6831395 h 7291226"/>
              <a:gd name="connsiteX20-345" fmla="*/ 7106560 w 9397013"/>
              <a:gd name="connsiteY20-346" fmla="*/ 7291226 h 7291226"/>
              <a:gd name="connsiteX21-347" fmla="*/ 6670875 w 9397013"/>
              <a:gd name="connsiteY21-348" fmla="*/ 7291226 h 7291226"/>
              <a:gd name="connsiteX22-349" fmla="*/ 3849932 w 9397013"/>
              <a:gd name="connsiteY22-350" fmla="*/ 3596670 h 7291226"/>
              <a:gd name="connsiteX23-351" fmla="*/ 4086202 w 9397013"/>
              <a:gd name="connsiteY23-352" fmla="*/ 3287229 h 7291226"/>
              <a:gd name="connsiteX24-353" fmla="*/ 7106560 w 9397013"/>
              <a:gd name="connsiteY24-354" fmla="*/ 7291226 h 7291226"/>
              <a:gd name="connsiteX25-355" fmla="*/ 7934229 w 9397013"/>
              <a:gd name="connsiteY25-356" fmla="*/ 7291226 h 7291226"/>
              <a:gd name="connsiteX26-357" fmla="*/ 7444802 w 9397013"/>
              <a:gd name="connsiteY26-358" fmla="*/ 7291226 h 7291226"/>
              <a:gd name="connsiteX27-359" fmla="*/ 4245793 w 9397013"/>
              <a:gd name="connsiteY27-360" fmla="*/ 3078214 h 7291226"/>
              <a:gd name="connsiteX28-361" fmla="*/ 4490696 w 9397013"/>
              <a:gd name="connsiteY28-362" fmla="*/ 2757469 h 7291226"/>
              <a:gd name="connsiteX29-363" fmla="*/ 7934229 w 9397013"/>
              <a:gd name="connsiteY29-364" fmla="*/ 7291226 h 7291226"/>
              <a:gd name="connsiteX30-365" fmla="*/ 8530746 w 9397013"/>
              <a:gd name="connsiteY30-366" fmla="*/ 7088026 h 7291226"/>
              <a:gd name="connsiteX31-367" fmla="*/ 8150153 w 9397013"/>
              <a:gd name="connsiteY31-368" fmla="*/ 7097262 h 7291226"/>
              <a:gd name="connsiteX32-369" fmla="*/ 4650570 w 9397013"/>
              <a:gd name="connsiteY32-370" fmla="*/ 2548084 h 7291226"/>
              <a:gd name="connsiteX33-371" fmla="*/ 4869244 w 9397013"/>
              <a:gd name="connsiteY33-372" fmla="*/ 2261689 h 7291226"/>
              <a:gd name="connsiteX34-373" fmla="*/ 8530746 w 9397013"/>
              <a:gd name="connsiteY34-374" fmla="*/ 7088026 h 7291226"/>
              <a:gd name="connsiteX35-375" fmla="*/ 9397013 w 9397013"/>
              <a:gd name="connsiteY35-376" fmla="*/ 7134207 h 7291226"/>
              <a:gd name="connsiteX36-377" fmla="*/ 8921338 w 9397013"/>
              <a:gd name="connsiteY36-378" fmla="*/ 7115735 h 7291226"/>
              <a:gd name="connsiteX37-379" fmla="*/ 5045299 w 9397013"/>
              <a:gd name="connsiteY37-380" fmla="*/ 2031113 h 7291226"/>
              <a:gd name="connsiteX38-381" fmla="*/ 5273037 w 9397013"/>
              <a:gd name="connsiteY38-382" fmla="*/ 1732846 h 7291226"/>
              <a:gd name="connsiteX39-383" fmla="*/ 9397013 w 9397013"/>
              <a:gd name="connsiteY39-384" fmla="*/ 7134207 h 7291226"/>
              <a:gd name="connsiteX0-385" fmla="*/ 168369 w 9397013"/>
              <a:gd name="connsiteY0-386" fmla="*/ 4779933 h 7291226"/>
              <a:gd name="connsiteX1-387" fmla="*/ 0 w 9397013"/>
              <a:gd name="connsiteY1-388" fmla="*/ 4409146 h 7291226"/>
              <a:gd name="connsiteX2-389" fmla="*/ 3332806 w 9397013"/>
              <a:gd name="connsiteY2-390" fmla="*/ 0 h 7291226"/>
              <a:gd name="connsiteX3-391" fmla="*/ 3794560 w 9397013"/>
              <a:gd name="connsiteY3-392" fmla="*/ 32861 h 7291226"/>
              <a:gd name="connsiteX4-393" fmla="*/ 168369 w 9397013"/>
              <a:gd name="connsiteY4-394" fmla="*/ 4779933 h 7291226"/>
              <a:gd name="connsiteX5-395" fmla="*/ 488220 w 9397013"/>
              <a:gd name="connsiteY5-396" fmla="*/ 5484315 h 7291226"/>
              <a:gd name="connsiteX6-397" fmla="*/ 299082 w 9397013"/>
              <a:gd name="connsiteY6-398" fmla="*/ 5067791 h 7291226"/>
              <a:gd name="connsiteX7-399" fmla="*/ 4106456 w 9397013"/>
              <a:gd name="connsiteY7-400" fmla="*/ 55057 h 7291226"/>
              <a:gd name="connsiteX8-401" fmla="*/ 4585079 w 9397013"/>
              <a:gd name="connsiteY8-402" fmla="*/ 89119 h 7291226"/>
              <a:gd name="connsiteX9-403" fmla="*/ 488220 w 9397013"/>
              <a:gd name="connsiteY9-404" fmla="*/ 5484315 h 7291226"/>
              <a:gd name="connsiteX10-405" fmla="*/ 779421 w 9397013"/>
              <a:gd name="connsiteY10-406" fmla="*/ 6125606 h 7291226"/>
              <a:gd name="connsiteX11-407" fmla="*/ 618065 w 9397013"/>
              <a:gd name="connsiteY11-408" fmla="*/ 5770263 h 7291226"/>
              <a:gd name="connsiteX12-409" fmla="*/ 4897528 w 9397013"/>
              <a:gd name="connsiteY12-410" fmla="*/ 111354 h 7291226"/>
              <a:gd name="connsiteX13-411" fmla="*/ 5324893 w 9397013"/>
              <a:gd name="connsiteY13-412" fmla="*/ 141768 h 7291226"/>
              <a:gd name="connsiteX14-413" fmla="*/ 779421 w 9397013"/>
              <a:gd name="connsiteY14-414" fmla="*/ 6125606 h 7291226"/>
              <a:gd name="connsiteX15-415" fmla="*/ 1099910 w 9397013"/>
              <a:gd name="connsiteY15-416" fmla="*/ 6831395 h 7291226"/>
              <a:gd name="connsiteX16-417" fmla="*/ 919656 w 9397013"/>
              <a:gd name="connsiteY16-418" fmla="*/ 6434435 h 7291226"/>
              <a:gd name="connsiteX17-419" fmla="*/ 5668965 w 9397013"/>
              <a:gd name="connsiteY17-420" fmla="*/ 166254 h 7291226"/>
              <a:gd name="connsiteX18-421" fmla="*/ 6114044 w 9397013"/>
              <a:gd name="connsiteY18-422" fmla="*/ 197929 h 7291226"/>
              <a:gd name="connsiteX19-423" fmla="*/ 1099910 w 9397013"/>
              <a:gd name="connsiteY19-424" fmla="*/ 6831395 h 7291226"/>
              <a:gd name="connsiteX20-425" fmla="*/ 7106560 w 9397013"/>
              <a:gd name="connsiteY20-426" fmla="*/ 7291226 h 7291226"/>
              <a:gd name="connsiteX21-427" fmla="*/ 6670875 w 9397013"/>
              <a:gd name="connsiteY21-428" fmla="*/ 7291226 h 7291226"/>
              <a:gd name="connsiteX22-429" fmla="*/ 3849932 w 9397013"/>
              <a:gd name="connsiteY22-430" fmla="*/ 3596670 h 7291226"/>
              <a:gd name="connsiteX23-431" fmla="*/ 4086202 w 9397013"/>
              <a:gd name="connsiteY23-432" fmla="*/ 3287229 h 7291226"/>
              <a:gd name="connsiteX24-433" fmla="*/ 7106560 w 9397013"/>
              <a:gd name="connsiteY24-434" fmla="*/ 7291226 h 7291226"/>
              <a:gd name="connsiteX25-435" fmla="*/ 7934229 w 9397013"/>
              <a:gd name="connsiteY25-436" fmla="*/ 7291226 h 7291226"/>
              <a:gd name="connsiteX26-437" fmla="*/ 7444802 w 9397013"/>
              <a:gd name="connsiteY26-438" fmla="*/ 7291226 h 7291226"/>
              <a:gd name="connsiteX27-439" fmla="*/ 4245793 w 9397013"/>
              <a:gd name="connsiteY27-440" fmla="*/ 3078214 h 7291226"/>
              <a:gd name="connsiteX28-441" fmla="*/ 4490696 w 9397013"/>
              <a:gd name="connsiteY28-442" fmla="*/ 2757469 h 7291226"/>
              <a:gd name="connsiteX29-443" fmla="*/ 7934229 w 9397013"/>
              <a:gd name="connsiteY29-444" fmla="*/ 7291226 h 7291226"/>
              <a:gd name="connsiteX30-445" fmla="*/ 8567691 w 9397013"/>
              <a:gd name="connsiteY30-446" fmla="*/ 7124971 h 7291226"/>
              <a:gd name="connsiteX31-447" fmla="*/ 8150153 w 9397013"/>
              <a:gd name="connsiteY31-448" fmla="*/ 7097262 h 7291226"/>
              <a:gd name="connsiteX32-449" fmla="*/ 4650570 w 9397013"/>
              <a:gd name="connsiteY32-450" fmla="*/ 2548084 h 7291226"/>
              <a:gd name="connsiteX33-451" fmla="*/ 4869244 w 9397013"/>
              <a:gd name="connsiteY33-452" fmla="*/ 2261689 h 7291226"/>
              <a:gd name="connsiteX34-453" fmla="*/ 8567691 w 9397013"/>
              <a:gd name="connsiteY34-454" fmla="*/ 7124971 h 7291226"/>
              <a:gd name="connsiteX35-455" fmla="*/ 9397013 w 9397013"/>
              <a:gd name="connsiteY35-456" fmla="*/ 7134207 h 7291226"/>
              <a:gd name="connsiteX36-457" fmla="*/ 8921338 w 9397013"/>
              <a:gd name="connsiteY36-458" fmla="*/ 7115735 h 7291226"/>
              <a:gd name="connsiteX37-459" fmla="*/ 5045299 w 9397013"/>
              <a:gd name="connsiteY37-460" fmla="*/ 2031113 h 7291226"/>
              <a:gd name="connsiteX38-461" fmla="*/ 5273037 w 9397013"/>
              <a:gd name="connsiteY38-462" fmla="*/ 1732846 h 7291226"/>
              <a:gd name="connsiteX39-463" fmla="*/ 9397013 w 9397013"/>
              <a:gd name="connsiteY39-464" fmla="*/ 7134207 h 7291226"/>
              <a:gd name="connsiteX0-465" fmla="*/ 168369 w 9397013"/>
              <a:gd name="connsiteY0-466" fmla="*/ 4779933 h 7291226"/>
              <a:gd name="connsiteX1-467" fmla="*/ 0 w 9397013"/>
              <a:gd name="connsiteY1-468" fmla="*/ 4409146 h 7291226"/>
              <a:gd name="connsiteX2-469" fmla="*/ 3332806 w 9397013"/>
              <a:gd name="connsiteY2-470" fmla="*/ 0 h 7291226"/>
              <a:gd name="connsiteX3-471" fmla="*/ 3794560 w 9397013"/>
              <a:gd name="connsiteY3-472" fmla="*/ 32861 h 7291226"/>
              <a:gd name="connsiteX4-473" fmla="*/ 168369 w 9397013"/>
              <a:gd name="connsiteY4-474" fmla="*/ 4779933 h 7291226"/>
              <a:gd name="connsiteX5-475" fmla="*/ 488220 w 9397013"/>
              <a:gd name="connsiteY5-476" fmla="*/ 5484315 h 7291226"/>
              <a:gd name="connsiteX6-477" fmla="*/ 299082 w 9397013"/>
              <a:gd name="connsiteY6-478" fmla="*/ 5067791 h 7291226"/>
              <a:gd name="connsiteX7-479" fmla="*/ 4106456 w 9397013"/>
              <a:gd name="connsiteY7-480" fmla="*/ 55057 h 7291226"/>
              <a:gd name="connsiteX8-481" fmla="*/ 4585079 w 9397013"/>
              <a:gd name="connsiteY8-482" fmla="*/ 89119 h 7291226"/>
              <a:gd name="connsiteX9-483" fmla="*/ 488220 w 9397013"/>
              <a:gd name="connsiteY9-484" fmla="*/ 5484315 h 7291226"/>
              <a:gd name="connsiteX10-485" fmla="*/ 779421 w 9397013"/>
              <a:gd name="connsiteY10-486" fmla="*/ 6125606 h 7291226"/>
              <a:gd name="connsiteX11-487" fmla="*/ 618065 w 9397013"/>
              <a:gd name="connsiteY11-488" fmla="*/ 5770263 h 7291226"/>
              <a:gd name="connsiteX12-489" fmla="*/ 4897528 w 9397013"/>
              <a:gd name="connsiteY12-490" fmla="*/ 111354 h 7291226"/>
              <a:gd name="connsiteX13-491" fmla="*/ 5324893 w 9397013"/>
              <a:gd name="connsiteY13-492" fmla="*/ 141768 h 7291226"/>
              <a:gd name="connsiteX14-493" fmla="*/ 779421 w 9397013"/>
              <a:gd name="connsiteY14-494" fmla="*/ 6125606 h 7291226"/>
              <a:gd name="connsiteX15-495" fmla="*/ 1099910 w 9397013"/>
              <a:gd name="connsiteY15-496" fmla="*/ 6831395 h 7291226"/>
              <a:gd name="connsiteX16-497" fmla="*/ 919656 w 9397013"/>
              <a:gd name="connsiteY16-498" fmla="*/ 6434435 h 7291226"/>
              <a:gd name="connsiteX17-499" fmla="*/ 5668965 w 9397013"/>
              <a:gd name="connsiteY17-500" fmla="*/ 166254 h 7291226"/>
              <a:gd name="connsiteX18-501" fmla="*/ 6114044 w 9397013"/>
              <a:gd name="connsiteY18-502" fmla="*/ 197929 h 7291226"/>
              <a:gd name="connsiteX19-503" fmla="*/ 1099910 w 9397013"/>
              <a:gd name="connsiteY19-504" fmla="*/ 6831395 h 7291226"/>
              <a:gd name="connsiteX20-505" fmla="*/ 7106560 w 9397013"/>
              <a:gd name="connsiteY20-506" fmla="*/ 7291226 h 7291226"/>
              <a:gd name="connsiteX21-507" fmla="*/ 6670875 w 9397013"/>
              <a:gd name="connsiteY21-508" fmla="*/ 7291226 h 7291226"/>
              <a:gd name="connsiteX22-509" fmla="*/ 3849932 w 9397013"/>
              <a:gd name="connsiteY22-510" fmla="*/ 3596670 h 7291226"/>
              <a:gd name="connsiteX23-511" fmla="*/ 4086202 w 9397013"/>
              <a:gd name="connsiteY23-512" fmla="*/ 3287229 h 7291226"/>
              <a:gd name="connsiteX24-513" fmla="*/ 7106560 w 9397013"/>
              <a:gd name="connsiteY24-514" fmla="*/ 7291226 h 7291226"/>
              <a:gd name="connsiteX25-515" fmla="*/ 7934229 w 9397013"/>
              <a:gd name="connsiteY25-516" fmla="*/ 7291226 h 7291226"/>
              <a:gd name="connsiteX26-517" fmla="*/ 7444802 w 9397013"/>
              <a:gd name="connsiteY26-518" fmla="*/ 7291226 h 7291226"/>
              <a:gd name="connsiteX27-519" fmla="*/ 4245793 w 9397013"/>
              <a:gd name="connsiteY27-520" fmla="*/ 3078214 h 7291226"/>
              <a:gd name="connsiteX28-521" fmla="*/ 4490696 w 9397013"/>
              <a:gd name="connsiteY28-522" fmla="*/ 2757469 h 7291226"/>
              <a:gd name="connsiteX29-523" fmla="*/ 7934229 w 9397013"/>
              <a:gd name="connsiteY29-524" fmla="*/ 7291226 h 7291226"/>
              <a:gd name="connsiteX30-525" fmla="*/ 8567691 w 9397013"/>
              <a:gd name="connsiteY30-526" fmla="*/ 7124971 h 7291226"/>
              <a:gd name="connsiteX31-527" fmla="*/ 8159389 w 9397013"/>
              <a:gd name="connsiteY31-528" fmla="*/ 7134208 h 7291226"/>
              <a:gd name="connsiteX32-529" fmla="*/ 4650570 w 9397013"/>
              <a:gd name="connsiteY32-530" fmla="*/ 2548084 h 7291226"/>
              <a:gd name="connsiteX33-531" fmla="*/ 4869244 w 9397013"/>
              <a:gd name="connsiteY33-532" fmla="*/ 2261689 h 7291226"/>
              <a:gd name="connsiteX34-533" fmla="*/ 8567691 w 9397013"/>
              <a:gd name="connsiteY34-534" fmla="*/ 7124971 h 7291226"/>
              <a:gd name="connsiteX35-535" fmla="*/ 9397013 w 9397013"/>
              <a:gd name="connsiteY35-536" fmla="*/ 7134207 h 7291226"/>
              <a:gd name="connsiteX36-537" fmla="*/ 8921338 w 9397013"/>
              <a:gd name="connsiteY36-538" fmla="*/ 7115735 h 7291226"/>
              <a:gd name="connsiteX37-539" fmla="*/ 5045299 w 9397013"/>
              <a:gd name="connsiteY37-540" fmla="*/ 2031113 h 7291226"/>
              <a:gd name="connsiteX38-541" fmla="*/ 5273037 w 9397013"/>
              <a:gd name="connsiteY38-542" fmla="*/ 1732846 h 7291226"/>
              <a:gd name="connsiteX39-543" fmla="*/ 9397013 w 9397013"/>
              <a:gd name="connsiteY39-544" fmla="*/ 7134207 h 7291226"/>
              <a:gd name="connsiteX0-545" fmla="*/ 168369 w 9397013"/>
              <a:gd name="connsiteY0-546" fmla="*/ 4779933 h 7291226"/>
              <a:gd name="connsiteX1-547" fmla="*/ 0 w 9397013"/>
              <a:gd name="connsiteY1-548" fmla="*/ 4409146 h 7291226"/>
              <a:gd name="connsiteX2-549" fmla="*/ 3332806 w 9397013"/>
              <a:gd name="connsiteY2-550" fmla="*/ 0 h 7291226"/>
              <a:gd name="connsiteX3-551" fmla="*/ 3794560 w 9397013"/>
              <a:gd name="connsiteY3-552" fmla="*/ 32861 h 7291226"/>
              <a:gd name="connsiteX4-553" fmla="*/ 168369 w 9397013"/>
              <a:gd name="connsiteY4-554" fmla="*/ 4779933 h 7291226"/>
              <a:gd name="connsiteX5-555" fmla="*/ 488220 w 9397013"/>
              <a:gd name="connsiteY5-556" fmla="*/ 5484315 h 7291226"/>
              <a:gd name="connsiteX6-557" fmla="*/ 299082 w 9397013"/>
              <a:gd name="connsiteY6-558" fmla="*/ 5067791 h 7291226"/>
              <a:gd name="connsiteX7-559" fmla="*/ 4106456 w 9397013"/>
              <a:gd name="connsiteY7-560" fmla="*/ 55057 h 7291226"/>
              <a:gd name="connsiteX8-561" fmla="*/ 4585079 w 9397013"/>
              <a:gd name="connsiteY8-562" fmla="*/ 89119 h 7291226"/>
              <a:gd name="connsiteX9-563" fmla="*/ 488220 w 9397013"/>
              <a:gd name="connsiteY9-564" fmla="*/ 5484315 h 7291226"/>
              <a:gd name="connsiteX10-565" fmla="*/ 779421 w 9397013"/>
              <a:gd name="connsiteY10-566" fmla="*/ 6125606 h 7291226"/>
              <a:gd name="connsiteX11-567" fmla="*/ 618065 w 9397013"/>
              <a:gd name="connsiteY11-568" fmla="*/ 5770263 h 7291226"/>
              <a:gd name="connsiteX12-569" fmla="*/ 4897528 w 9397013"/>
              <a:gd name="connsiteY12-570" fmla="*/ 111354 h 7291226"/>
              <a:gd name="connsiteX13-571" fmla="*/ 5324893 w 9397013"/>
              <a:gd name="connsiteY13-572" fmla="*/ 141768 h 7291226"/>
              <a:gd name="connsiteX14-573" fmla="*/ 779421 w 9397013"/>
              <a:gd name="connsiteY14-574" fmla="*/ 6125606 h 7291226"/>
              <a:gd name="connsiteX15-575" fmla="*/ 1099910 w 9397013"/>
              <a:gd name="connsiteY15-576" fmla="*/ 6831395 h 7291226"/>
              <a:gd name="connsiteX16-577" fmla="*/ 919656 w 9397013"/>
              <a:gd name="connsiteY16-578" fmla="*/ 6434435 h 7291226"/>
              <a:gd name="connsiteX17-579" fmla="*/ 5668965 w 9397013"/>
              <a:gd name="connsiteY17-580" fmla="*/ 166254 h 7291226"/>
              <a:gd name="connsiteX18-581" fmla="*/ 6114044 w 9397013"/>
              <a:gd name="connsiteY18-582" fmla="*/ 197929 h 7291226"/>
              <a:gd name="connsiteX19-583" fmla="*/ 1099910 w 9397013"/>
              <a:gd name="connsiteY19-584" fmla="*/ 6831395 h 7291226"/>
              <a:gd name="connsiteX20-585" fmla="*/ 7106560 w 9397013"/>
              <a:gd name="connsiteY20-586" fmla="*/ 7291226 h 7291226"/>
              <a:gd name="connsiteX21-587" fmla="*/ 6670875 w 9397013"/>
              <a:gd name="connsiteY21-588" fmla="*/ 7291226 h 7291226"/>
              <a:gd name="connsiteX22-589" fmla="*/ 3849932 w 9397013"/>
              <a:gd name="connsiteY22-590" fmla="*/ 3596670 h 7291226"/>
              <a:gd name="connsiteX23-591" fmla="*/ 4086202 w 9397013"/>
              <a:gd name="connsiteY23-592" fmla="*/ 3287229 h 7291226"/>
              <a:gd name="connsiteX24-593" fmla="*/ 7106560 w 9397013"/>
              <a:gd name="connsiteY24-594" fmla="*/ 7291226 h 7291226"/>
              <a:gd name="connsiteX25-595" fmla="*/ 7777211 w 9397013"/>
              <a:gd name="connsiteY25-596" fmla="*/ 7124972 h 7291226"/>
              <a:gd name="connsiteX26-597" fmla="*/ 7444802 w 9397013"/>
              <a:gd name="connsiteY26-598" fmla="*/ 7291226 h 7291226"/>
              <a:gd name="connsiteX27-599" fmla="*/ 4245793 w 9397013"/>
              <a:gd name="connsiteY27-600" fmla="*/ 3078214 h 7291226"/>
              <a:gd name="connsiteX28-601" fmla="*/ 4490696 w 9397013"/>
              <a:gd name="connsiteY28-602" fmla="*/ 2757469 h 7291226"/>
              <a:gd name="connsiteX29-603" fmla="*/ 7777211 w 9397013"/>
              <a:gd name="connsiteY29-604" fmla="*/ 7124972 h 7291226"/>
              <a:gd name="connsiteX30-605" fmla="*/ 8567691 w 9397013"/>
              <a:gd name="connsiteY30-606" fmla="*/ 7124971 h 7291226"/>
              <a:gd name="connsiteX31-607" fmla="*/ 8159389 w 9397013"/>
              <a:gd name="connsiteY31-608" fmla="*/ 7134208 h 7291226"/>
              <a:gd name="connsiteX32-609" fmla="*/ 4650570 w 9397013"/>
              <a:gd name="connsiteY32-610" fmla="*/ 2548084 h 7291226"/>
              <a:gd name="connsiteX33-611" fmla="*/ 4869244 w 9397013"/>
              <a:gd name="connsiteY33-612" fmla="*/ 2261689 h 7291226"/>
              <a:gd name="connsiteX34-613" fmla="*/ 8567691 w 9397013"/>
              <a:gd name="connsiteY34-614" fmla="*/ 7124971 h 7291226"/>
              <a:gd name="connsiteX35-615" fmla="*/ 9397013 w 9397013"/>
              <a:gd name="connsiteY35-616" fmla="*/ 7134207 h 7291226"/>
              <a:gd name="connsiteX36-617" fmla="*/ 8921338 w 9397013"/>
              <a:gd name="connsiteY36-618" fmla="*/ 7115735 h 7291226"/>
              <a:gd name="connsiteX37-619" fmla="*/ 5045299 w 9397013"/>
              <a:gd name="connsiteY37-620" fmla="*/ 2031113 h 7291226"/>
              <a:gd name="connsiteX38-621" fmla="*/ 5273037 w 9397013"/>
              <a:gd name="connsiteY38-622" fmla="*/ 1732846 h 7291226"/>
              <a:gd name="connsiteX39-623" fmla="*/ 9397013 w 9397013"/>
              <a:gd name="connsiteY39-624" fmla="*/ 7134207 h 7291226"/>
              <a:gd name="connsiteX0-625" fmla="*/ 168369 w 9397013"/>
              <a:gd name="connsiteY0-626" fmla="*/ 4779933 h 7291226"/>
              <a:gd name="connsiteX1-627" fmla="*/ 0 w 9397013"/>
              <a:gd name="connsiteY1-628" fmla="*/ 4409146 h 7291226"/>
              <a:gd name="connsiteX2-629" fmla="*/ 3332806 w 9397013"/>
              <a:gd name="connsiteY2-630" fmla="*/ 0 h 7291226"/>
              <a:gd name="connsiteX3-631" fmla="*/ 3794560 w 9397013"/>
              <a:gd name="connsiteY3-632" fmla="*/ 32861 h 7291226"/>
              <a:gd name="connsiteX4-633" fmla="*/ 168369 w 9397013"/>
              <a:gd name="connsiteY4-634" fmla="*/ 4779933 h 7291226"/>
              <a:gd name="connsiteX5-635" fmla="*/ 488220 w 9397013"/>
              <a:gd name="connsiteY5-636" fmla="*/ 5484315 h 7291226"/>
              <a:gd name="connsiteX6-637" fmla="*/ 299082 w 9397013"/>
              <a:gd name="connsiteY6-638" fmla="*/ 5067791 h 7291226"/>
              <a:gd name="connsiteX7-639" fmla="*/ 4106456 w 9397013"/>
              <a:gd name="connsiteY7-640" fmla="*/ 55057 h 7291226"/>
              <a:gd name="connsiteX8-641" fmla="*/ 4585079 w 9397013"/>
              <a:gd name="connsiteY8-642" fmla="*/ 89119 h 7291226"/>
              <a:gd name="connsiteX9-643" fmla="*/ 488220 w 9397013"/>
              <a:gd name="connsiteY9-644" fmla="*/ 5484315 h 7291226"/>
              <a:gd name="connsiteX10-645" fmla="*/ 779421 w 9397013"/>
              <a:gd name="connsiteY10-646" fmla="*/ 6125606 h 7291226"/>
              <a:gd name="connsiteX11-647" fmla="*/ 618065 w 9397013"/>
              <a:gd name="connsiteY11-648" fmla="*/ 5770263 h 7291226"/>
              <a:gd name="connsiteX12-649" fmla="*/ 4897528 w 9397013"/>
              <a:gd name="connsiteY12-650" fmla="*/ 111354 h 7291226"/>
              <a:gd name="connsiteX13-651" fmla="*/ 5324893 w 9397013"/>
              <a:gd name="connsiteY13-652" fmla="*/ 141768 h 7291226"/>
              <a:gd name="connsiteX14-653" fmla="*/ 779421 w 9397013"/>
              <a:gd name="connsiteY14-654" fmla="*/ 6125606 h 7291226"/>
              <a:gd name="connsiteX15-655" fmla="*/ 1099910 w 9397013"/>
              <a:gd name="connsiteY15-656" fmla="*/ 6831395 h 7291226"/>
              <a:gd name="connsiteX16-657" fmla="*/ 919656 w 9397013"/>
              <a:gd name="connsiteY16-658" fmla="*/ 6434435 h 7291226"/>
              <a:gd name="connsiteX17-659" fmla="*/ 5668965 w 9397013"/>
              <a:gd name="connsiteY17-660" fmla="*/ 166254 h 7291226"/>
              <a:gd name="connsiteX18-661" fmla="*/ 6114044 w 9397013"/>
              <a:gd name="connsiteY18-662" fmla="*/ 197929 h 7291226"/>
              <a:gd name="connsiteX19-663" fmla="*/ 1099910 w 9397013"/>
              <a:gd name="connsiteY19-664" fmla="*/ 6831395 h 7291226"/>
              <a:gd name="connsiteX20-665" fmla="*/ 7106560 w 9397013"/>
              <a:gd name="connsiteY20-666" fmla="*/ 7291226 h 7291226"/>
              <a:gd name="connsiteX21-667" fmla="*/ 6670875 w 9397013"/>
              <a:gd name="connsiteY21-668" fmla="*/ 7291226 h 7291226"/>
              <a:gd name="connsiteX22-669" fmla="*/ 3849932 w 9397013"/>
              <a:gd name="connsiteY22-670" fmla="*/ 3596670 h 7291226"/>
              <a:gd name="connsiteX23-671" fmla="*/ 4086202 w 9397013"/>
              <a:gd name="connsiteY23-672" fmla="*/ 3287229 h 7291226"/>
              <a:gd name="connsiteX24-673" fmla="*/ 7106560 w 9397013"/>
              <a:gd name="connsiteY24-674" fmla="*/ 7291226 h 7291226"/>
              <a:gd name="connsiteX25-675" fmla="*/ 7777211 w 9397013"/>
              <a:gd name="connsiteY25-676" fmla="*/ 7124972 h 7291226"/>
              <a:gd name="connsiteX26-677" fmla="*/ 7324729 w 9397013"/>
              <a:gd name="connsiteY26-678" fmla="*/ 7124972 h 7291226"/>
              <a:gd name="connsiteX27-679" fmla="*/ 4245793 w 9397013"/>
              <a:gd name="connsiteY27-680" fmla="*/ 3078214 h 7291226"/>
              <a:gd name="connsiteX28-681" fmla="*/ 4490696 w 9397013"/>
              <a:gd name="connsiteY28-682" fmla="*/ 2757469 h 7291226"/>
              <a:gd name="connsiteX29-683" fmla="*/ 7777211 w 9397013"/>
              <a:gd name="connsiteY29-684" fmla="*/ 7124972 h 7291226"/>
              <a:gd name="connsiteX30-685" fmla="*/ 8567691 w 9397013"/>
              <a:gd name="connsiteY30-686" fmla="*/ 7124971 h 7291226"/>
              <a:gd name="connsiteX31-687" fmla="*/ 8159389 w 9397013"/>
              <a:gd name="connsiteY31-688" fmla="*/ 7134208 h 7291226"/>
              <a:gd name="connsiteX32-689" fmla="*/ 4650570 w 9397013"/>
              <a:gd name="connsiteY32-690" fmla="*/ 2548084 h 7291226"/>
              <a:gd name="connsiteX33-691" fmla="*/ 4869244 w 9397013"/>
              <a:gd name="connsiteY33-692" fmla="*/ 2261689 h 7291226"/>
              <a:gd name="connsiteX34-693" fmla="*/ 8567691 w 9397013"/>
              <a:gd name="connsiteY34-694" fmla="*/ 7124971 h 7291226"/>
              <a:gd name="connsiteX35-695" fmla="*/ 9397013 w 9397013"/>
              <a:gd name="connsiteY35-696" fmla="*/ 7134207 h 7291226"/>
              <a:gd name="connsiteX36-697" fmla="*/ 8921338 w 9397013"/>
              <a:gd name="connsiteY36-698" fmla="*/ 7115735 h 7291226"/>
              <a:gd name="connsiteX37-699" fmla="*/ 5045299 w 9397013"/>
              <a:gd name="connsiteY37-700" fmla="*/ 2031113 h 7291226"/>
              <a:gd name="connsiteX38-701" fmla="*/ 5273037 w 9397013"/>
              <a:gd name="connsiteY38-702" fmla="*/ 1732846 h 7291226"/>
              <a:gd name="connsiteX39-703" fmla="*/ 9397013 w 9397013"/>
              <a:gd name="connsiteY39-704" fmla="*/ 7134207 h 7291226"/>
              <a:gd name="connsiteX0-705" fmla="*/ 168369 w 9397013"/>
              <a:gd name="connsiteY0-706" fmla="*/ 4779933 h 7291226"/>
              <a:gd name="connsiteX1-707" fmla="*/ 0 w 9397013"/>
              <a:gd name="connsiteY1-708" fmla="*/ 4409146 h 7291226"/>
              <a:gd name="connsiteX2-709" fmla="*/ 3332806 w 9397013"/>
              <a:gd name="connsiteY2-710" fmla="*/ 0 h 7291226"/>
              <a:gd name="connsiteX3-711" fmla="*/ 3794560 w 9397013"/>
              <a:gd name="connsiteY3-712" fmla="*/ 32861 h 7291226"/>
              <a:gd name="connsiteX4-713" fmla="*/ 168369 w 9397013"/>
              <a:gd name="connsiteY4-714" fmla="*/ 4779933 h 7291226"/>
              <a:gd name="connsiteX5-715" fmla="*/ 488220 w 9397013"/>
              <a:gd name="connsiteY5-716" fmla="*/ 5484315 h 7291226"/>
              <a:gd name="connsiteX6-717" fmla="*/ 299082 w 9397013"/>
              <a:gd name="connsiteY6-718" fmla="*/ 5067791 h 7291226"/>
              <a:gd name="connsiteX7-719" fmla="*/ 4106456 w 9397013"/>
              <a:gd name="connsiteY7-720" fmla="*/ 55057 h 7291226"/>
              <a:gd name="connsiteX8-721" fmla="*/ 4585079 w 9397013"/>
              <a:gd name="connsiteY8-722" fmla="*/ 89119 h 7291226"/>
              <a:gd name="connsiteX9-723" fmla="*/ 488220 w 9397013"/>
              <a:gd name="connsiteY9-724" fmla="*/ 5484315 h 7291226"/>
              <a:gd name="connsiteX10-725" fmla="*/ 779421 w 9397013"/>
              <a:gd name="connsiteY10-726" fmla="*/ 6125606 h 7291226"/>
              <a:gd name="connsiteX11-727" fmla="*/ 618065 w 9397013"/>
              <a:gd name="connsiteY11-728" fmla="*/ 5770263 h 7291226"/>
              <a:gd name="connsiteX12-729" fmla="*/ 4897528 w 9397013"/>
              <a:gd name="connsiteY12-730" fmla="*/ 111354 h 7291226"/>
              <a:gd name="connsiteX13-731" fmla="*/ 5324893 w 9397013"/>
              <a:gd name="connsiteY13-732" fmla="*/ 141768 h 7291226"/>
              <a:gd name="connsiteX14-733" fmla="*/ 779421 w 9397013"/>
              <a:gd name="connsiteY14-734" fmla="*/ 6125606 h 7291226"/>
              <a:gd name="connsiteX15-735" fmla="*/ 1099910 w 9397013"/>
              <a:gd name="connsiteY15-736" fmla="*/ 6831395 h 7291226"/>
              <a:gd name="connsiteX16-737" fmla="*/ 919656 w 9397013"/>
              <a:gd name="connsiteY16-738" fmla="*/ 6434435 h 7291226"/>
              <a:gd name="connsiteX17-739" fmla="*/ 5668965 w 9397013"/>
              <a:gd name="connsiteY17-740" fmla="*/ 166254 h 7291226"/>
              <a:gd name="connsiteX18-741" fmla="*/ 6114044 w 9397013"/>
              <a:gd name="connsiteY18-742" fmla="*/ 197929 h 7291226"/>
              <a:gd name="connsiteX19-743" fmla="*/ 1099910 w 9397013"/>
              <a:gd name="connsiteY19-744" fmla="*/ 6831395 h 7291226"/>
              <a:gd name="connsiteX20-745" fmla="*/ 6968015 w 9397013"/>
              <a:gd name="connsiteY20-746" fmla="*/ 7143444 h 7291226"/>
              <a:gd name="connsiteX21-747" fmla="*/ 6670875 w 9397013"/>
              <a:gd name="connsiteY21-748" fmla="*/ 7291226 h 7291226"/>
              <a:gd name="connsiteX22-749" fmla="*/ 3849932 w 9397013"/>
              <a:gd name="connsiteY22-750" fmla="*/ 3596670 h 7291226"/>
              <a:gd name="connsiteX23-751" fmla="*/ 4086202 w 9397013"/>
              <a:gd name="connsiteY23-752" fmla="*/ 3287229 h 7291226"/>
              <a:gd name="connsiteX24-753" fmla="*/ 6968015 w 9397013"/>
              <a:gd name="connsiteY24-754" fmla="*/ 7143444 h 7291226"/>
              <a:gd name="connsiteX25-755" fmla="*/ 7777211 w 9397013"/>
              <a:gd name="connsiteY25-756" fmla="*/ 7124972 h 7291226"/>
              <a:gd name="connsiteX26-757" fmla="*/ 7324729 w 9397013"/>
              <a:gd name="connsiteY26-758" fmla="*/ 7124972 h 7291226"/>
              <a:gd name="connsiteX27-759" fmla="*/ 4245793 w 9397013"/>
              <a:gd name="connsiteY27-760" fmla="*/ 3078214 h 7291226"/>
              <a:gd name="connsiteX28-761" fmla="*/ 4490696 w 9397013"/>
              <a:gd name="connsiteY28-762" fmla="*/ 2757469 h 7291226"/>
              <a:gd name="connsiteX29-763" fmla="*/ 7777211 w 9397013"/>
              <a:gd name="connsiteY29-764" fmla="*/ 7124972 h 7291226"/>
              <a:gd name="connsiteX30-765" fmla="*/ 8567691 w 9397013"/>
              <a:gd name="connsiteY30-766" fmla="*/ 7124971 h 7291226"/>
              <a:gd name="connsiteX31-767" fmla="*/ 8159389 w 9397013"/>
              <a:gd name="connsiteY31-768" fmla="*/ 7134208 h 7291226"/>
              <a:gd name="connsiteX32-769" fmla="*/ 4650570 w 9397013"/>
              <a:gd name="connsiteY32-770" fmla="*/ 2548084 h 7291226"/>
              <a:gd name="connsiteX33-771" fmla="*/ 4869244 w 9397013"/>
              <a:gd name="connsiteY33-772" fmla="*/ 2261689 h 7291226"/>
              <a:gd name="connsiteX34-773" fmla="*/ 8567691 w 9397013"/>
              <a:gd name="connsiteY34-774" fmla="*/ 7124971 h 7291226"/>
              <a:gd name="connsiteX35-775" fmla="*/ 9397013 w 9397013"/>
              <a:gd name="connsiteY35-776" fmla="*/ 7134207 h 7291226"/>
              <a:gd name="connsiteX36-777" fmla="*/ 8921338 w 9397013"/>
              <a:gd name="connsiteY36-778" fmla="*/ 7115735 h 7291226"/>
              <a:gd name="connsiteX37-779" fmla="*/ 5045299 w 9397013"/>
              <a:gd name="connsiteY37-780" fmla="*/ 2031113 h 7291226"/>
              <a:gd name="connsiteX38-781" fmla="*/ 5273037 w 9397013"/>
              <a:gd name="connsiteY38-782" fmla="*/ 1732846 h 7291226"/>
              <a:gd name="connsiteX39-783" fmla="*/ 9397013 w 9397013"/>
              <a:gd name="connsiteY39-784" fmla="*/ 7134207 h 7291226"/>
              <a:gd name="connsiteX0-785" fmla="*/ 168369 w 9397013"/>
              <a:gd name="connsiteY0-786" fmla="*/ 4779933 h 7143444"/>
              <a:gd name="connsiteX1-787" fmla="*/ 0 w 9397013"/>
              <a:gd name="connsiteY1-788" fmla="*/ 4409146 h 7143444"/>
              <a:gd name="connsiteX2-789" fmla="*/ 3332806 w 9397013"/>
              <a:gd name="connsiteY2-790" fmla="*/ 0 h 7143444"/>
              <a:gd name="connsiteX3-791" fmla="*/ 3794560 w 9397013"/>
              <a:gd name="connsiteY3-792" fmla="*/ 32861 h 7143444"/>
              <a:gd name="connsiteX4-793" fmla="*/ 168369 w 9397013"/>
              <a:gd name="connsiteY4-794" fmla="*/ 4779933 h 7143444"/>
              <a:gd name="connsiteX5-795" fmla="*/ 488220 w 9397013"/>
              <a:gd name="connsiteY5-796" fmla="*/ 5484315 h 7143444"/>
              <a:gd name="connsiteX6-797" fmla="*/ 299082 w 9397013"/>
              <a:gd name="connsiteY6-798" fmla="*/ 5067791 h 7143444"/>
              <a:gd name="connsiteX7-799" fmla="*/ 4106456 w 9397013"/>
              <a:gd name="connsiteY7-800" fmla="*/ 55057 h 7143444"/>
              <a:gd name="connsiteX8-801" fmla="*/ 4585079 w 9397013"/>
              <a:gd name="connsiteY8-802" fmla="*/ 89119 h 7143444"/>
              <a:gd name="connsiteX9-803" fmla="*/ 488220 w 9397013"/>
              <a:gd name="connsiteY9-804" fmla="*/ 5484315 h 7143444"/>
              <a:gd name="connsiteX10-805" fmla="*/ 779421 w 9397013"/>
              <a:gd name="connsiteY10-806" fmla="*/ 6125606 h 7143444"/>
              <a:gd name="connsiteX11-807" fmla="*/ 618065 w 9397013"/>
              <a:gd name="connsiteY11-808" fmla="*/ 5770263 h 7143444"/>
              <a:gd name="connsiteX12-809" fmla="*/ 4897528 w 9397013"/>
              <a:gd name="connsiteY12-810" fmla="*/ 111354 h 7143444"/>
              <a:gd name="connsiteX13-811" fmla="*/ 5324893 w 9397013"/>
              <a:gd name="connsiteY13-812" fmla="*/ 141768 h 7143444"/>
              <a:gd name="connsiteX14-813" fmla="*/ 779421 w 9397013"/>
              <a:gd name="connsiteY14-814" fmla="*/ 6125606 h 7143444"/>
              <a:gd name="connsiteX15-815" fmla="*/ 1099910 w 9397013"/>
              <a:gd name="connsiteY15-816" fmla="*/ 6831395 h 7143444"/>
              <a:gd name="connsiteX16-817" fmla="*/ 919656 w 9397013"/>
              <a:gd name="connsiteY16-818" fmla="*/ 6434435 h 7143444"/>
              <a:gd name="connsiteX17-819" fmla="*/ 5668965 w 9397013"/>
              <a:gd name="connsiteY17-820" fmla="*/ 166254 h 7143444"/>
              <a:gd name="connsiteX18-821" fmla="*/ 6114044 w 9397013"/>
              <a:gd name="connsiteY18-822" fmla="*/ 197929 h 7143444"/>
              <a:gd name="connsiteX19-823" fmla="*/ 1099910 w 9397013"/>
              <a:gd name="connsiteY19-824" fmla="*/ 6831395 h 7143444"/>
              <a:gd name="connsiteX20-825" fmla="*/ 6968015 w 9397013"/>
              <a:gd name="connsiteY20-826" fmla="*/ 7143444 h 7143444"/>
              <a:gd name="connsiteX21-827" fmla="*/ 6550802 w 9397013"/>
              <a:gd name="connsiteY21-828" fmla="*/ 7143444 h 7143444"/>
              <a:gd name="connsiteX22-829" fmla="*/ 3849932 w 9397013"/>
              <a:gd name="connsiteY22-830" fmla="*/ 3596670 h 7143444"/>
              <a:gd name="connsiteX23-831" fmla="*/ 4086202 w 9397013"/>
              <a:gd name="connsiteY23-832" fmla="*/ 3287229 h 7143444"/>
              <a:gd name="connsiteX24-833" fmla="*/ 6968015 w 9397013"/>
              <a:gd name="connsiteY24-834" fmla="*/ 7143444 h 7143444"/>
              <a:gd name="connsiteX25-835" fmla="*/ 7777211 w 9397013"/>
              <a:gd name="connsiteY25-836" fmla="*/ 7124972 h 7143444"/>
              <a:gd name="connsiteX26-837" fmla="*/ 7324729 w 9397013"/>
              <a:gd name="connsiteY26-838" fmla="*/ 7124972 h 7143444"/>
              <a:gd name="connsiteX27-839" fmla="*/ 4245793 w 9397013"/>
              <a:gd name="connsiteY27-840" fmla="*/ 3078214 h 7143444"/>
              <a:gd name="connsiteX28-841" fmla="*/ 4490696 w 9397013"/>
              <a:gd name="connsiteY28-842" fmla="*/ 2757469 h 7143444"/>
              <a:gd name="connsiteX29-843" fmla="*/ 7777211 w 9397013"/>
              <a:gd name="connsiteY29-844" fmla="*/ 7124972 h 7143444"/>
              <a:gd name="connsiteX30-845" fmla="*/ 8567691 w 9397013"/>
              <a:gd name="connsiteY30-846" fmla="*/ 7124971 h 7143444"/>
              <a:gd name="connsiteX31-847" fmla="*/ 8159389 w 9397013"/>
              <a:gd name="connsiteY31-848" fmla="*/ 7134208 h 7143444"/>
              <a:gd name="connsiteX32-849" fmla="*/ 4650570 w 9397013"/>
              <a:gd name="connsiteY32-850" fmla="*/ 2548084 h 7143444"/>
              <a:gd name="connsiteX33-851" fmla="*/ 4869244 w 9397013"/>
              <a:gd name="connsiteY33-852" fmla="*/ 2261689 h 7143444"/>
              <a:gd name="connsiteX34-853" fmla="*/ 8567691 w 9397013"/>
              <a:gd name="connsiteY34-854" fmla="*/ 7124971 h 7143444"/>
              <a:gd name="connsiteX35-855" fmla="*/ 9397013 w 9397013"/>
              <a:gd name="connsiteY35-856" fmla="*/ 7134207 h 7143444"/>
              <a:gd name="connsiteX36-857" fmla="*/ 8921338 w 9397013"/>
              <a:gd name="connsiteY36-858" fmla="*/ 7115735 h 7143444"/>
              <a:gd name="connsiteX37-859" fmla="*/ 5045299 w 9397013"/>
              <a:gd name="connsiteY37-860" fmla="*/ 2031113 h 7143444"/>
              <a:gd name="connsiteX38-861" fmla="*/ 5273037 w 9397013"/>
              <a:gd name="connsiteY38-862" fmla="*/ 1732846 h 7143444"/>
              <a:gd name="connsiteX39-863" fmla="*/ 9397013 w 9397013"/>
              <a:gd name="connsiteY39-864" fmla="*/ 7134207 h 7143444"/>
              <a:gd name="connsiteX0-865" fmla="*/ 168369 w 9397013"/>
              <a:gd name="connsiteY0-866" fmla="*/ 4779933 h 7143444"/>
              <a:gd name="connsiteX1-867" fmla="*/ 0 w 9397013"/>
              <a:gd name="connsiteY1-868" fmla="*/ 4409146 h 7143444"/>
              <a:gd name="connsiteX2-869" fmla="*/ 3332806 w 9397013"/>
              <a:gd name="connsiteY2-870" fmla="*/ 0 h 7143444"/>
              <a:gd name="connsiteX3-871" fmla="*/ 3794560 w 9397013"/>
              <a:gd name="connsiteY3-872" fmla="*/ 32861 h 7143444"/>
              <a:gd name="connsiteX4-873" fmla="*/ 168369 w 9397013"/>
              <a:gd name="connsiteY4-874" fmla="*/ 4779933 h 7143444"/>
              <a:gd name="connsiteX5-875" fmla="*/ 488220 w 9397013"/>
              <a:gd name="connsiteY5-876" fmla="*/ 5484315 h 7143444"/>
              <a:gd name="connsiteX6-877" fmla="*/ 299082 w 9397013"/>
              <a:gd name="connsiteY6-878" fmla="*/ 5067791 h 7143444"/>
              <a:gd name="connsiteX7-879" fmla="*/ 4106456 w 9397013"/>
              <a:gd name="connsiteY7-880" fmla="*/ 55057 h 7143444"/>
              <a:gd name="connsiteX8-881" fmla="*/ 4585079 w 9397013"/>
              <a:gd name="connsiteY8-882" fmla="*/ 89119 h 7143444"/>
              <a:gd name="connsiteX9-883" fmla="*/ 488220 w 9397013"/>
              <a:gd name="connsiteY9-884" fmla="*/ 5484315 h 7143444"/>
              <a:gd name="connsiteX10-885" fmla="*/ 779421 w 9397013"/>
              <a:gd name="connsiteY10-886" fmla="*/ 6125606 h 7143444"/>
              <a:gd name="connsiteX11-887" fmla="*/ 618065 w 9397013"/>
              <a:gd name="connsiteY11-888" fmla="*/ 5770263 h 7143444"/>
              <a:gd name="connsiteX12-889" fmla="*/ 4897528 w 9397013"/>
              <a:gd name="connsiteY12-890" fmla="*/ 111354 h 7143444"/>
              <a:gd name="connsiteX13-891" fmla="*/ 5324893 w 9397013"/>
              <a:gd name="connsiteY13-892" fmla="*/ 141768 h 7143444"/>
              <a:gd name="connsiteX14-893" fmla="*/ 779421 w 9397013"/>
              <a:gd name="connsiteY14-894" fmla="*/ 6125606 h 7143444"/>
              <a:gd name="connsiteX15-895" fmla="*/ 1099910 w 9397013"/>
              <a:gd name="connsiteY15-896" fmla="*/ 6831395 h 7143444"/>
              <a:gd name="connsiteX16-897" fmla="*/ 919656 w 9397013"/>
              <a:gd name="connsiteY16-898" fmla="*/ 6434435 h 7143444"/>
              <a:gd name="connsiteX17-899" fmla="*/ 5668965 w 9397013"/>
              <a:gd name="connsiteY17-900" fmla="*/ 166254 h 7143444"/>
              <a:gd name="connsiteX18-901" fmla="*/ 6114044 w 9397013"/>
              <a:gd name="connsiteY18-902" fmla="*/ 197929 h 7143444"/>
              <a:gd name="connsiteX19-903" fmla="*/ 1099910 w 9397013"/>
              <a:gd name="connsiteY19-904" fmla="*/ 6831395 h 7143444"/>
              <a:gd name="connsiteX20-905" fmla="*/ 6958778 w 9397013"/>
              <a:gd name="connsiteY20-906" fmla="*/ 7124971 h 7143444"/>
              <a:gd name="connsiteX21-907" fmla="*/ 6550802 w 9397013"/>
              <a:gd name="connsiteY21-908" fmla="*/ 7143444 h 7143444"/>
              <a:gd name="connsiteX22-909" fmla="*/ 3849932 w 9397013"/>
              <a:gd name="connsiteY22-910" fmla="*/ 3596670 h 7143444"/>
              <a:gd name="connsiteX23-911" fmla="*/ 4086202 w 9397013"/>
              <a:gd name="connsiteY23-912" fmla="*/ 3287229 h 7143444"/>
              <a:gd name="connsiteX24-913" fmla="*/ 6958778 w 9397013"/>
              <a:gd name="connsiteY24-914" fmla="*/ 7124971 h 7143444"/>
              <a:gd name="connsiteX25-915" fmla="*/ 7777211 w 9397013"/>
              <a:gd name="connsiteY25-916" fmla="*/ 7124972 h 7143444"/>
              <a:gd name="connsiteX26-917" fmla="*/ 7324729 w 9397013"/>
              <a:gd name="connsiteY26-918" fmla="*/ 7124972 h 7143444"/>
              <a:gd name="connsiteX27-919" fmla="*/ 4245793 w 9397013"/>
              <a:gd name="connsiteY27-920" fmla="*/ 3078214 h 7143444"/>
              <a:gd name="connsiteX28-921" fmla="*/ 4490696 w 9397013"/>
              <a:gd name="connsiteY28-922" fmla="*/ 2757469 h 7143444"/>
              <a:gd name="connsiteX29-923" fmla="*/ 7777211 w 9397013"/>
              <a:gd name="connsiteY29-924" fmla="*/ 7124972 h 7143444"/>
              <a:gd name="connsiteX30-925" fmla="*/ 8567691 w 9397013"/>
              <a:gd name="connsiteY30-926" fmla="*/ 7124971 h 7143444"/>
              <a:gd name="connsiteX31-927" fmla="*/ 8159389 w 9397013"/>
              <a:gd name="connsiteY31-928" fmla="*/ 7134208 h 7143444"/>
              <a:gd name="connsiteX32-929" fmla="*/ 4650570 w 9397013"/>
              <a:gd name="connsiteY32-930" fmla="*/ 2548084 h 7143444"/>
              <a:gd name="connsiteX33-931" fmla="*/ 4869244 w 9397013"/>
              <a:gd name="connsiteY33-932" fmla="*/ 2261689 h 7143444"/>
              <a:gd name="connsiteX34-933" fmla="*/ 8567691 w 9397013"/>
              <a:gd name="connsiteY34-934" fmla="*/ 7124971 h 7143444"/>
              <a:gd name="connsiteX35-935" fmla="*/ 9397013 w 9397013"/>
              <a:gd name="connsiteY35-936" fmla="*/ 7134207 h 7143444"/>
              <a:gd name="connsiteX36-937" fmla="*/ 8921338 w 9397013"/>
              <a:gd name="connsiteY36-938" fmla="*/ 7115735 h 7143444"/>
              <a:gd name="connsiteX37-939" fmla="*/ 5045299 w 9397013"/>
              <a:gd name="connsiteY37-940" fmla="*/ 2031113 h 7143444"/>
              <a:gd name="connsiteX38-941" fmla="*/ 5273037 w 9397013"/>
              <a:gd name="connsiteY38-942" fmla="*/ 1732846 h 7143444"/>
              <a:gd name="connsiteX39-943" fmla="*/ 9397013 w 9397013"/>
              <a:gd name="connsiteY39-944" fmla="*/ 7134207 h 7143444"/>
              <a:gd name="connsiteX0-945" fmla="*/ 168369 w 9397013"/>
              <a:gd name="connsiteY0-946" fmla="*/ 4779933 h 7134208"/>
              <a:gd name="connsiteX1-947" fmla="*/ 0 w 9397013"/>
              <a:gd name="connsiteY1-948" fmla="*/ 4409146 h 7134208"/>
              <a:gd name="connsiteX2-949" fmla="*/ 3332806 w 9397013"/>
              <a:gd name="connsiteY2-950" fmla="*/ 0 h 7134208"/>
              <a:gd name="connsiteX3-951" fmla="*/ 3794560 w 9397013"/>
              <a:gd name="connsiteY3-952" fmla="*/ 32861 h 7134208"/>
              <a:gd name="connsiteX4-953" fmla="*/ 168369 w 9397013"/>
              <a:gd name="connsiteY4-954" fmla="*/ 4779933 h 7134208"/>
              <a:gd name="connsiteX5-955" fmla="*/ 488220 w 9397013"/>
              <a:gd name="connsiteY5-956" fmla="*/ 5484315 h 7134208"/>
              <a:gd name="connsiteX6-957" fmla="*/ 299082 w 9397013"/>
              <a:gd name="connsiteY6-958" fmla="*/ 5067791 h 7134208"/>
              <a:gd name="connsiteX7-959" fmla="*/ 4106456 w 9397013"/>
              <a:gd name="connsiteY7-960" fmla="*/ 55057 h 7134208"/>
              <a:gd name="connsiteX8-961" fmla="*/ 4585079 w 9397013"/>
              <a:gd name="connsiteY8-962" fmla="*/ 89119 h 7134208"/>
              <a:gd name="connsiteX9-963" fmla="*/ 488220 w 9397013"/>
              <a:gd name="connsiteY9-964" fmla="*/ 5484315 h 7134208"/>
              <a:gd name="connsiteX10-965" fmla="*/ 779421 w 9397013"/>
              <a:gd name="connsiteY10-966" fmla="*/ 6125606 h 7134208"/>
              <a:gd name="connsiteX11-967" fmla="*/ 618065 w 9397013"/>
              <a:gd name="connsiteY11-968" fmla="*/ 5770263 h 7134208"/>
              <a:gd name="connsiteX12-969" fmla="*/ 4897528 w 9397013"/>
              <a:gd name="connsiteY12-970" fmla="*/ 111354 h 7134208"/>
              <a:gd name="connsiteX13-971" fmla="*/ 5324893 w 9397013"/>
              <a:gd name="connsiteY13-972" fmla="*/ 141768 h 7134208"/>
              <a:gd name="connsiteX14-973" fmla="*/ 779421 w 9397013"/>
              <a:gd name="connsiteY14-974" fmla="*/ 6125606 h 7134208"/>
              <a:gd name="connsiteX15-975" fmla="*/ 1099910 w 9397013"/>
              <a:gd name="connsiteY15-976" fmla="*/ 6831395 h 7134208"/>
              <a:gd name="connsiteX16-977" fmla="*/ 919656 w 9397013"/>
              <a:gd name="connsiteY16-978" fmla="*/ 6434435 h 7134208"/>
              <a:gd name="connsiteX17-979" fmla="*/ 5668965 w 9397013"/>
              <a:gd name="connsiteY17-980" fmla="*/ 166254 h 7134208"/>
              <a:gd name="connsiteX18-981" fmla="*/ 6114044 w 9397013"/>
              <a:gd name="connsiteY18-982" fmla="*/ 197929 h 7134208"/>
              <a:gd name="connsiteX19-983" fmla="*/ 1099910 w 9397013"/>
              <a:gd name="connsiteY19-984" fmla="*/ 6831395 h 7134208"/>
              <a:gd name="connsiteX20-985" fmla="*/ 6958778 w 9397013"/>
              <a:gd name="connsiteY20-986" fmla="*/ 7124971 h 7134208"/>
              <a:gd name="connsiteX21-987" fmla="*/ 6541566 w 9397013"/>
              <a:gd name="connsiteY21-988" fmla="*/ 7115735 h 7134208"/>
              <a:gd name="connsiteX22-989" fmla="*/ 3849932 w 9397013"/>
              <a:gd name="connsiteY22-990" fmla="*/ 3596670 h 7134208"/>
              <a:gd name="connsiteX23-991" fmla="*/ 4086202 w 9397013"/>
              <a:gd name="connsiteY23-992" fmla="*/ 3287229 h 7134208"/>
              <a:gd name="connsiteX24-993" fmla="*/ 6958778 w 9397013"/>
              <a:gd name="connsiteY24-994" fmla="*/ 7124971 h 7134208"/>
              <a:gd name="connsiteX25-995" fmla="*/ 7777211 w 9397013"/>
              <a:gd name="connsiteY25-996" fmla="*/ 7124972 h 7134208"/>
              <a:gd name="connsiteX26-997" fmla="*/ 7324729 w 9397013"/>
              <a:gd name="connsiteY26-998" fmla="*/ 7124972 h 7134208"/>
              <a:gd name="connsiteX27-999" fmla="*/ 4245793 w 9397013"/>
              <a:gd name="connsiteY27-1000" fmla="*/ 3078214 h 7134208"/>
              <a:gd name="connsiteX28-1001" fmla="*/ 4490696 w 9397013"/>
              <a:gd name="connsiteY28-1002" fmla="*/ 2757469 h 7134208"/>
              <a:gd name="connsiteX29-1003" fmla="*/ 7777211 w 9397013"/>
              <a:gd name="connsiteY29-1004" fmla="*/ 7124972 h 7134208"/>
              <a:gd name="connsiteX30-1005" fmla="*/ 8567691 w 9397013"/>
              <a:gd name="connsiteY30-1006" fmla="*/ 7124971 h 7134208"/>
              <a:gd name="connsiteX31-1007" fmla="*/ 8159389 w 9397013"/>
              <a:gd name="connsiteY31-1008" fmla="*/ 7134208 h 7134208"/>
              <a:gd name="connsiteX32-1009" fmla="*/ 4650570 w 9397013"/>
              <a:gd name="connsiteY32-1010" fmla="*/ 2548084 h 7134208"/>
              <a:gd name="connsiteX33-1011" fmla="*/ 4869244 w 9397013"/>
              <a:gd name="connsiteY33-1012" fmla="*/ 2261689 h 7134208"/>
              <a:gd name="connsiteX34-1013" fmla="*/ 8567691 w 9397013"/>
              <a:gd name="connsiteY34-1014" fmla="*/ 7124971 h 7134208"/>
              <a:gd name="connsiteX35-1015" fmla="*/ 9397013 w 9397013"/>
              <a:gd name="connsiteY35-1016" fmla="*/ 7134207 h 7134208"/>
              <a:gd name="connsiteX36-1017" fmla="*/ 8921338 w 9397013"/>
              <a:gd name="connsiteY36-1018" fmla="*/ 7115735 h 7134208"/>
              <a:gd name="connsiteX37-1019" fmla="*/ 5045299 w 9397013"/>
              <a:gd name="connsiteY37-1020" fmla="*/ 2031113 h 7134208"/>
              <a:gd name="connsiteX38-1021" fmla="*/ 5273037 w 9397013"/>
              <a:gd name="connsiteY38-1022" fmla="*/ 1732846 h 7134208"/>
              <a:gd name="connsiteX39-1023" fmla="*/ 9397013 w 9397013"/>
              <a:gd name="connsiteY39-1024" fmla="*/ 7134207 h 7134208"/>
              <a:gd name="connsiteX0-1025" fmla="*/ 168369 w 9397013"/>
              <a:gd name="connsiteY0-1026" fmla="*/ 4779933 h 7134208"/>
              <a:gd name="connsiteX1-1027" fmla="*/ 0 w 9397013"/>
              <a:gd name="connsiteY1-1028" fmla="*/ 4409146 h 7134208"/>
              <a:gd name="connsiteX2-1029" fmla="*/ 3332806 w 9397013"/>
              <a:gd name="connsiteY2-1030" fmla="*/ 0 h 7134208"/>
              <a:gd name="connsiteX3-1031" fmla="*/ 3794560 w 9397013"/>
              <a:gd name="connsiteY3-1032" fmla="*/ 32861 h 7134208"/>
              <a:gd name="connsiteX4-1033" fmla="*/ 168369 w 9397013"/>
              <a:gd name="connsiteY4-1034" fmla="*/ 4779933 h 7134208"/>
              <a:gd name="connsiteX5-1035" fmla="*/ 488220 w 9397013"/>
              <a:gd name="connsiteY5-1036" fmla="*/ 5484315 h 7134208"/>
              <a:gd name="connsiteX6-1037" fmla="*/ 299082 w 9397013"/>
              <a:gd name="connsiteY6-1038" fmla="*/ 5067791 h 7134208"/>
              <a:gd name="connsiteX7-1039" fmla="*/ 4106456 w 9397013"/>
              <a:gd name="connsiteY7-1040" fmla="*/ 55057 h 7134208"/>
              <a:gd name="connsiteX8-1041" fmla="*/ 4585079 w 9397013"/>
              <a:gd name="connsiteY8-1042" fmla="*/ 89119 h 7134208"/>
              <a:gd name="connsiteX9-1043" fmla="*/ 488220 w 9397013"/>
              <a:gd name="connsiteY9-1044" fmla="*/ 5484315 h 7134208"/>
              <a:gd name="connsiteX10-1045" fmla="*/ 779421 w 9397013"/>
              <a:gd name="connsiteY10-1046" fmla="*/ 6125606 h 7134208"/>
              <a:gd name="connsiteX11-1047" fmla="*/ 618065 w 9397013"/>
              <a:gd name="connsiteY11-1048" fmla="*/ 5770263 h 7134208"/>
              <a:gd name="connsiteX12-1049" fmla="*/ 4897528 w 9397013"/>
              <a:gd name="connsiteY12-1050" fmla="*/ 111354 h 7134208"/>
              <a:gd name="connsiteX13-1051" fmla="*/ 5324893 w 9397013"/>
              <a:gd name="connsiteY13-1052" fmla="*/ 141768 h 7134208"/>
              <a:gd name="connsiteX14-1053" fmla="*/ 779421 w 9397013"/>
              <a:gd name="connsiteY14-1054" fmla="*/ 6125606 h 7134208"/>
              <a:gd name="connsiteX15-1055" fmla="*/ 1099910 w 9397013"/>
              <a:gd name="connsiteY15-1056" fmla="*/ 6831395 h 7134208"/>
              <a:gd name="connsiteX16-1057" fmla="*/ 919656 w 9397013"/>
              <a:gd name="connsiteY16-1058" fmla="*/ 6434435 h 7134208"/>
              <a:gd name="connsiteX17-1059" fmla="*/ 5668965 w 9397013"/>
              <a:gd name="connsiteY17-1060" fmla="*/ 166254 h 7134208"/>
              <a:gd name="connsiteX18-1061" fmla="*/ 6114044 w 9397013"/>
              <a:gd name="connsiteY18-1062" fmla="*/ 197929 h 7134208"/>
              <a:gd name="connsiteX19-1063" fmla="*/ 1099910 w 9397013"/>
              <a:gd name="connsiteY19-1064" fmla="*/ 6831395 h 7134208"/>
              <a:gd name="connsiteX20-1065" fmla="*/ 6958778 w 9397013"/>
              <a:gd name="connsiteY20-1066" fmla="*/ 7124971 h 7134208"/>
              <a:gd name="connsiteX21-1067" fmla="*/ 6560038 w 9397013"/>
              <a:gd name="connsiteY21-1068" fmla="*/ 7134207 h 7134208"/>
              <a:gd name="connsiteX22-1069" fmla="*/ 3849932 w 9397013"/>
              <a:gd name="connsiteY22-1070" fmla="*/ 3596670 h 7134208"/>
              <a:gd name="connsiteX23-1071" fmla="*/ 4086202 w 9397013"/>
              <a:gd name="connsiteY23-1072" fmla="*/ 3287229 h 7134208"/>
              <a:gd name="connsiteX24-1073" fmla="*/ 6958778 w 9397013"/>
              <a:gd name="connsiteY24-1074" fmla="*/ 7124971 h 7134208"/>
              <a:gd name="connsiteX25-1075" fmla="*/ 7777211 w 9397013"/>
              <a:gd name="connsiteY25-1076" fmla="*/ 7124972 h 7134208"/>
              <a:gd name="connsiteX26-1077" fmla="*/ 7324729 w 9397013"/>
              <a:gd name="connsiteY26-1078" fmla="*/ 7124972 h 7134208"/>
              <a:gd name="connsiteX27-1079" fmla="*/ 4245793 w 9397013"/>
              <a:gd name="connsiteY27-1080" fmla="*/ 3078214 h 7134208"/>
              <a:gd name="connsiteX28-1081" fmla="*/ 4490696 w 9397013"/>
              <a:gd name="connsiteY28-1082" fmla="*/ 2757469 h 7134208"/>
              <a:gd name="connsiteX29-1083" fmla="*/ 7777211 w 9397013"/>
              <a:gd name="connsiteY29-1084" fmla="*/ 7124972 h 7134208"/>
              <a:gd name="connsiteX30-1085" fmla="*/ 8567691 w 9397013"/>
              <a:gd name="connsiteY30-1086" fmla="*/ 7124971 h 7134208"/>
              <a:gd name="connsiteX31-1087" fmla="*/ 8159389 w 9397013"/>
              <a:gd name="connsiteY31-1088" fmla="*/ 7134208 h 7134208"/>
              <a:gd name="connsiteX32-1089" fmla="*/ 4650570 w 9397013"/>
              <a:gd name="connsiteY32-1090" fmla="*/ 2548084 h 7134208"/>
              <a:gd name="connsiteX33-1091" fmla="*/ 4869244 w 9397013"/>
              <a:gd name="connsiteY33-1092" fmla="*/ 2261689 h 7134208"/>
              <a:gd name="connsiteX34-1093" fmla="*/ 8567691 w 9397013"/>
              <a:gd name="connsiteY34-1094" fmla="*/ 7124971 h 7134208"/>
              <a:gd name="connsiteX35-1095" fmla="*/ 9397013 w 9397013"/>
              <a:gd name="connsiteY35-1096" fmla="*/ 7134207 h 7134208"/>
              <a:gd name="connsiteX36-1097" fmla="*/ 8921338 w 9397013"/>
              <a:gd name="connsiteY36-1098" fmla="*/ 7115735 h 7134208"/>
              <a:gd name="connsiteX37-1099" fmla="*/ 5045299 w 9397013"/>
              <a:gd name="connsiteY37-1100" fmla="*/ 2031113 h 7134208"/>
              <a:gd name="connsiteX38-1101" fmla="*/ 5273037 w 9397013"/>
              <a:gd name="connsiteY38-1102" fmla="*/ 1732846 h 7134208"/>
              <a:gd name="connsiteX39-1103" fmla="*/ 9397013 w 9397013"/>
              <a:gd name="connsiteY39-1104" fmla="*/ 7134207 h 7134208"/>
              <a:gd name="connsiteX0-1105" fmla="*/ 168369 w 9397013"/>
              <a:gd name="connsiteY0-1106" fmla="*/ 4779933 h 7134208"/>
              <a:gd name="connsiteX1-1107" fmla="*/ 0 w 9397013"/>
              <a:gd name="connsiteY1-1108" fmla="*/ 4409146 h 7134208"/>
              <a:gd name="connsiteX2-1109" fmla="*/ 3332806 w 9397013"/>
              <a:gd name="connsiteY2-1110" fmla="*/ 0 h 7134208"/>
              <a:gd name="connsiteX3-1111" fmla="*/ 3794560 w 9397013"/>
              <a:gd name="connsiteY3-1112" fmla="*/ 32861 h 7134208"/>
              <a:gd name="connsiteX4-1113" fmla="*/ 168369 w 9397013"/>
              <a:gd name="connsiteY4-1114" fmla="*/ 4779933 h 7134208"/>
              <a:gd name="connsiteX5-1115" fmla="*/ 488220 w 9397013"/>
              <a:gd name="connsiteY5-1116" fmla="*/ 5484315 h 7134208"/>
              <a:gd name="connsiteX6-1117" fmla="*/ 299082 w 9397013"/>
              <a:gd name="connsiteY6-1118" fmla="*/ 5067791 h 7134208"/>
              <a:gd name="connsiteX7-1119" fmla="*/ 4106456 w 9397013"/>
              <a:gd name="connsiteY7-1120" fmla="*/ 55057 h 7134208"/>
              <a:gd name="connsiteX8-1121" fmla="*/ 4585079 w 9397013"/>
              <a:gd name="connsiteY8-1122" fmla="*/ 89119 h 7134208"/>
              <a:gd name="connsiteX9-1123" fmla="*/ 488220 w 9397013"/>
              <a:gd name="connsiteY9-1124" fmla="*/ 5484315 h 7134208"/>
              <a:gd name="connsiteX10-1125" fmla="*/ 779421 w 9397013"/>
              <a:gd name="connsiteY10-1126" fmla="*/ 6125606 h 7134208"/>
              <a:gd name="connsiteX11-1127" fmla="*/ 618065 w 9397013"/>
              <a:gd name="connsiteY11-1128" fmla="*/ 5770263 h 7134208"/>
              <a:gd name="connsiteX12-1129" fmla="*/ 4897528 w 9397013"/>
              <a:gd name="connsiteY12-1130" fmla="*/ 111354 h 7134208"/>
              <a:gd name="connsiteX13-1131" fmla="*/ 5324893 w 9397013"/>
              <a:gd name="connsiteY13-1132" fmla="*/ 141768 h 7134208"/>
              <a:gd name="connsiteX14-1133" fmla="*/ 779421 w 9397013"/>
              <a:gd name="connsiteY14-1134" fmla="*/ 6125606 h 7134208"/>
              <a:gd name="connsiteX15-1135" fmla="*/ 1099910 w 9397013"/>
              <a:gd name="connsiteY15-1136" fmla="*/ 6831395 h 7134208"/>
              <a:gd name="connsiteX16-1137" fmla="*/ 919656 w 9397013"/>
              <a:gd name="connsiteY16-1138" fmla="*/ 6434435 h 7134208"/>
              <a:gd name="connsiteX17-1139" fmla="*/ 5668965 w 9397013"/>
              <a:gd name="connsiteY17-1140" fmla="*/ 166254 h 7134208"/>
              <a:gd name="connsiteX18-1141" fmla="*/ 6077099 w 9397013"/>
              <a:gd name="connsiteY18-1142" fmla="*/ 225638 h 7134208"/>
              <a:gd name="connsiteX19-1143" fmla="*/ 1099910 w 9397013"/>
              <a:gd name="connsiteY19-1144" fmla="*/ 6831395 h 7134208"/>
              <a:gd name="connsiteX20-1145" fmla="*/ 6958778 w 9397013"/>
              <a:gd name="connsiteY20-1146" fmla="*/ 7124971 h 7134208"/>
              <a:gd name="connsiteX21-1147" fmla="*/ 6560038 w 9397013"/>
              <a:gd name="connsiteY21-1148" fmla="*/ 7134207 h 7134208"/>
              <a:gd name="connsiteX22-1149" fmla="*/ 3849932 w 9397013"/>
              <a:gd name="connsiteY22-1150" fmla="*/ 3596670 h 7134208"/>
              <a:gd name="connsiteX23-1151" fmla="*/ 4086202 w 9397013"/>
              <a:gd name="connsiteY23-1152" fmla="*/ 3287229 h 7134208"/>
              <a:gd name="connsiteX24-1153" fmla="*/ 6958778 w 9397013"/>
              <a:gd name="connsiteY24-1154" fmla="*/ 7124971 h 7134208"/>
              <a:gd name="connsiteX25-1155" fmla="*/ 7777211 w 9397013"/>
              <a:gd name="connsiteY25-1156" fmla="*/ 7124972 h 7134208"/>
              <a:gd name="connsiteX26-1157" fmla="*/ 7324729 w 9397013"/>
              <a:gd name="connsiteY26-1158" fmla="*/ 7124972 h 7134208"/>
              <a:gd name="connsiteX27-1159" fmla="*/ 4245793 w 9397013"/>
              <a:gd name="connsiteY27-1160" fmla="*/ 3078214 h 7134208"/>
              <a:gd name="connsiteX28-1161" fmla="*/ 4490696 w 9397013"/>
              <a:gd name="connsiteY28-1162" fmla="*/ 2757469 h 7134208"/>
              <a:gd name="connsiteX29-1163" fmla="*/ 7777211 w 9397013"/>
              <a:gd name="connsiteY29-1164" fmla="*/ 7124972 h 7134208"/>
              <a:gd name="connsiteX30-1165" fmla="*/ 8567691 w 9397013"/>
              <a:gd name="connsiteY30-1166" fmla="*/ 7124971 h 7134208"/>
              <a:gd name="connsiteX31-1167" fmla="*/ 8159389 w 9397013"/>
              <a:gd name="connsiteY31-1168" fmla="*/ 7134208 h 7134208"/>
              <a:gd name="connsiteX32-1169" fmla="*/ 4650570 w 9397013"/>
              <a:gd name="connsiteY32-1170" fmla="*/ 2548084 h 7134208"/>
              <a:gd name="connsiteX33-1171" fmla="*/ 4869244 w 9397013"/>
              <a:gd name="connsiteY33-1172" fmla="*/ 2261689 h 7134208"/>
              <a:gd name="connsiteX34-1173" fmla="*/ 8567691 w 9397013"/>
              <a:gd name="connsiteY34-1174" fmla="*/ 7124971 h 7134208"/>
              <a:gd name="connsiteX35-1175" fmla="*/ 9397013 w 9397013"/>
              <a:gd name="connsiteY35-1176" fmla="*/ 7134207 h 7134208"/>
              <a:gd name="connsiteX36-1177" fmla="*/ 8921338 w 9397013"/>
              <a:gd name="connsiteY36-1178" fmla="*/ 7115735 h 7134208"/>
              <a:gd name="connsiteX37-1179" fmla="*/ 5045299 w 9397013"/>
              <a:gd name="connsiteY37-1180" fmla="*/ 2031113 h 7134208"/>
              <a:gd name="connsiteX38-1181" fmla="*/ 5273037 w 9397013"/>
              <a:gd name="connsiteY38-1182" fmla="*/ 1732846 h 7134208"/>
              <a:gd name="connsiteX39-1183" fmla="*/ 9397013 w 9397013"/>
              <a:gd name="connsiteY39-1184" fmla="*/ 7134207 h 7134208"/>
              <a:gd name="connsiteX0-1185" fmla="*/ 168369 w 9397013"/>
              <a:gd name="connsiteY0-1186" fmla="*/ 4779933 h 7134208"/>
              <a:gd name="connsiteX1-1187" fmla="*/ 0 w 9397013"/>
              <a:gd name="connsiteY1-1188" fmla="*/ 4409146 h 7134208"/>
              <a:gd name="connsiteX2-1189" fmla="*/ 3332806 w 9397013"/>
              <a:gd name="connsiteY2-1190" fmla="*/ 0 h 7134208"/>
              <a:gd name="connsiteX3-1191" fmla="*/ 3794560 w 9397013"/>
              <a:gd name="connsiteY3-1192" fmla="*/ 32861 h 7134208"/>
              <a:gd name="connsiteX4-1193" fmla="*/ 168369 w 9397013"/>
              <a:gd name="connsiteY4-1194" fmla="*/ 4779933 h 7134208"/>
              <a:gd name="connsiteX5-1195" fmla="*/ 488220 w 9397013"/>
              <a:gd name="connsiteY5-1196" fmla="*/ 5484315 h 7134208"/>
              <a:gd name="connsiteX6-1197" fmla="*/ 299082 w 9397013"/>
              <a:gd name="connsiteY6-1198" fmla="*/ 5067791 h 7134208"/>
              <a:gd name="connsiteX7-1199" fmla="*/ 4106456 w 9397013"/>
              <a:gd name="connsiteY7-1200" fmla="*/ 55057 h 7134208"/>
              <a:gd name="connsiteX8-1201" fmla="*/ 4585079 w 9397013"/>
              <a:gd name="connsiteY8-1202" fmla="*/ 89119 h 7134208"/>
              <a:gd name="connsiteX9-1203" fmla="*/ 488220 w 9397013"/>
              <a:gd name="connsiteY9-1204" fmla="*/ 5484315 h 7134208"/>
              <a:gd name="connsiteX10-1205" fmla="*/ 779421 w 9397013"/>
              <a:gd name="connsiteY10-1206" fmla="*/ 6125606 h 7134208"/>
              <a:gd name="connsiteX11-1207" fmla="*/ 618065 w 9397013"/>
              <a:gd name="connsiteY11-1208" fmla="*/ 5770263 h 7134208"/>
              <a:gd name="connsiteX12-1209" fmla="*/ 4897528 w 9397013"/>
              <a:gd name="connsiteY12-1210" fmla="*/ 111354 h 7134208"/>
              <a:gd name="connsiteX13-1211" fmla="*/ 5324893 w 9397013"/>
              <a:gd name="connsiteY13-1212" fmla="*/ 141768 h 7134208"/>
              <a:gd name="connsiteX14-1213" fmla="*/ 779421 w 9397013"/>
              <a:gd name="connsiteY14-1214" fmla="*/ 6125606 h 7134208"/>
              <a:gd name="connsiteX15-1215" fmla="*/ 1099910 w 9397013"/>
              <a:gd name="connsiteY15-1216" fmla="*/ 6831395 h 7134208"/>
              <a:gd name="connsiteX16-1217" fmla="*/ 919656 w 9397013"/>
              <a:gd name="connsiteY16-1218" fmla="*/ 6434435 h 7134208"/>
              <a:gd name="connsiteX17-1219" fmla="*/ 5613547 w 9397013"/>
              <a:gd name="connsiteY17-1220" fmla="*/ 240145 h 7134208"/>
              <a:gd name="connsiteX18-1221" fmla="*/ 6077099 w 9397013"/>
              <a:gd name="connsiteY18-1222" fmla="*/ 225638 h 7134208"/>
              <a:gd name="connsiteX19-1223" fmla="*/ 1099910 w 9397013"/>
              <a:gd name="connsiteY19-1224" fmla="*/ 6831395 h 7134208"/>
              <a:gd name="connsiteX20-1225" fmla="*/ 6958778 w 9397013"/>
              <a:gd name="connsiteY20-1226" fmla="*/ 7124971 h 7134208"/>
              <a:gd name="connsiteX21-1227" fmla="*/ 6560038 w 9397013"/>
              <a:gd name="connsiteY21-1228" fmla="*/ 7134207 h 7134208"/>
              <a:gd name="connsiteX22-1229" fmla="*/ 3849932 w 9397013"/>
              <a:gd name="connsiteY22-1230" fmla="*/ 3596670 h 7134208"/>
              <a:gd name="connsiteX23-1231" fmla="*/ 4086202 w 9397013"/>
              <a:gd name="connsiteY23-1232" fmla="*/ 3287229 h 7134208"/>
              <a:gd name="connsiteX24-1233" fmla="*/ 6958778 w 9397013"/>
              <a:gd name="connsiteY24-1234" fmla="*/ 7124971 h 7134208"/>
              <a:gd name="connsiteX25-1235" fmla="*/ 7777211 w 9397013"/>
              <a:gd name="connsiteY25-1236" fmla="*/ 7124972 h 7134208"/>
              <a:gd name="connsiteX26-1237" fmla="*/ 7324729 w 9397013"/>
              <a:gd name="connsiteY26-1238" fmla="*/ 7124972 h 7134208"/>
              <a:gd name="connsiteX27-1239" fmla="*/ 4245793 w 9397013"/>
              <a:gd name="connsiteY27-1240" fmla="*/ 3078214 h 7134208"/>
              <a:gd name="connsiteX28-1241" fmla="*/ 4490696 w 9397013"/>
              <a:gd name="connsiteY28-1242" fmla="*/ 2757469 h 7134208"/>
              <a:gd name="connsiteX29-1243" fmla="*/ 7777211 w 9397013"/>
              <a:gd name="connsiteY29-1244" fmla="*/ 7124972 h 7134208"/>
              <a:gd name="connsiteX30-1245" fmla="*/ 8567691 w 9397013"/>
              <a:gd name="connsiteY30-1246" fmla="*/ 7124971 h 7134208"/>
              <a:gd name="connsiteX31-1247" fmla="*/ 8159389 w 9397013"/>
              <a:gd name="connsiteY31-1248" fmla="*/ 7134208 h 7134208"/>
              <a:gd name="connsiteX32-1249" fmla="*/ 4650570 w 9397013"/>
              <a:gd name="connsiteY32-1250" fmla="*/ 2548084 h 7134208"/>
              <a:gd name="connsiteX33-1251" fmla="*/ 4869244 w 9397013"/>
              <a:gd name="connsiteY33-1252" fmla="*/ 2261689 h 7134208"/>
              <a:gd name="connsiteX34-1253" fmla="*/ 8567691 w 9397013"/>
              <a:gd name="connsiteY34-1254" fmla="*/ 7124971 h 7134208"/>
              <a:gd name="connsiteX35-1255" fmla="*/ 9397013 w 9397013"/>
              <a:gd name="connsiteY35-1256" fmla="*/ 7134207 h 7134208"/>
              <a:gd name="connsiteX36-1257" fmla="*/ 8921338 w 9397013"/>
              <a:gd name="connsiteY36-1258" fmla="*/ 7115735 h 7134208"/>
              <a:gd name="connsiteX37-1259" fmla="*/ 5045299 w 9397013"/>
              <a:gd name="connsiteY37-1260" fmla="*/ 2031113 h 7134208"/>
              <a:gd name="connsiteX38-1261" fmla="*/ 5273037 w 9397013"/>
              <a:gd name="connsiteY38-1262" fmla="*/ 1732846 h 7134208"/>
              <a:gd name="connsiteX39-1263" fmla="*/ 9397013 w 9397013"/>
              <a:gd name="connsiteY39-1264" fmla="*/ 7134207 h 7134208"/>
              <a:gd name="connsiteX0-1265" fmla="*/ 168369 w 9397013"/>
              <a:gd name="connsiteY0-1266" fmla="*/ 4779933 h 7134208"/>
              <a:gd name="connsiteX1-1267" fmla="*/ 0 w 9397013"/>
              <a:gd name="connsiteY1-1268" fmla="*/ 4409146 h 7134208"/>
              <a:gd name="connsiteX2-1269" fmla="*/ 3332806 w 9397013"/>
              <a:gd name="connsiteY2-1270" fmla="*/ 0 h 7134208"/>
              <a:gd name="connsiteX3-1271" fmla="*/ 3794560 w 9397013"/>
              <a:gd name="connsiteY3-1272" fmla="*/ 32861 h 7134208"/>
              <a:gd name="connsiteX4-1273" fmla="*/ 168369 w 9397013"/>
              <a:gd name="connsiteY4-1274" fmla="*/ 4779933 h 7134208"/>
              <a:gd name="connsiteX5-1275" fmla="*/ 488220 w 9397013"/>
              <a:gd name="connsiteY5-1276" fmla="*/ 5484315 h 7134208"/>
              <a:gd name="connsiteX6-1277" fmla="*/ 299082 w 9397013"/>
              <a:gd name="connsiteY6-1278" fmla="*/ 5067791 h 7134208"/>
              <a:gd name="connsiteX7-1279" fmla="*/ 4106456 w 9397013"/>
              <a:gd name="connsiteY7-1280" fmla="*/ 55057 h 7134208"/>
              <a:gd name="connsiteX8-1281" fmla="*/ 4585079 w 9397013"/>
              <a:gd name="connsiteY8-1282" fmla="*/ 89119 h 7134208"/>
              <a:gd name="connsiteX9-1283" fmla="*/ 488220 w 9397013"/>
              <a:gd name="connsiteY9-1284" fmla="*/ 5484315 h 7134208"/>
              <a:gd name="connsiteX10-1285" fmla="*/ 779421 w 9397013"/>
              <a:gd name="connsiteY10-1286" fmla="*/ 6125606 h 7134208"/>
              <a:gd name="connsiteX11-1287" fmla="*/ 618065 w 9397013"/>
              <a:gd name="connsiteY11-1288" fmla="*/ 5770263 h 7134208"/>
              <a:gd name="connsiteX12-1289" fmla="*/ 4897528 w 9397013"/>
              <a:gd name="connsiteY12-1290" fmla="*/ 111354 h 7134208"/>
              <a:gd name="connsiteX13-1291" fmla="*/ 5324893 w 9397013"/>
              <a:gd name="connsiteY13-1292" fmla="*/ 141768 h 7134208"/>
              <a:gd name="connsiteX14-1293" fmla="*/ 779421 w 9397013"/>
              <a:gd name="connsiteY14-1294" fmla="*/ 6125606 h 7134208"/>
              <a:gd name="connsiteX15-1295" fmla="*/ 1099910 w 9397013"/>
              <a:gd name="connsiteY15-1296" fmla="*/ 6831395 h 7134208"/>
              <a:gd name="connsiteX16-1297" fmla="*/ 919656 w 9397013"/>
              <a:gd name="connsiteY16-1298" fmla="*/ 6434435 h 7134208"/>
              <a:gd name="connsiteX17-1299" fmla="*/ 5641256 w 9397013"/>
              <a:gd name="connsiteY17-1300" fmla="*/ 212436 h 7134208"/>
              <a:gd name="connsiteX18-1301" fmla="*/ 6077099 w 9397013"/>
              <a:gd name="connsiteY18-1302" fmla="*/ 225638 h 7134208"/>
              <a:gd name="connsiteX19-1303" fmla="*/ 1099910 w 9397013"/>
              <a:gd name="connsiteY19-1304" fmla="*/ 6831395 h 7134208"/>
              <a:gd name="connsiteX20-1305" fmla="*/ 6958778 w 9397013"/>
              <a:gd name="connsiteY20-1306" fmla="*/ 7124971 h 7134208"/>
              <a:gd name="connsiteX21-1307" fmla="*/ 6560038 w 9397013"/>
              <a:gd name="connsiteY21-1308" fmla="*/ 7134207 h 7134208"/>
              <a:gd name="connsiteX22-1309" fmla="*/ 3849932 w 9397013"/>
              <a:gd name="connsiteY22-1310" fmla="*/ 3596670 h 7134208"/>
              <a:gd name="connsiteX23-1311" fmla="*/ 4086202 w 9397013"/>
              <a:gd name="connsiteY23-1312" fmla="*/ 3287229 h 7134208"/>
              <a:gd name="connsiteX24-1313" fmla="*/ 6958778 w 9397013"/>
              <a:gd name="connsiteY24-1314" fmla="*/ 7124971 h 7134208"/>
              <a:gd name="connsiteX25-1315" fmla="*/ 7777211 w 9397013"/>
              <a:gd name="connsiteY25-1316" fmla="*/ 7124972 h 7134208"/>
              <a:gd name="connsiteX26-1317" fmla="*/ 7324729 w 9397013"/>
              <a:gd name="connsiteY26-1318" fmla="*/ 7124972 h 7134208"/>
              <a:gd name="connsiteX27-1319" fmla="*/ 4245793 w 9397013"/>
              <a:gd name="connsiteY27-1320" fmla="*/ 3078214 h 7134208"/>
              <a:gd name="connsiteX28-1321" fmla="*/ 4490696 w 9397013"/>
              <a:gd name="connsiteY28-1322" fmla="*/ 2757469 h 7134208"/>
              <a:gd name="connsiteX29-1323" fmla="*/ 7777211 w 9397013"/>
              <a:gd name="connsiteY29-1324" fmla="*/ 7124972 h 7134208"/>
              <a:gd name="connsiteX30-1325" fmla="*/ 8567691 w 9397013"/>
              <a:gd name="connsiteY30-1326" fmla="*/ 7124971 h 7134208"/>
              <a:gd name="connsiteX31-1327" fmla="*/ 8159389 w 9397013"/>
              <a:gd name="connsiteY31-1328" fmla="*/ 7134208 h 7134208"/>
              <a:gd name="connsiteX32-1329" fmla="*/ 4650570 w 9397013"/>
              <a:gd name="connsiteY32-1330" fmla="*/ 2548084 h 7134208"/>
              <a:gd name="connsiteX33-1331" fmla="*/ 4869244 w 9397013"/>
              <a:gd name="connsiteY33-1332" fmla="*/ 2261689 h 7134208"/>
              <a:gd name="connsiteX34-1333" fmla="*/ 8567691 w 9397013"/>
              <a:gd name="connsiteY34-1334" fmla="*/ 7124971 h 7134208"/>
              <a:gd name="connsiteX35-1335" fmla="*/ 9397013 w 9397013"/>
              <a:gd name="connsiteY35-1336" fmla="*/ 7134207 h 7134208"/>
              <a:gd name="connsiteX36-1337" fmla="*/ 8921338 w 9397013"/>
              <a:gd name="connsiteY36-1338" fmla="*/ 7115735 h 7134208"/>
              <a:gd name="connsiteX37-1339" fmla="*/ 5045299 w 9397013"/>
              <a:gd name="connsiteY37-1340" fmla="*/ 2031113 h 7134208"/>
              <a:gd name="connsiteX38-1341" fmla="*/ 5273037 w 9397013"/>
              <a:gd name="connsiteY38-1342" fmla="*/ 1732846 h 7134208"/>
              <a:gd name="connsiteX39-1343" fmla="*/ 9397013 w 9397013"/>
              <a:gd name="connsiteY39-1344" fmla="*/ 7134207 h 7134208"/>
              <a:gd name="connsiteX0-1345" fmla="*/ 168369 w 9397013"/>
              <a:gd name="connsiteY0-1346" fmla="*/ 4779933 h 7134208"/>
              <a:gd name="connsiteX1-1347" fmla="*/ 0 w 9397013"/>
              <a:gd name="connsiteY1-1348" fmla="*/ 4409146 h 7134208"/>
              <a:gd name="connsiteX2-1349" fmla="*/ 3332806 w 9397013"/>
              <a:gd name="connsiteY2-1350" fmla="*/ 0 h 7134208"/>
              <a:gd name="connsiteX3-1351" fmla="*/ 3794560 w 9397013"/>
              <a:gd name="connsiteY3-1352" fmla="*/ 32861 h 7134208"/>
              <a:gd name="connsiteX4-1353" fmla="*/ 168369 w 9397013"/>
              <a:gd name="connsiteY4-1354" fmla="*/ 4779933 h 7134208"/>
              <a:gd name="connsiteX5-1355" fmla="*/ 488220 w 9397013"/>
              <a:gd name="connsiteY5-1356" fmla="*/ 5484315 h 7134208"/>
              <a:gd name="connsiteX6-1357" fmla="*/ 299082 w 9397013"/>
              <a:gd name="connsiteY6-1358" fmla="*/ 5067791 h 7134208"/>
              <a:gd name="connsiteX7-1359" fmla="*/ 4106456 w 9397013"/>
              <a:gd name="connsiteY7-1360" fmla="*/ 55057 h 7134208"/>
              <a:gd name="connsiteX8-1361" fmla="*/ 4585079 w 9397013"/>
              <a:gd name="connsiteY8-1362" fmla="*/ 89119 h 7134208"/>
              <a:gd name="connsiteX9-1363" fmla="*/ 488220 w 9397013"/>
              <a:gd name="connsiteY9-1364" fmla="*/ 5484315 h 7134208"/>
              <a:gd name="connsiteX10-1365" fmla="*/ 779421 w 9397013"/>
              <a:gd name="connsiteY10-1366" fmla="*/ 6125606 h 7134208"/>
              <a:gd name="connsiteX11-1367" fmla="*/ 618065 w 9397013"/>
              <a:gd name="connsiteY11-1368" fmla="*/ 5770263 h 7134208"/>
              <a:gd name="connsiteX12-1369" fmla="*/ 4897528 w 9397013"/>
              <a:gd name="connsiteY12-1370" fmla="*/ 111354 h 7134208"/>
              <a:gd name="connsiteX13-1371" fmla="*/ 5260238 w 9397013"/>
              <a:gd name="connsiteY13-1372" fmla="*/ 234131 h 7134208"/>
              <a:gd name="connsiteX14-1373" fmla="*/ 779421 w 9397013"/>
              <a:gd name="connsiteY14-1374" fmla="*/ 6125606 h 7134208"/>
              <a:gd name="connsiteX15-1375" fmla="*/ 1099910 w 9397013"/>
              <a:gd name="connsiteY15-1376" fmla="*/ 6831395 h 7134208"/>
              <a:gd name="connsiteX16-1377" fmla="*/ 919656 w 9397013"/>
              <a:gd name="connsiteY16-1378" fmla="*/ 6434435 h 7134208"/>
              <a:gd name="connsiteX17-1379" fmla="*/ 5641256 w 9397013"/>
              <a:gd name="connsiteY17-1380" fmla="*/ 212436 h 7134208"/>
              <a:gd name="connsiteX18-1381" fmla="*/ 6077099 w 9397013"/>
              <a:gd name="connsiteY18-1382" fmla="*/ 225638 h 7134208"/>
              <a:gd name="connsiteX19-1383" fmla="*/ 1099910 w 9397013"/>
              <a:gd name="connsiteY19-1384" fmla="*/ 6831395 h 7134208"/>
              <a:gd name="connsiteX20-1385" fmla="*/ 6958778 w 9397013"/>
              <a:gd name="connsiteY20-1386" fmla="*/ 7124971 h 7134208"/>
              <a:gd name="connsiteX21-1387" fmla="*/ 6560038 w 9397013"/>
              <a:gd name="connsiteY21-1388" fmla="*/ 7134207 h 7134208"/>
              <a:gd name="connsiteX22-1389" fmla="*/ 3849932 w 9397013"/>
              <a:gd name="connsiteY22-1390" fmla="*/ 3596670 h 7134208"/>
              <a:gd name="connsiteX23-1391" fmla="*/ 4086202 w 9397013"/>
              <a:gd name="connsiteY23-1392" fmla="*/ 3287229 h 7134208"/>
              <a:gd name="connsiteX24-1393" fmla="*/ 6958778 w 9397013"/>
              <a:gd name="connsiteY24-1394" fmla="*/ 7124971 h 7134208"/>
              <a:gd name="connsiteX25-1395" fmla="*/ 7777211 w 9397013"/>
              <a:gd name="connsiteY25-1396" fmla="*/ 7124972 h 7134208"/>
              <a:gd name="connsiteX26-1397" fmla="*/ 7324729 w 9397013"/>
              <a:gd name="connsiteY26-1398" fmla="*/ 7124972 h 7134208"/>
              <a:gd name="connsiteX27-1399" fmla="*/ 4245793 w 9397013"/>
              <a:gd name="connsiteY27-1400" fmla="*/ 3078214 h 7134208"/>
              <a:gd name="connsiteX28-1401" fmla="*/ 4490696 w 9397013"/>
              <a:gd name="connsiteY28-1402" fmla="*/ 2757469 h 7134208"/>
              <a:gd name="connsiteX29-1403" fmla="*/ 7777211 w 9397013"/>
              <a:gd name="connsiteY29-1404" fmla="*/ 7124972 h 7134208"/>
              <a:gd name="connsiteX30-1405" fmla="*/ 8567691 w 9397013"/>
              <a:gd name="connsiteY30-1406" fmla="*/ 7124971 h 7134208"/>
              <a:gd name="connsiteX31-1407" fmla="*/ 8159389 w 9397013"/>
              <a:gd name="connsiteY31-1408" fmla="*/ 7134208 h 7134208"/>
              <a:gd name="connsiteX32-1409" fmla="*/ 4650570 w 9397013"/>
              <a:gd name="connsiteY32-1410" fmla="*/ 2548084 h 7134208"/>
              <a:gd name="connsiteX33-1411" fmla="*/ 4869244 w 9397013"/>
              <a:gd name="connsiteY33-1412" fmla="*/ 2261689 h 7134208"/>
              <a:gd name="connsiteX34-1413" fmla="*/ 8567691 w 9397013"/>
              <a:gd name="connsiteY34-1414" fmla="*/ 7124971 h 7134208"/>
              <a:gd name="connsiteX35-1415" fmla="*/ 9397013 w 9397013"/>
              <a:gd name="connsiteY35-1416" fmla="*/ 7134207 h 7134208"/>
              <a:gd name="connsiteX36-1417" fmla="*/ 8921338 w 9397013"/>
              <a:gd name="connsiteY36-1418" fmla="*/ 7115735 h 7134208"/>
              <a:gd name="connsiteX37-1419" fmla="*/ 5045299 w 9397013"/>
              <a:gd name="connsiteY37-1420" fmla="*/ 2031113 h 7134208"/>
              <a:gd name="connsiteX38-1421" fmla="*/ 5273037 w 9397013"/>
              <a:gd name="connsiteY38-1422" fmla="*/ 1732846 h 7134208"/>
              <a:gd name="connsiteX39-1423" fmla="*/ 9397013 w 9397013"/>
              <a:gd name="connsiteY39-1424" fmla="*/ 7134207 h 7134208"/>
              <a:gd name="connsiteX0-1425" fmla="*/ 168369 w 9397013"/>
              <a:gd name="connsiteY0-1426" fmla="*/ 4779933 h 7134208"/>
              <a:gd name="connsiteX1-1427" fmla="*/ 0 w 9397013"/>
              <a:gd name="connsiteY1-1428" fmla="*/ 4409146 h 7134208"/>
              <a:gd name="connsiteX2-1429" fmla="*/ 3332806 w 9397013"/>
              <a:gd name="connsiteY2-1430" fmla="*/ 0 h 7134208"/>
              <a:gd name="connsiteX3-1431" fmla="*/ 3794560 w 9397013"/>
              <a:gd name="connsiteY3-1432" fmla="*/ 32861 h 7134208"/>
              <a:gd name="connsiteX4-1433" fmla="*/ 168369 w 9397013"/>
              <a:gd name="connsiteY4-1434" fmla="*/ 4779933 h 7134208"/>
              <a:gd name="connsiteX5-1435" fmla="*/ 488220 w 9397013"/>
              <a:gd name="connsiteY5-1436" fmla="*/ 5484315 h 7134208"/>
              <a:gd name="connsiteX6-1437" fmla="*/ 299082 w 9397013"/>
              <a:gd name="connsiteY6-1438" fmla="*/ 5067791 h 7134208"/>
              <a:gd name="connsiteX7-1439" fmla="*/ 4106456 w 9397013"/>
              <a:gd name="connsiteY7-1440" fmla="*/ 55057 h 7134208"/>
              <a:gd name="connsiteX8-1441" fmla="*/ 4585079 w 9397013"/>
              <a:gd name="connsiteY8-1442" fmla="*/ 89119 h 7134208"/>
              <a:gd name="connsiteX9-1443" fmla="*/ 488220 w 9397013"/>
              <a:gd name="connsiteY9-1444" fmla="*/ 5484315 h 7134208"/>
              <a:gd name="connsiteX10-1445" fmla="*/ 779421 w 9397013"/>
              <a:gd name="connsiteY10-1446" fmla="*/ 6125606 h 7134208"/>
              <a:gd name="connsiteX11-1447" fmla="*/ 618065 w 9397013"/>
              <a:gd name="connsiteY11-1448" fmla="*/ 5770263 h 7134208"/>
              <a:gd name="connsiteX12-1449" fmla="*/ 4805164 w 9397013"/>
              <a:gd name="connsiteY12-1450" fmla="*/ 212954 h 7134208"/>
              <a:gd name="connsiteX13-1451" fmla="*/ 5260238 w 9397013"/>
              <a:gd name="connsiteY13-1452" fmla="*/ 234131 h 7134208"/>
              <a:gd name="connsiteX14-1453" fmla="*/ 779421 w 9397013"/>
              <a:gd name="connsiteY14-1454" fmla="*/ 6125606 h 7134208"/>
              <a:gd name="connsiteX15-1455" fmla="*/ 1099910 w 9397013"/>
              <a:gd name="connsiteY15-1456" fmla="*/ 6831395 h 7134208"/>
              <a:gd name="connsiteX16-1457" fmla="*/ 919656 w 9397013"/>
              <a:gd name="connsiteY16-1458" fmla="*/ 6434435 h 7134208"/>
              <a:gd name="connsiteX17-1459" fmla="*/ 5641256 w 9397013"/>
              <a:gd name="connsiteY17-1460" fmla="*/ 212436 h 7134208"/>
              <a:gd name="connsiteX18-1461" fmla="*/ 6077099 w 9397013"/>
              <a:gd name="connsiteY18-1462" fmla="*/ 225638 h 7134208"/>
              <a:gd name="connsiteX19-1463" fmla="*/ 1099910 w 9397013"/>
              <a:gd name="connsiteY19-1464" fmla="*/ 6831395 h 7134208"/>
              <a:gd name="connsiteX20-1465" fmla="*/ 6958778 w 9397013"/>
              <a:gd name="connsiteY20-1466" fmla="*/ 7124971 h 7134208"/>
              <a:gd name="connsiteX21-1467" fmla="*/ 6560038 w 9397013"/>
              <a:gd name="connsiteY21-1468" fmla="*/ 7134207 h 7134208"/>
              <a:gd name="connsiteX22-1469" fmla="*/ 3849932 w 9397013"/>
              <a:gd name="connsiteY22-1470" fmla="*/ 3596670 h 7134208"/>
              <a:gd name="connsiteX23-1471" fmla="*/ 4086202 w 9397013"/>
              <a:gd name="connsiteY23-1472" fmla="*/ 3287229 h 7134208"/>
              <a:gd name="connsiteX24-1473" fmla="*/ 6958778 w 9397013"/>
              <a:gd name="connsiteY24-1474" fmla="*/ 7124971 h 7134208"/>
              <a:gd name="connsiteX25-1475" fmla="*/ 7777211 w 9397013"/>
              <a:gd name="connsiteY25-1476" fmla="*/ 7124972 h 7134208"/>
              <a:gd name="connsiteX26-1477" fmla="*/ 7324729 w 9397013"/>
              <a:gd name="connsiteY26-1478" fmla="*/ 7124972 h 7134208"/>
              <a:gd name="connsiteX27-1479" fmla="*/ 4245793 w 9397013"/>
              <a:gd name="connsiteY27-1480" fmla="*/ 3078214 h 7134208"/>
              <a:gd name="connsiteX28-1481" fmla="*/ 4490696 w 9397013"/>
              <a:gd name="connsiteY28-1482" fmla="*/ 2757469 h 7134208"/>
              <a:gd name="connsiteX29-1483" fmla="*/ 7777211 w 9397013"/>
              <a:gd name="connsiteY29-1484" fmla="*/ 7124972 h 7134208"/>
              <a:gd name="connsiteX30-1485" fmla="*/ 8567691 w 9397013"/>
              <a:gd name="connsiteY30-1486" fmla="*/ 7124971 h 7134208"/>
              <a:gd name="connsiteX31-1487" fmla="*/ 8159389 w 9397013"/>
              <a:gd name="connsiteY31-1488" fmla="*/ 7134208 h 7134208"/>
              <a:gd name="connsiteX32-1489" fmla="*/ 4650570 w 9397013"/>
              <a:gd name="connsiteY32-1490" fmla="*/ 2548084 h 7134208"/>
              <a:gd name="connsiteX33-1491" fmla="*/ 4869244 w 9397013"/>
              <a:gd name="connsiteY33-1492" fmla="*/ 2261689 h 7134208"/>
              <a:gd name="connsiteX34-1493" fmla="*/ 8567691 w 9397013"/>
              <a:gd name="connsiteY34-1494" fmla="*/ 7124971 h 7134208"/>
              <a:gd name="connsiteX35-1495" fmla="*/ 9397013 w 9397013"/>
              <a:gd name="connsiteY35-1496" fmla="*/ 7134207 h 7134208"/>
              <a:gd name="connsiteX36-1497" fmla="*/ 8921338 w 9397013"/>
              <a:gd name="connsiteY36-1498" fmla="*/ 7115735 h 7134208"/>
              <a:gd name="connsiteX37-1499" fmla="*/ 5045299 w 9397013"/>
              <a:gd name="connsiteY37-1500" fmla="*/ 2031113 h 7134208"/>
              <a:gd name="connsiteX38-1501" fmla="*/ 5273037 w 9397013"/>
              <a:gd name="connsiteY38-1502" fmla="*/ 1732846 h 7134208"/>
              <a:gd name="connsiteX39-1503" fmla="*/ 9397013 w 9397013"/>
              <a:gd name="connsiteY39-1504" fmla="*/ 7134207 h 7134208"/>
              <a:gd name="connsiteX0-1505" fmla="*/ 168369 w 9397013"/>
              <a:gd name="connsiteY0-1506" fmla="*/ 4779933 h 7134208"/>
              <a:gd name="connsiteX1-1507" fmla="*/ 0 w 9397013"/>
              <a:gd name="connsiteY1-1508" fmla="*/ 4409146 h 7134208"/>
              <a:gd name="connsiteX2-1509" fmla="*/ 3332806 w 9397013"/>
              <a:gd name="connsiteY2-1510" fmla="*/ 0 h 7134208"/>
              <a:gd name="connsiteX3-1511" fmla="*/ 3794560 w 9397013"/>
              <a:gd name="connsiteY3-1512" fmla="*/ 32861 h 7134208"/>
              <a:gd name="connsiteX4-1513" fmla="*/ 168369 w 9397013"/>
              <a:gd name="connsiteY4-1514" fmla="*/ 4779933 h 7134208"/>
              <a:gd name="connsiteX5-1515" fmla="*/ 488220 w 9397013"/>
              <a:gd name="connsiteY5-1516" fmla="*/ 5484315 h 7134208"/>
              <a:gd name="connsiteX6-1517" fmla="*/ 299082 w 9397013"/>
              <a:gd name="connsiteY6-1518" fmla="*/ 5067791 h 7134208"/>
              <a:gd name="connsiteX7-1519" fmla="*/ 4106456 w 9397013"/>
              <a:gd name="connsiteY7-1520" fmla="*/ 55057 h 7134208"/>
              <a:gd name="connsiteX8-1521" fmla="*/ 4465006 w 9397013"/>
              <a:gd name="connsiteY8-1522" fmla="*/ 209192 h 7134208"/>
              <a:gd name="connsiteX9-1523" fmla="*/ 488220 w 9397013"/>
              <a:gd name="connsiteY9-1524" fmla="*/ 5484315 h 7134208"/>
              <a:gd name="connsiteX10-1525" fmla="*/ 779421 w 9397013"/>
              <a:gd name="connsiteY10-1526" fmla="*/ 6125606 h 7134208"/>
              <a:gd name="connsiteX11-1527" fmla="*/ 618065 w 9397013"/>
              <a:gd name="connsiteY11-1528" fmla="*/ 5770263 h 7134208"/>
              <a:gd name="connsiteX12-1529" fmla="*/ 4805164 w 9397013"/>
              <a:gd name="connsiteY12-1530" fmla="*/ 212954 h 7134208"/>
              <a:gd name="connsiteX13-1531" fmla="*/ 5260238 w 9397013"/>
              <a:gd name="connsiteY13-1532" fmla="*/ 234131 h 7134208"/>
              <a:gd name="connsiteX14-1533" fmla="*/ 779421 w 9397013"/>
              <a:gd name="connsiteY14-1534" fmla="*/ 6125606 h 7134208"/>
              <a:gd name="connsiteX15-1535" fmla="*/ 1099910 w 9397013"/>
              <a:gd name="connsiteY15-1536" fmla="*/ 6831395 h 7134208"/>
              <a:gd name="connsiteX16-1537" fmla="*/ 919656 w 9397013"/>
              <a:gd name="connsiteY16-1538" fmla="*/ 6434435 h 7134208"/>
              <a:gd name="connsiteX17-1539" fmla="*/ 5641256 w 9397013"/>
              <a:gd name="connsiteY17-1540" fmla="*/ 212436 h 7134208"/>
              <a:gd name="connsiteX18-1541" fmla="*/ 6077099 w 9397013"/>
              <a:gd name="connsiteY18-1542" fmla="*/ 225638 h 7134208"/>
              <a:gd name="connsiteX19-1543" fmla="*/ 1099910 w 9397013"/>
              <a:gd name="connsiteY19-1544" fmla="*/ 6831395 h 7134208"/>
              <a:gd name="connsiteX20-1545" fmla="*/ 6958778 w 9397013"/>
              <a:gd name="connsiteY20-1546" fmla="*/ 7124971 h 7134208"/>
              <a:gd name="connsiteX21-1547" fmla="*/ 6560038 w 9397013"/>
              <a:gd name="connsiteY21-1548" fmla="*/ 7134207 h 7134208"/>
              <a:gd name="connsiteX22-1549" fmla="*/ 3849932 w 9397013"/>
              <a:gd name="connsiteY22-1550" fmla="*/ 3596670 h 7134208"/>
              <a:gd name="connsiteX23-1551" fmla="*/ 4086202 w 9397013"/>
              <a:gd name="connsiteY23-1552" fmla="*/ 3287229 h 7134208"/>
              <a:gd name="connsiteX24-1553" fmla="*/ 6958778 w 9397013"/>
              <a:gd name="connsiteY24-1554" fmla="*/ 7124971 h 7134208"/>
              <a:gd name="connsiteX25-1555" fmla="*/ 7777211 w 9397013"/>
              <a:gd name="connsiteY25-1556" fmla="*/ 7124972 h 7134208"/>
              <a:gd name="connsiteX26-1557" fmla="*/ 7324729 w 9397013"/>
              <a:gd name="connsiteY26-1558" fmla="*/ 7124972 h 7134208"/>
              <a:gd name="connsiteX27-1559" fmla="*/ 4245793 w 9397013"/>
              <a:gd name="connsiteY27-1560" fmla="*/ 3078214 h 7134208"/>
              <a:gd name="connsiteX28-1561" fmla="*/ 4490696 w 9397013"/>
              <a:gd name="connsiteY28-1562" fmla="*/ 2757469 h 7134208"/>
              <a:gd name="connsiteX29-1563" fmla="*/ 7777211 w 9397013"/>
              <a:gd name="connsiteY29-1564" fmla="*/ 7124972 h 7134208"/>
              <a:gd name="connsiteX30-1565" fmla="*/ 8567691 w 9397013"/>
              <a:gd name="connsiteY30-1566" fmla="*/ 7124971 h 7134208"/>
              <a:gd name="connsiteX31-1567" fmla="*/ 8159389 w 9397013"/>
              <a:gd name="connsiteY31-1568" fmla="*/ 7134208 h 7134208"/>
              <a:gd name="connsiteX32-1569" fmla="*/ 4650570 w 9397013"/>
              <a:gd name="connsiteY32-1570" fmla="*/ 2548084 h 7134208"/>
              <a:gd name="connsiteX33-1571" fmla="*/ 4869244 w 9397013"/>
              <a:gd name="connsiteY33-1572" fmla="*/ 2261689 h 7134208"/>
              <a:gd name="connsiteX34-1573" fmla="*/ 8567691 w 9397013"/>
              <a:gd name="connsiteY34-1574" fmla="*/ 7124971 h 7134208"/>
              <a:gd name="connsiteX35-1575" fmla="*/ 9397013 w 9397013"/>
              <a:gd name="connsiteY35-1576" fmla="*/ 7134207 h 7134208"/>
              <a:gd name="connsiteX36-1577" fmla="*/ 8921338 w 9397013"/>
              <a:gd name="connsiteY36-1578" fmla="*/ 7115735 h 7134208"/>
              <a:gd name="connsiteX37-1579" fmla="*/ 5045299 w 9397013"/>
              <a:gd name="connsiteY37-1580" fmla="*/ 2031113 h 7134208"/>
              <a:gd name="connsiteX38-1581" fmla="*/ 5273037 w 9397013"/>
              <a:gd name="connsiteY38-1582" fmla="*/ 1732846 h 7134208"/>
              <a:gd name="connsiteX39-1583" fmla="*/ 9397013 w 9397013"/>
              <a:gd name="connsiteY39-1584" fmla="*/ 7134207 h 7134208"/>
              <a:gd name="connsiteX0-1585" fmla="*/ 168369 w 9397013"/>
              <a:gd name="connsiteY0-1586" fmla="*/ 4779933 h 7134208"/>
              <a:gd name="connsiteX1-1587" fmla="*/ 0 w 9397013"/>
              <a:gd name="connsiteY1-1588" fmla="*/ 4409146 h 7134208"/>
              <a:gd name="connsiteX2-1589" fmla="*/ 3332806 w 9397013"/>
              <a:gd name="connsiteY2-1590" fmla="*/ 0 h 7134208"/>
              <a:gd name="connsiteX3-1591" fmla="*/ 3794560 w 9397013"/>
              <a:gd name="connsiteY3-1592" fmla="*/ 32861 h 7134208"/>
              <a:gd name="connsiteX4-1593" fmla="*/ 168369 w 9397013"/>
              <a:gd name="connsiteY4-1594" fmla="*/ 4779933 h 7134208"/>
              <a:gd name="connsiteX5-1595" fmla="*/ 488220 w 9397013"/>
              <a:gd name="connsiteY5-1596" fmla="*/ 5484315 h 7134208"/>
              <a:gd name="connsiteX6-1597" fmla="*/ 299082 w 9397013"/>
              <a:gd name="connsiteY6-1598" fmla="*/ 5067791 h 7134208"/>
              <a:gd name="connsiteX7-1599" fmla="*/ 3977147 w 9397013"/>
              <a:gd name="connsiteY7-1600" fmla="*/ 212075 h 7134208"/>
              <a:gd name="connsiteX8-1601" fmla="*/ 4465006 w 9397013"/>
              <a:gd name="connsiteY8-1602" fmla="*/ 209192 h 7134208"/>
              <a:gd name="connsiteX9-1603" fmla="*/ 488220 w 9397013"/>
              <a:gd name="connsiteY9-1604" fmla="*/ 5484315 h 7134208"/>
              <a:gd name="connsiteX10-1605" fmla="*/ 779421 w 9397013"/>
              <a:gd name="connsiteY10-1606" fmla="*/ 6125606 h 7134208"/>
              <a:gd name="connsiteX11-1607" fmla="*/ 618065 w 9397013"/>
              <a:gd name="connsiteY11-1608" fmla="*/ 5770263 h 7134208"/>
              <a:gd name="connsiteX12-1609" fmla="*/ 4805164 w 9397013"/>
              <a:gd name="connsiteY12-1610" fmla="*/ 212954 h 7134208"/>
              <a:gd name="connsiteX13-1611" fmla="*/ 5260238 w 9397013"/>
              <a:gd name="connsiteY13-1612" fmla="*/ 234131 h 7134208"/>
              <a:gd name="connsiteX14-1613" fmla="*/ 779421 w 9397013"/>
              <a:gd name="connsiteY14-1614" fmla="*/ 6125606 h 7134208"/>
              <a:gd name="connsiteX15-1615" fmla="*/ 1099910 w 9397013"/>
              <a:gd name="connsiteY15-1616" fmla="*/ 6831395 h 7134208"/>
              <a:gd name="connsiteX16-1617" fmla="*/ 919656 w 9397013"/>
              <a:gd name="connsiteY16-1618" fmla="*/ 6434435 h 7134208"/>
              <a:gd name="connsiteX17-1619" fmla="*/ 5641256 w 9397013"/>
              <a:gd name="connsiteY17-1620" fmla="*/ 212436 h 7134208"/>
              <a:gd name="connsiteX18-1621" fmla="*/ 6077099 w 9397013"/>
              <a:gd name="connsiteY18-1622" fmla="*/ 225638 h 7134208"/>
              <a:gd name="connsiteX19-1623" fmla="*/ 1099910 w 9397013"/>
              <a:gd name="connsiteY19-1624" fmla="*/ 6831395 h 7134208"/>
              <a:gd name="connsiteX20-1625" fmla="*/ 6958778 w 9397013"/>
              <a:gd name="connsiteY20-1626" fmla="*/ 7124971 h 7134208"/>
              <a:gd name="connsiteX21-1627" fmla="*/ 6560038 w 9397013"/>
              <a:gd name="connsiteY21-1628" fmla="*/ 7134207 h 7134208"/>
              <a:gd name="connsiteX22-1629" fmla="*/ 3849932 w 9397013"/>
              <a:gd name="connsiteY22-1630" fmla="*/ 3596670 h 7134208"/>
              <a:gd name="connsiteX23-1631" fmla="*/ 4086202 w 9397013"/>
              <a:gd name="connsiteY23-1632" fmla="*/ 3287229 h 7134208"/>
              <a:gd name="connsiteX24-1633" fmla="*/ 6958778 w 9397013"/>
              <a:gd name="connsiteY24-1634" fmla="*/ 7124971 h 7134208"/>
              <a:gd name="connsiteX25-1635" fmla="*/ 7777211 w 9397013"/>
              <a:gd name="connsiteY25-1636" fmla="*/ 7124972 h 7134208"/>
              <a:gd name="connsiteX26-1637" fmla="*/ 7324729 w 9397013"/>
              <a:gd name="connsiteY26-1638" fmla="*/ 7124972 h 7134208"/>
              <a:gd name="connsiteX27-1639" fmla="*/ 4245793 w 9397013"/>
              <a:gd name="connsiteY27-1640" fmla="*/ 3078214 h 7134208"/>
              <a:gd name="connsiteX28-1641" fmla="*/ 4490696 w 9397013"/>
              <a:gd name="connsiteY28-1642" fmla="*/ 2757469 h 7134208"/>
              <a:gd name="connsiteX29-1643" fmla="*/ 7777211 w 9397013"/>
              <a:gd name="connsiteY29-1644" fmla="*/ 7124972 h 7134208"/>
              <a:gd name="connsiteX30-1645" fmla="*/ 8567691 w 9397013"/>
              <a:gd name="connsiteY30-1646" fmla="*/ 7124971 h 7134208"/>
              <a:gd name="connsiteX31-1647" fmla="*/ 8159389 w 9397013"/>
              <a:gd name="connsiteY31-1648" fmla="*/ 7134208 h 7134208"/>
              <a:gd name="connsiteX32-1649" fmla="*/ 4650570 w 9397013"/>
              <a:gd name="connsiteY32-1650" fmla="*/ 2548084 h 7134208"/>
              <a:gd name="connsiteX33-1651" fmla="*/ 4869244 w 9397013"/>
              <a:gd name="connsiteY33-1652" fmla="*/ 2261689 h 7134208"/>
              <a:gd name="connsiteX34-1653" fmla="*/ 8567691 w 9397013"/>
              <a:gd name="connsiteY34-1654" fmla="*/ 7124971 h 7134208"/>
              <a:gd name="connsiteX35-1655" fmla="*/ 9397013 w 9397013"/>
              <a:gd name="connsiteY35-1656" fmla="*/ 7134207 h 7134208"/>
              <a:gd name="connsiteX36-1657" fmla="*/ 8921338 w 9397013"/>
              <a:gd name="connsiteY36-1658" fmla="*/ 7115735 h 7134208"/>
              <a:gd name="connsiteX37-1659" fmla="*/ 5045299 w 9397013"/>
              <a:gd name="connsiteY37-1660" fmla="*/ 2031113 h 7134208"/>
              <a:gd name="connsiteX38-1661" fmla="*/ 5273037 w 9397013"/>
              <a:gd name="connsiteY38-1662" fmla="*/ 1732846 h 7134208"/>
              <a:gd name="connsiteX39-1663" fmla="*/ 9397013 w 9397013"/>
              <a:gd name="connsiteY39-1664" fmla="*/ 7134207 h 7134208"/>
              <a:gd name="connsiteX0-1665" fmla="*/ 168369 w 9397013"/>
              <a:gd name="connsiteY0-1666" fmla="*/ 4779933 h 7134208"/>
              <a:gd name="connsiteX1-1667" fmla="*/ 0 w 9397013"/>
              <a:gd name="connsiteY1-1668" fmla="*/ 4409146 h 7134208"/>
              <a:gd name="connsiteX2-1669" fmla="*/ 3332806 w 9397013"/>
              <a:gd name="connsiteY2-1670" fmla="*/ 0 h 7134208"/>
              <a:gd name="connsiteX3-1671" fmla="*/ 3628305 w 9397013"/>
              <a:gd name="connsiteY3-1672" fmla="*/ 208352 h 7134208"/>
              <a:gd name="connsiteX4-1673" fmla="*/ 168369 w 9397013"/>
              <a:gd name="connsiteY4-1674" fmla="*/ 4779933 h 7134208"/>
              <a:gd name="connsiteX5-1675" fmla="*/ 488220 w 9397013"/>
              <a:gd name="connsiteY5-1676" fmla="*/ 5484315 h 7134208"/>
              <a:gd name="connsiteX6-1677" fmla="*/ 299082 w 9397013"/>
              <a:gd name="connsiteY6-1678" fmla="*/ 5067791 h 7134208"/>
              <a:gd name="connsiteX7-1679" fmla="*/ 3977147 w 9397013"/>
              <a:gd name="connsiteY7-1680" fmla="*/ 212075 h 7134208"/>
              <a:gd name="connsiteX8-1681" fmla="*/ 4465006 w 9397013"/>
              <a:gd name="connsiteY8-1682" fmla="*/ 209192 h 7134208"/>
              <a:gd name="connsiteX9-1683" fmla="*/ 488220 w 9397013"/>
              <a:gd name="connsiteY9-1684" fmla="*/ 5484315 h 7134208"/>
              <a:gd name="connsiteX10-1685" fmla="*/ 779421 w 9397013"/>
              <a:gd name="connsiteY10-1686" fmla="*/ 6125606 h 7134208"/>
              <a:gd name="connsiteX11-1687" fmla="*/ 618065 w 9397013"/>
              <a:gd name="connsiteY11-1688" fmla="*/ 5770263 h 7134208"/>
              <a:gd name="connsiteX12-1689" fmla="*/ 4805164 w 9397013"/>
              <a:gd name="connsiteY12-1690" fmla="*/ 212954 h 7134208"/>
              <a:gd name="connsiteX13-1691" fmla="*/ 5260238 w 9397013"/>
              <a:gd name="connsiteY13-1692" fmla="*/ 234131 h 7134208"/>
              <a:gd name="connsiteX14-1693" fmla="*/ 779421 w 9397013"/>
              <a:gd name="connsiteY14-1694" fmla="*/ 6125606 h 7134208"/>
              <a:gd name="connsiteX15-1695" fmla="*/ 1099910 w 9397013"/>
              <a:gd name="connsiteY15-1696" fmla="*/ 6831395 h 7134208"/>
              <a:gd name="connsiteX16-1697" fmla="*/ 919656 w 9397013"/>
              <a:gd name="connsiteY16-1698" fmla="*/ 6434435 h 7134208"/>
              <a:gd name="connsiteX17-1699" fmla="*/ 5641256 w 9397013"/>
              <a:gd name="connsiteY17-1700" fmla="*/ 212436 h 7134208"/>
              <a:gd name="connsiteX18-1701" fmla="*/ 6077099 w 9397013"/>
              <a:gd name="connsiteY18-1702" fmla="*/ 225638 h 7134208"/>
              <a:gd name="connsiteX19-1703" fmla="*/ 1099910 w 9397013"/>
              <a:gd name="connsiteY19-1704" fmla="*/ 6831395 h 7134208"/>
              <a:gd name="connsiteX20-1705" fmla="*/ 6958778 w 9397013"/>
              <a:gd name="connsiteY20-1706" fmla="*/ 7124971 h 7134208"/>
              <a:gd name="connsiteX21-1707" fmla="*/ 6560038 w 9397013"/>
              <a:gd name="connsiteY21-1708" fmla="*/ 7134207 h 7134208"/>
              <a:gd name="connsiteX22-1709" fmla="*/ 3849932 w 9397013"/>
              <a:gd name="connsiteY22-1710" fmla="*/ 3596670 h 7134208"/>
              <a:gd name="connsiteX23-1711" fmla="*/ 4086202 w 9397013"/>
              <a:gd name="connsiteY23-1712" fmla="*/ 3287229 h 7134208"/>
              <a:gd name="connsiteX24-1713" fmla="*/ 6958778 w 9397013"/>
              <a:gd name="connsiteY24-1714" fmla="*/ 7124971 h 7134208"/>
              <a:gd name="connsiteX25-1715" fmla="*/ 7777211 w 9397013"/>
              <a:gd name="connsiteY25-1716" fmla="*/ 7124972 h 7134208"/>
              <a:gd name="connsiteX26-1717" fmla="*/ 7324729 w 9397013"/>
              <a:gd name="connsiteY26-1718" fmla="*/ 7124972 h 7134208"/>
              <a:gd name="connsiteX27-1719" fmla="*/ 4245793 w 9397013"/>
              <a:gd name="connsiteY27-1720" fmla="*/ 3078214 h 7134208"/>
              <a:gd name="connsiteX28-1721" fmla="*/ 4490696 w 9397013"/>
              <a:gd name="connsiteY28-1722" fmla="*/ 2757469 h 7134208"/>
              <a:gd name="connsiteX29-1723" fmla="*/ 7777211 w 9397013"/>
              <a:gd name="connsiteY29-1724" fmla="*/ 7124972 h 7134208"/>
              <a:gd name="connsiteX30-1725" fmla="*/ 8567691 w 9397013"/>
              <a:gd name="connsiteY30-1726" fmla="*/ 7124971 h 7134208"/>
              <a:gd name="connsiteX31-1727" fmla="*/ 8159389 w 9397013"/>
              <a:gd name="connsiteY31-1728" fmla="*/ 7134208 h 7134208"/>
              <a:gd name="connsiteX32-1729" fmla="*/ 4650570 w 9397013"/>
              <a:gd name="connsiteY32-1730" fmla="*/ 2548084 h 7134208"/>
              <a:gd name="connsiteX33-1731" fmla="*/ 4869244 w 9397013"/>
              <a:gd name="connsiteY33-1732" fmla="*/ 2261689 h 7134208"/>
              <a:gd name="connsiteX34-1733" fmla="*/ 8567691 w 9397013"/>
              <a:gd name="connsiteY34-1734" fmla="*/ 7124971 h 7134208"/>
              <a:gd name="connsiteX35-1735" fmla="*/ 9397013 w 9397013"/>
              <a:gd name="connsiteY35-1736" fmla="*/ 7134207 h 7134208"/>
              <a:gd name="connsiteX36-1737" fmla="*/ 8921338 w 9397013"/>
              <a:gd name="connsiteY36-1738" fmla="*/ 7115735 h 7134208"/>
              <a:gd name="connsiteX37-1739" fmla="*/ 5045299 w 9397013"/>
              <a:gd name="connsiteY37-1740" fmla="*/ 2031113 h 7134208"/>
              <a:gd name="connsiteX38-1741" fmla="*/ 5273037 w 9397013"/>
              <a:gd name="connsiteY38-1742" fmla="*/ 1732846 h 7134208"/>
              <a:gd name="connsiteX39-1743" fmla="*/ 9397013 w 9397013"/>
              <a:gd name="connsiteY39-1744" fmla="*/ 7134207 h 7134208"/>
              <a:gd name="connsiteX0-1745" fmla="*/ 168369 w 9397013"/>
              <a:gd name="connsiteY0-1746" fmla="*/ 4571581 h 6925856"/>
              <a:gd name="connsiteX1-1747" fmla="*/ 0 w 9397013"/>
              <a:gd name="connsiteY1-1748" fmla="*/ 4200794 h 6925856"/>
              <a:gd name="connsiteX2-1749" fmla="*/ 3175788 w 9397013"/>
              <a:gd name="connsiteY2-1750" fmla="*/ 4084 h 6925856"/>
              <a:gd name="connsiteX3-1751" fmla="*/ 3628305 w 9397013"/>
              <a:gd name="connsiteY3-1752" fmla="*/ 0 h 6925856"/>
              <a:gd name="connsiteX4-1753" fmla="*/ 168369 w 9397013"/>
              <a:gd name="connsiteY4-1754" fmla="*/ 4571581 h 6925856"/>
              <a:gd name="connsiteX5-1755" fmla="*/ 488220 w 9397013"/>
              <a:gd name="connsiteY5-1756" fmla="*/ 5275963 h 6925856"/>
              <a:gd name="connsiteX6-1757" fmla="*/ 299082 w 9397013"/>
              <a:gd name="connsiteY6-1758" fmla="*/ 4859439 h 6925856"/>
              <a:gd name="connsiteX7-1759" fmla="*/ 3977147 w 9397013"/>
              <a:gd name="connsiteY7-1760" fmla="*/ 3723 h 6925856"/>
              <a:gd name="connsiteX8-1761" fmla="*/ 4465006 w 9397013"/>
              <a:gd name="connsiteY8-1762" fmla="*/ 840 h 6925856"/>
              <a:gd name="connsiteX9-1763" fmla="*/ 488220 w 9397013"/>
              <a:gd name="connsiteY9-1764" fmla="*/ 5275963 h 6925856"/>
              <a:gd name="connsiteX10-1765" fmla="*/ 779421 w 9397013"/>
              <a:gd name="connsiteY10-1766" fmla="*/ 5917254 h 6925856"/>
              <a:gd name="connsiteX11-1767" fmla="*/ 618065 w 9397013"/>
              <a:gd name="connsiteY11-1768" fmla="*/ 5561911 h 6925856"/>
              <a:gd name="connsiteX12-1769" fmla="*/ 4805164 w 9397013"/>
              <a:gd name="connsiteY12-1770" fmla="*/ 4602 h 6925856"/>
              <a:gd name="connsiteX13-1771" fmla="*/ 5260238 w 9397013"/>
              <a:gd name="connsiteY13-1772" fmla="*/ 25779 h 6925856"/>
              <a:gd name="connsiteX14-1773" fmla="*/ 779421 w 9397013"/>
              <a:gd name="connsiteY14-1774" fmla="*/ 5917254 h 6925856"/>
              <a:gd name="connsiteX15-1775" fmla="*/ 1099910 w 9397013"/>
              <a:gd name="connsiteY15-1776" fmla="*/ 6623043 h 6925856"/>
              <a:gd name="connsiteX16-1777" fmla="*/ 919656 w 9397013"/>
              <a:gd name="connsiteY16-1778" fmla="*/ 6226083 h 6925856"/>
              <a:gd name="connsiteX17-1779" fmla="*/ 5641256 w 9397013"/>
              <a:gd name="connsiteY17-1780" fmla="*/ 4084 h 6925856"/>
              <a:gd name="connsiteX18-1781" fmla="*/ 6077099 w 9397013"/>
              <a:gd name="connsiteY18-1782" fmla="*/ 17286 h 6925856"/>
              <a:gd name="connsiteX19-1783" fmla="*/ 1099910 w 9397013"/>
              <a:gd name="connsiteY19-1784" fmla="*/ 6623043 h 6925856"/>
              <a:gd name="connsiteX20-1785" fmla="*/ 6958778 w 9397013"/>
              <a:gd name="connsiteY20-1786" fmla="*/ 6916619 h 6925856"/>
              <a:gd name="connsiteX21-1787" fmla="*/ 6560038 w 9397013"/>
              <a:gd name="connsiteY21-1788" fmla="*/ 6925855 h 6925856"/>
              <a:gd name="connsiteX22-1789" fmla="*/ 3849932 w 9397013"/>
              <a:gd name="connsiteY22-1790" fmla="*/ 3388318 h 6925856"/>
              <a:gd name="connsiteX23-1791" fmla="*/ 4086202 w 9397013"/>
              <a:gd name="connsiteY23-1792" fmla="*/ 3078877 h 6925856"/>
              <a:gd name="connsiteX24-1793" fmla="*/ 6958778 w 9397013"/>
              <a:gd name="connsiteY24-1794" fmla="*/ 6916619 h 6925856"/>
              <a:gd name="connsiteX25-1795" fmla="*/ 7777211 w 9397013"/>
              <a:gd name="connsiteY25-1796" fmla="*/ 6916620 h 6925856"/>
              <a:gd name="connsiteX26-1797" fmla="*/ 7324729 w 9397013"/>
              <a:gd name="connsiteY26-1798" fmla="*/ 6916620 h 6925856"/>
              <a:gd name="connsiteX27-1799" fmla="*/ 4245793 w 9397013"/>
              <a:gd name="connsiteY27-1800" fmla="*/ 2869862 h 6925856"/>
              <a:gd name="connsiteX28-1801" fmla="*/ 4490696 w 9397013"/>
              <a:gd name="connsiteY28-1802" fmla="*/ 2549117 h 6925856"/>
              <a:gd name="connsiteX29-1803" fmla="*/ 7777211 w 9397013"/>
              <a:gd name="connsiteY29-1804" fmla="*/ 6916620 h 6925856"/>
              <a:gd name="connsiteX30-1805" fmla="*/ 8567691 w 9397013"/>
              <a:gd name="connsiteY30-1806" fmla="*/ 6916619 h 6925856"/>
              <a:gd name="connsiteX31-1807" fmla="*/ 8159389 w 9397013"/>
              <a:gd name="connsiteY31-1808" fmla="*/ 6925856 h 6925856"/>
              <a:gd name="connsiteX32-1809" fmla="*/ 4650570 w 9397013"/>
              <a:gd name="connsiteY32-1810" fmla="*/ 2339732 h 6925856"/>
              <a:gd name="connsiteX33-1811" fmla="*/ 4869244 w 9397013"/>
              <a:gd name="connsiteY33-1812" fmla="*/ 2053337 h 6925856"/>
              <a:gd name="connsiteX34-1813" fmla="*/ 8567691 w 9397013"/>
              <a:gd name="connsiteY34-1814" fmla="*/ 6916619 h 6925856"/>
              <a:gd name="connsiteX35-1815" fmla="*/ 9397013 w 9397013"/>
              <a:gd name="connsiteY35-1816" fmla="*/ 6925855 h 6925856"/>
              <a:gd name="connsiteX36-1817" fmla="*/ 8921338 w 9397013"/>
              <a:gd name="connsiteY36-1818" fmla="*/ 6907383 h 6925856"/>
              <a:gd name="connsiteX37-1819" fmla="*/ 5045299 w 9397013"/>
              <a:gd name="connsiteY37-1820" fmla="*/ 1822761 h 6925856"/>
              <a:gd name="connsiteX38-1821" fmla="*/ 5273037 w 9397013"/>
              <a:gd name="connsiteY38-1822" fmla="*/ 1524494 h 6925856"/>
              <a:gd name="connsiteX39-1823" fmla="*/ 9397013 w 9397013"/>
              <a:gd name="connsiteY39-1824" fmla="*/ 6925855 h 6925856"/>
              <a:gd name="connsiteX0-1825" fmla="*/ 168369 w 9397013"/>
              <a:gd name="connsiteY0-1826" fmla="*/ 4571581 h 6925856"/>
              <a:gd name="connsiteX1-1827" fmla="*/ 0 w 9397013"/>
              <a:gd name="connsiteY1-1828" fmla="*/ 4200794 h 6925856"/>
              <a:gd name="connsiteX2-1829" fmla="*/ 3175788 w 9397013"/>
              <a:gd name="connsiteY2-1830" fmla="*/ 4084 h 6925856"/>
              <a:gd name="connsiteX3-1831" fmla="*/ 3628305 w 9397013"/>
              <a:gd name="connsiteY3-1832" fmla="*/ 0 h 6925856"/>
              <a:gd name="connsiteX4-1833" fmla="*/ 168369 w 9397013"/>
              <a:gd name="connsiteY4-1834" fmla="*/ 4571581 h 6925856"/>
              <a:gd name="connsiteX5-1835" fmla="*/ 488220 w 9397013"/>
              <a:gd name="connsiteY5-1836" fmla="*/ 5275963 h 6925856"/>
              <a:gd name="connsiteX6-1837" fmla="*/ 299082 w 9397013"/>
              <a:gd name="connsiteY6-1838" fmla="*/ 4859439 h 6925856"/>
              <a:gd name="connsiteX7-1839" fmla="*/ 3977147 w 9397013"/>
              <a:gd name="connsiteY7-1840" fmla="*/ 3723 h 6925856"/>
              <a:gd name="connsiteX8-1841" fmla="*/ 4465006 w 9397013"/>
              <a:gd name="connsiteY8-1842" fmla="*/ 840 h 6925856"/>
              <a:gd name="connsiteX9-1843" fmla="*/ 488220 w 9397013"/>
              <a:gd name="connsiteY9-1844" fmla="*/ 5275963 h 6925856"/>
              <a:gd name="connsiteX10-1845" fmla="*/ 779421 w 9397013"/>
              <a:gd name="connsiteY10-1846" fmla="*/ 5917254 h 6925856"/>
              <a:gd name="connsiteX11-1847" fmla="*/ 618065 w 9397013"/>
              <a:gd name="connsiteY11-1848" fmla="*/ 5561911 h 6925856"/>
              <a:gd name="connsiteX12-1849" fmla="*/ 4805164 w 9397013"/>
              <a:gd name="connsiteY12-1850" fmla="*/ 4602 h 6925856"/>
              <a:gd name="connsiteX13-1851" fmla="*/ 5260238 w 9397013"/>
              <a:gd name="connsiteY13-1852" fmla="*/ 25779 h 6925856"/>
              <a:gd name="connsiteX14-1853" fmla="*/ 779421 w 9397013"/>
              <a:gd name="connsiteY14-1854" fmla="*/ 5917254 h 6925856"/>
              <a:gd name="connsiteX15-1855" fmla="*/ 1598673 w 9397013"/>
              <a:gd name="connsiteY15-1856" fmla="*/ 5976498 h 6925856"/>
              <a:gd name="connsiteX16-1857" fmla="*/ 919656 w 9397013"/>
              <a:gd name="connsiteY16-1858" fmla="*/ 6226083 h 6925856"/>
              <a:gd name="connsiteX17-1859" fmla="*/ 5641256 w 9397013"/>
              <a:gd name="connsiteY17-1860" fmla="*/ 4084 h 6925856"/>
              <a:gd name="connsiteX18-1861" fmla="*/ 6077099 w 9397013"/>
              <a:gd name="connsiteY18-1862" fmla="*/ 17286 h 6925856"/>
              <a:gd name="connsiteX19-1863" fmla="*/ 1598673 w 9397013"/>
              <a:gd name="connsiteY19-1864" fmla="*/ 5976498 h 6925856"/>
              <a:gd name="connsiteX20-1865" fmla="*/ 6958778 w 9397013"/>
              <a:gd name="connsiteY20-1866" fmla="*/ 6916619 h 6925856"/>
              <a:gd name="connsiteX21-1867" fmla="*/ 6560038 w 9397013"/>
              <a:gd name="connsiteY21-1868" fmla="*/ 6925855 h 6925856"/>
              <a:gd name="connsiteX22-1869" fmla="*/ 3849932 w 9397013"/>
              <a:gd name="connsiteY22-1870" fmla="*/ 3388318 h 6925856"/>
              <a:gd name="connsiteX23-1871" fmla="*/ 4086202 w 9397013"/>
              <a:gd name="connsiteY23-1872" fmla="*/ 3078877 h 6925856"/>
              <a:gd name="connsiteX24-1873" fmla="*/ 6958778 w 9397013"/>
              <a:gd name="connsiteY24-1874" fmla="*/ 6916619 h 6925856"/>
              <a:gd name="connsiteX25-1875" fmla="*/ 7777211 w 9397013"/>
              <a:gd name="connsiteY25-1876" fmla="*/ 6916620 h 6925856"/>
              <a:gd name="connsiteX26-1877" fmla="*/ 7324729 w 9397013"/>
              <a:gd name="connsiteY26-1878" fmla="*/ 6916620 h 6925856"/>
              <a:gd name="connsiteX27-1879" fmla="*/ 4245793 w 9397013"/>
              <a:gd name="connsiteY27-1880" fmla="*/ 2869862 h 6925856"/>
              <a:gd name="connsiteX28-1881" fmla="*/ 4490696 w 9397013"/>
              <a:gd name="connsiteY28-1882" fmla="*/ 2549117 h 6925856"/>
              <a:gd name="connsiteX29-1883" fmla="*/ 7777211 w 9397013"/>
              <a:gd name="connsiteY29-1884" fmla="*/ 6916620 h 6925856"/>
              <a:gd name="connsiteX30-1885" fmla="*/ 8567691 w 9397013"/>
              <a:gd name="connsiteY30-1886" fmla="*/ 6916619 h 6925856"/>
              <a:gd name="connsiteX31-1887" fmla="*/ 8159389 w 9397013"/>
              <a:gd name="connsiteY31-1888" fmla="*/ 6925856 h 6925856"/>
              <a:gd name="connsiteX32-1889" fmla="*/ 4650570 w 9397013"/>
              <a:gd name="connsiteY32-1890" fmla="*/ 2339732 h 6925856"/>
              <a:gd name="connsiteX33-1891" fmla="*/ 4869244 w 9397013"/>
              <a:gd name="connsiteY33-1892" fmla="*/ 2053337 h 6925856"/>
              <a:gd name="connsiteX34-1893" fmla="*/ 8567691 w 9397013"/>
              <a:gd name="connsiteY34-1894" fmla="*/ 6916619 h 6925856"/>
              <a:gd name="connsiteX35-1895" fmla="*/ 9397013 w 9397013"/>
              <a:gd name="connsiteY35-1896" fmla="*/ 6925855 h 6925856"/>
              <a:gd name="connsiteX36-1897" fmla="*/ 8921338 w 9397013"/>
              <a:gd name="connsiteY36-1898" fmla="*/ 6907383 h 6925856"/>
              <a:gd name="connsiteX37-1899" fmla="*/ 5045299 w 9397013"/>
              <a:gd name="connsiteY37-1900" fmla="*/ 1822761 h 6925856"/>
              <a:gd name="connsiteX38-1901" fmla="*/ 5273037 w 9397013"/>
              <a:gd name="connsiteY38-1902" fmla="*/ 1524494 h 6925856"/>
              <a:gd name="connsiteX39-1903" fmla="*/ 9397013 w 9397013"/>
              <a:gd name="connsiteY39-1904" fmla="*/ 6925855 h 6925856"/>
              <a:gd name="connsiteX0-1905" fmla="*/ 168369 w 9397013"/>
              <a:gd name="connsiteY0-1906" fmla="*/ 4571581 h 6925856"/>
              <a:gd name="connsiteX1-1907" fmla="*/ 0 w 9397013"/>
              <a:gd name="connsiteY1-1908" fmla="*/ 4200794 h 6925856"/>
              <a:gd name="connsiteX2-1909" fmla="*/ 3175788 w 9397013"/>
              <a:gd name="connsiteY2-1910" fmla="*/ 4084 h 6925856"/>
              <a:gd name="connsiteX3-1911" fmla="*/ 3628305 w 9397013"/>
              <a:gd name="connsiteY3-1912" fmla="*/ 0 h 6925856"/>
              <a:gd name="connsiteX4-1913" fmla="*/ 168369 w 9397013"/>
              <a:gd name="connsiteY4-1914" fmla="*/ 4571581 h 6925856"/>
              <a:gd name="connsiteX5-1915" fmla="*/ 488220 w 9397013"/>
              <a:gd name="connsiteY5-1916" fmla="*/ 5275963 h 6925856"/>
              <a:gd name="connsiteX6-1917" fmla="*/ 299082 w 9397013"/>
              <a:gd name="connsiteY6-1918" fmla="*/ 4859439 h 6925856"/>
              <a:gd name="connsiteX7-1919" fmla="*/ 3977147 w 9397013"/>
              <a:gd name="connsiteY7-1920" fmla="*/ 3723 h 6925856"/>
              <a:gd name="connsiteX8-1921" fmla="*/ 4465006 w 9397013"/>
              <a:gd name="connsiteY8-1922" fmla="*/ 840 h 6925856"/>
              <a:gd name="connsiteX9-1923" fmla="*/ 488220 w 9397013"/>
              <a:gd name="connsiteY9-1924" fmla="*/ 5275963 h 6925856"/>
              <a:gd name="connsiteX10-1925" fmla="*/ 779421 w 9397013"/>
              <a:gd name="connsiteY10-1926" fmla="*/ 5917254 h 6925856"/>
              <a:gd name="connsiteX11-1927" fmla="*/ 618065 w 9397013"/>
              <a:gd name="connsiteY11-1928" fmla="*/ 5561911 h 6925856"/>
              <a:gd name="connsiteX12-1929" fmla="*/ 4805164 w 9397013"/>
              <a:gd name="connsiteY12-1930" fmla="*/ 4602 h 6925856"/>
              <a:gd name="connsiteX13-1931" fmla="*/ 5260238 w 9397013"/>
              <a:gd name="connsiteY13-1932" fmla="*/ 25779 h 6925856"/>
              <a:gd name="connsiteX14-1933" fmla="*/ 779421 w 9397013"/>
              <a:gd name="connsiteY14-1934" fmla="*/ 5917254 h 6925856"/>
              <a:gd name="connsiteX15-1935" fmla="*/ 1598673 w 9397013"/>
              <a:gd name="connsiteY15-1936" fmla="*/ 5976498 h 6925856"/>
              <a:gd name="connsiteX16-1937" fmla="*/ 1566201 w 9397013"/>
              <a:gd name="connsiteY16-1938" fmla="*/ 5394811 h 6925856"/>
              <a:gd name="connsiteX17-1939" fmla="*/ 5641256 w 9397013"/>
              <a:gd name="connsiteY17-1940" fmla="*/ 4084 h 6925856"/>
              <a:gd name="connsiteX18-1941" fmla="*/ 6077099 w 9397013"/>
              <a:gd name="connsiteY18-1942" fmla="*/ 17286 h 6925856"/>
              <a:gd name="connsiteX19-1943" fmla="*/ 1598673 w 9397013"/>
              <a:gd name="connsiteY19-1944" fmla="*/ 5976498 h 6925856"/>
              <a:gd name="connsiteX20-1945" fmla="*/ 6958778 w 9397013"/>
              <a:gd name="connsiteY20-1946" fmla="*/ 6916619 h 6925856"/>
              <a:gd name="connsiteX21-1947" fmla="*/ 6560038 w 9397013"/>
              <a:gd name="connsiteY21-1948" fmla="*/ 6925855 h 6925856"/>
              <a:gd name="connsiteX22-1949" fmla="*/ 3849932 w 9397013"/>
              <a:gd name="connsiteY22-1950" fmla="*/ 3388318 h 6925856"/>
              <a:gd name="connsiteX23-1951" fmla="*/ 4086202 w 9397013"/>
              <a:gd name="connsiteY23-1952" fmla="*/ 3078877 h 6925856"/>
              <a:gd name="connsiteX24-1953" fmla="*/ 6958778 w 9397013"/>
              <a:gd name="connsiteY24-1954" fmla="*/ 6916619 h 6925856"/>
              <a:gd name="connsiteX25-1955" fmla="*/ 7777211 w 9397013"/>
              <a:gd name="connsiteY25-1956" fmla="*/ 6916620 h 6925856"/>
              <a:gd name="connsiteX26-1957" fmla="*/ 7324729 w 9397013"/>
              <a:gd name="connsiteY26-1958" fmla="*/ 6916620 h 6925856"/>
              <a:gd name="connsiteX27-1959" fmla="*/ 4245793 w 9397013"/>
              <a:gd name="connsiteY27-1960" fmla="*/ 2869862 h 6925856"/>
              <a:gd name="connsiteX28-1961" fmla="*/ 4490696 w 9397013"/>
              <a:gd name="connsiteY28-1962" fmla="*/ 2549117 h 6925856"/>
              <a:gd name="connsiteX29-1963" fmla="*/ 7777211 w 9397013"/>
              <a:gd name="connsiteY29-1964" fmla="*/ 6916620 h 6925856"/>
              <a:gd name="connsiteX30-1965" fmla="*/ 8567691 w 9397013"/>
              <a:gd name="connsiteY30-1966" fmla="*/ 6916619 h 6925856"/>
              <a:gd name="connsiteX31-1967" fmla="*/ 8159389 w 9397013"/>
              <a:gd name="connsiteY31-1968" fmla="*/ 6925856 h 6925856"/>
              <a:gd name="connsiteX32-1969" fmla="*/ 4650570 w 9397013"/>
              <a:gd name="connsiteY32-1970" fmla="*/ 2339732 h 6925856"/>
              <a:gd name="connsiteX33-1971" fmla="*/ 4869244 w 9397013"/>
              <a:gd name="connsiteY33-1972" fmla="*/ 2053337 h 6925856"/>
              <a:gd name="connsiteX34-1973" fmla="*/ 8567691 w 9397013"/>
              <a:gd name="connsiteY34-1974" fmla="*/ 6916619 h 6925856"/>
              <a:gd name="connsiteX35-1975" fmla="*/ 9397013 w 9397013"/>
              <a:gd name="connsiteY35-1976" fmla="*/ 6925855 h 6925856"/>
              <a:gd name="connsiteX36-1977" fmla="*/ 8921338 w 9397013"/>
              <a:gd name="connsiteY36-1978" fmla="*/ 6907383 h 6925856"/>
              <a:gd name="connsiteX37-1979" fmla="*/ 5045299 w 9397013"/>
              <a:gd name="connsiteY37-1980" fmla="*/ 1822761 h 6925856"/>
              <a:gd name="connsiteX38-1981" fmla="*/ 5273037 w 9397013"/>
              <a:gd name="connsiteY38-1982" fmla="*/ 1524494 h 6925856"/>
              <a:gd name="connsiteX39-1983" fmla="*/ 9397013 w 9397013"/>
              <a:gd name="connsiteY39-1984" fmla="*/ 6925855 h 6925856"/>
              <a:gd name="connsiteX0-1985" fmla="*/ 168369 w 9397013"/>
              <a:gd name="connsiteY0-1986" fmla="*/ 4571581 h 6925856"/>
              <a:gd name="connsiteX1-1987" fmla="*/ 0 w 9397013"/>
              <a:gd name="connsiteY1-1988" fmla="*/ 4200794 h 6925856"/>
              <a:gd name="connsiteX2-1989" fmla="*/ 3175788 w 9397013"/>
              <a:gd name="connsiteY2-1990" fmla="*/ 4084 h 6925856"/>
              <a:gd name="connsiteX3-1991" fmla="*/ 3628305 w 9397013"/>
              <a:gd name="connsiteY3-1992" fmla="*/ 0 h 6925856"/>
              <a:gd name="connsiteX4-1993" fmla="*/ 168369 w 9397013"/>
              <a:gd name="connsiteY4-1994" fmla="*/ 4571581 h 6925856"/>
              <a:gd name="connsiteX5-1995" fmla="*/ 488220 w 9397013"/>
              <a:gd name="connsiteY5-1996" fmla="*/ 5275963 h 6925856"/>
              <a:gd name="connsiteX6-1997" fmla="*/ 299082 w 9397013"/>
              <a:gd name="connsiteY6-1998" fmla="*/ 4859439 h 6925856"/>
              <a:gd name="connsiteX7-1999" fmla="*/ 3977147 w 9397013"/>
              <a:gd name="connsiteY7-2000" fmla="*/ 3723 h 6925856"/>
              <a:gd name="connsiteX8-2001" fmla="*/ 4465006 w 9397013"/>
              <a:gd name="connsiteY8-2002" fmla="*/ 840 h 6925856"/>
              <a:gd name="connsiteX9-2003" fmla="*/ 488220 w 9397013"/>
              <a:gd name="connsiteY9-2004" fmla="*/ 5275963 h 6925856"/>
              <a:gd name="connsiteX10-2005" fmla="*/ 779421 w 9397013"/>
              <a:gd name="connsiteY10-2006" fmla="*/ 5917254 h 6925856"/>
              <a:gd name="connsiteX11-2007" fmla="*/ 618065 w 9397013"/>
              <a:gd name="connsiteY11-2008" fmla="*/ 5561911 h 6925856"/>
              <a:gd name="connsiteX12-2009" fmla="*/ 4805164 w 9397013"/>
              <a:gd name="connsiteY12-2010" fmla="*/ 4602 h 6925856"/>
              <a:gd name="connsiteX13-2011" fmla="*/ 5260238 w 9397013"/>
              <a:gd name="connsiteY13-2012" fmla="*/ 25779 h 6925856"/>
              <a:gd name="connsiteX14-2013" fmla="*/ 779421 w 9397013"/>
              <a:gd name="connsiteY14-2014" fmla="*/ 5917254 h 6925856"/>
              <a:gd name="connsiteX15-2015" fmla="*/ 1580200 w 9397013"/>
              <a:gd name="connsiteY15-2016" fmla="*/ 5985735 h 6925856"/>
              <a:gd name="connsiteX16-2017" fmla="*/ 1566201 w 9397013"/>
              <a:gd name="connsiteY16-2018" fmla="*/ 5394811 h 6925856"/>
              <a:gd name="connsiteX17-2019" fmla="*/ 5641256 w 9397013"/>
              <a:gd name="connsiteY17-2020" fmla="*/ 4084 h 6925856"/>
              <a:gd name="connsiteX18-2021" fmla="*/ 6077099 w 9397013"/>
              <a:gd name="connsiteY18-2022" fmla="*/ 17286 h 6925856"/>
              <a:gd name="connsiteX19-2023" fmla="*/ 1580200 w 9397013"/>
              <a:gd name="connsiteY19-2024" fmla="*/ 5985735 h 6925856"/>
              <a:gd name="connsiteX20-2025" fmla="*/ 6958778 w 9397013"/>
              <a:gd name="connsiteY20-2026" fmla="*/ 6916619 h 6925856"/>
              <a:gd name="connsiteX21-2027" fmla="*/ 6560038 w 9397013"/>
              <a:gd name="connsiteY21-2028" fmla="*/ 6925855 h 6925856"/>
              <a:gd name="connsiteX22-2029" fmla="*/ 3849932 w 9397013"/>
              <a:gd name="connsiteY22-2030" fmla="*/ 3388318 h 6925856"/>
              <a:gd name="connsiteX23-2031" fmla="*/ 4086202 w 9397013"/>
              <a:gd name="connsiteY23-2032" fmla="*/ 3078877 h 6925856"/>
              <a:gd name="connsiteX24-2033" fmla="*/ 6958778 w 9397013"/>
              <a:gd name="connsiteY24-2034" fmla="*/ 6916619 h 6925856"/>
              <a:gd name="connsiteX25-2035" fmla="*/ 7777211 w 9397013"/>
              <a:gd name="connsiteY25-2036" fmla="*/ 6916620 h 6925856"/>
              <a:gd name="connsiteX26-2037" fmla="*/ 7324729 w 9397013"/>
              <a:gd name="connsiteY26-2038" fmla="*/ 6916620 h 6925856"/>
              <a:gd name="connsiteX27-2039" fmla="*/ 4245793 w 9397013"/>
              <a:gd name="connsiteY27-2040" fmla="*/ 2869862 h 6925856"/>
              <a:gd name="connsiteX28-2041" fmla="*/ 4490696 w 9397013"/>
              <a:gd name="connsiteY28-2042" fmla="*/ 2549117 h 6925856"/>
              <a:gd name="connsiteX29-2043" fmla="*/ 7777211 w 9397013"/>
              <a:gd name="connsiteY29-2044" fmla="*/ 6916620 h 6925856"/>
              <a:gd name="connsiteX30-2045" fmla="*/ 8567691 w 9397013"/>
              <a:gd name="connsiteY30-2046" fmla="*/ 6916619 h 6925856"/>
              <a:gd name="connsiteX31-2047" fmla="*/ 8159389 w 9397013"/>
              <a:gd name="connsiteY31-2048" fmla="*/ 6925856 h 6925856"/>
              <a:gd name="connsiteX32-2049" fmla="*/ 4650570 w 9397013"/>
              <a:gd name="connsiteY32-2050" fmla="*/ 2339732 h 6925856"/>
              <a:gd name="connsiteX33-2051" fmla="*/ 4869244 w 9397013"/>
              <a:gd name="connsiteY33-2052" fmla="*/ 2053337 h 6925856"/>
              <a:gd name="connsiteX34-2053" fmla="*/ 8567691 w 9397013"/>
              <a:gd name="connsiteY34-2054" fmla="*/ 6916619 h 6925856"/>
              <a:gd name="connsiteX35-2055" fmla="*/ 9397013 w 9397013"/>
              <a:gd name="connsiteY35-2056" fmla="*/ 6925855 h 6925856"/>
              <a:gd name="connsiteX36-2057" fmla="*/ 8921338 w 9397013"/>
              <a:gd name="connsiteY36-2058" fmla="*/ 6907383 h 6925856"/>
              <a:gd name="connsiteX37-2059" fmla="*/ 5045299 w 9397013"/>
              <a:gd name="connsiteY37-2060" fmla="*/ 1822761 h 6925856"/>
              <a:gd name="connsiteX38-2061" fmla="*/ 5273037 w 9397013"/>
              <a:gd name="connsiteY38-2062" fmla="*/ 1524494 h 6925856"/>
              <a:gd name="connsiteX39-2063" fmla="*/ 9397013 w 9397013"/>
              <a:gd name="connsiteY39-2064" fmla="*/ 6925855 h 6925856"/>
              <a:gd name="connsiteX0-2065" fmla="*/ 168369 w 9397013"/>
              <a:gd name="connsiteY0-2066" fmla="*/ 4571581 h 6925856"/>
              <a:gd name="connsiteX1-2067" fmla="*/ 0 w 9397013"/>
              <a:gd name="connsiteY1-2068" fmla="*/ 4200794 h 6925856"/>
              <a:gd name="connsiteX2-2069" fmla="*/ 3175788 w 9397013"/>
              <a:gd name="connsiteY2-2070" fmla="*/ 4084 h 6925856"/>
              <a:gd name="connsiteX3-2071" fmla="*/ 3628305 w 9397013"/>
              <a:gd name="connsiteY3-2072" fmla="*/ 0 h 6925856"/>
              <a:gd name="connsiteX4-2073" fmla="*/ 168369 w 9397013"/>
              <a:gd name="connsiteY4-2074" fmla="*/ 4571581 h 6925856"/>
              <a:gd name="connsiteX5-2075" fmla="*/ 488220 w 9397013"/>
              <a:gd name="connsiteY5-2076" fmla="*/ 5275963 h 6925856"/>
              <a:gd name="connsiteX6-2077" fmla="*/ 299082 w 9397013"/>
              <a:gd name="connsiteY6-2078" fmla="*/ 4859439 h 6925856"/>
              <a:gd name="connsiteX7-2079" fmla="*/ 3977147 w 9397013"/>
              <a:gd name="connsiteY7-2080" fmla="*/ 3723 h 6925856"/>
              <a:gd name="connsiteX8-2081" fmla="*/ 4465006 w 9397013"/>
              <a:gd name="connsiteY8-2082" fmla="*/ 840 h 6925856"/>
              <a:gd name="connsiteX9-2083" fmla="*/ 488220 w 9397013"/>
              <a:gd name="connsiteY9-2084" fmla="*/ 5275963 h 6925856"/>
              <a:gd name="connsiteX10-2085" fmla="*/ 1601458 w 9397013"/>
              <a:gd name="connsiteY10-2086" fmla="*/ 4845836 h 6925856"/>
              <a:gd name="connsiteX11-2087" fmla="*/ 618065 w 9397013"/>
              <a:gd name="connsiteY11-2088" fmla="*/ 5561911 h 6925856"/>
              <a:gd name="connsiteX12-2089" fmla="*/ 4805164 w 9397013"/>
              <a:gd name="connsiteY12-2090" fmla="*/ 4602 h 6925856"/>
              <a:gd name="connsiteX13-2091" fmla="*/ 5260238 w 9397013"/>
              <a:gd name="connsiteY13-2092" fmla="*/ 25779 h 6925856"/>
              <a:gd name="connsiteX14-2093" fmla="*/ 1601458 w 9397013"/>
              <a:gd name="connsiteY14-2094" fmla="*/ 4845836 h 6925856"/>
              <a:gd name="connsiteX15-2095" fmla="*/ 1580200 w 9397013"/>
              <a:gd name="connsiteY15-2096" fmla="*/ 5985735 h 6925856"/>
              <a:gd name="connsiteX16-2097" fmla="*/ 1566201 w 9397013"/>
              <a:gd name="connsiteY16-2098" fmla="*/ 5394811 h 6925856"/>
              <a:gd name="connsiteX17-2099" fmla="*/ 5641256 w 9397013"/>
              <a:gd name="connsiteY17-2100" fmla="*/ 4084 h 6925856"/>
              <a:gd name="connsiteX18-2101" fmla="*/ 6077099 w 9397013"/>
              <a:gd name="connsiteY18-2102" fmla="*/ 17286 h 6925856"/>
              <a:gd name="connsiteX19-2103" fmla="*/ 1580200 w 9397013"/>
              <a:gd name="connsiteY19-2104" fmla="*/ 5985735 h 6925856"/>
              <a:gd name="connsiteX20-2105" fmla="*/ 6958778 w 9397013"/>
              <a:gd name="connsiteY20-2106" fmla="*/ 6916619 h 6925856"/>
              <a:gd name="connsiteX21-2107" fmla="*/ 6560038 w 9397013"/>
              <a:gd name="connsiteY21-2108" fmla="*/ 6925855 h 6925856"/>
              <a:gd name="connsiteX22-2109" fmla="*/ 3849932 w 9397013"/>
              <a:gd name="connsiteY22-2110" fmla="*/ 3388318 h 6925856"/>
              <a:gd name="connsiteX23-2111" fmla="*/ 4086202 w 9397013"/>
              <a:gd name="connsiteY23-2112" fmla="*/ 3078877 h 6925856"/>
              <a:gd name="connsiteX24-2113" fmla="*/ 6958778 w 9397013"/>
              <a:gd name="connsiteY24-2114" fmla="*/ 6916619 h 6925856"/>
              <a:gd name="connsiteX25-2115" fmla="*/ 7777211 w 9397013"/>
              <a:gd name="connsiteY25-2116" fmla="*/ 6916620 h 6925856"/>
              <a:gd name="connsiteX26-2117" fmla="*/ 7324729 w 9397013"/>
              <a:gd name="connsiteY26-2118" fmla="*/ 6916620 h 6925856"/>
              <a:gd name="connsiteX27-2119" fmla="*/ 4245793 w 9397013"/>
              <a:gd name="connsiteY27-2120" fmla="*/ 2869862 h 6925856"/>
              <a:gd name="connsiteX28-2121" fmla="*/ 4490696 w 9397013"/>
              <a:gd name="connsiteY28-2122" fmla="*/ 2549117 h 6925856"/>
              <a:gd name="connsiteX29-2123" fmla="*/ 7777211 w 9397013"/>
              <a:gd name="connsiteY29-2124" fmla="*/ 6916620 h 6925856"/>
              <a:gd name="connsiteX30-2125" fmla="*/ 8567691 w 9397013"/>
              <a:gd name="connsiteY30-2126" fmla="*/ 6916619 h 6925856"/>
              <a:gd name="connsiteX31-2127" fmla="*/ 8159389 w 9397013"/>
              <a:gd name="connsiteY31-2128" fmla="*/ 6925856 h 6925856"/>
              <a:gd name="connsiteX32-2129" fmla="*/ 4650570 w 9397013"/>
              <a:gd name="connsiteY32-2130" fmla="*/ 2339732 h 6925856"/>
              <a:gd name="connsiteX33-2131" fmla="*/ 4869244 w 9397013"/>
              <a:gd name="connsiteY33-2132" fmla="*/ 2053337 h 6925856"/>
              <a:gd name="connsiteX34-2133" fmla="*/ 8567691 w 9397013"/>
              <a:gd name="connsiteY34-2134" fmla="*/ 6916619 h 6925856"/>
              <a:gd name="connsiteX35-2135" fmla="*/ 9397013 w 9397013"/>
              <a:gd name="connsiteY35-2136" fmla="*/ 6925855 h 6925856"/>
              <a:gd name="connsiteX36-2137" fmla="*/ 8921338 w 9397013"/>
              <a:gd name="connsiteY36-2138" fmla="*/ 6907383 h 6925856"/>
              <a:gd name="connsiteX37-2139" fmla="*/ 5045299 w 9397013"/>
              <a:gd name="connsiteY37-2140" fmla="*/ 1822761 h 6925856"/>
              <a:gd name="connsiteX38-2141" fmla="*/ 5273037 w 9397013"/>
              <a:gd name="connsiteY38-2142" fmla="*/ 1524494 h 6925856"/>
              <a:gd name="connsiteX39-2143" fmla="*/ 9397013 w 9397013"/>
              <a:gd name="connsiteY39-2144" fmla="*/ 6925855 h 6925856"/>
              <a:gd name="connsiteX0-2145" fmla="*/ 168369 w 9397013"/>
              <a:gd name="connsiteY0-2146" fmla="*/ 4571581 h 6925856"/>
              <a:gd name="connsiteX1-2147" fmla="*/ 0 w 9397013"/>
              <a:gd name="connsiteY1-2148" fmla="*/ 4200794 h 6925856"/>
              <a:gd name="connsiteX2-2149" fmla="*/ 3175788 w 9397013"/>
              <a:gd name="connsiteY2-2150" fmla="*/ 4084 h 6925856"/>
              <a:gd name="connsiteX3-2151" fmla="*/ 3628305 w 9397013"/>
              <a:gd name="connsiteY3-2152" fmla="*/ 0 h 6925856"/>
              <a:gd name="connsiteX4-2153" fmla="*/ 168369 w 9397013"/>
              <a:gd name="connsiteY4-2154" fmla="*/ 4571581 h 6925856"/>
              <a:gd name="connsiteX5-2155" fmla="*/ 488220 w 9397013"/>
              <a:gd name="connsiteY5-2156" fmla="*/ 5275963 h 6925856"/>
              <a:gd name="connsiteX6-2157" fmla="*/ 299082 w 9397013"/>
              <a:gd name="connsiteY6-2158" fmla="*/ 4859439 h 6925856"/>
              <a:gd name="connsiteX7-2159" fmla="*/ 3977147 w 9397013"/>
              <a:gd name="connsiteY7-2160" fmla="*/ 3723 h 6925856"/>
              <a:gd name="connsiteX8-2161" fmla="*/ 4465006 w 9397013"/>
              <a:gd name="connsiteY8-2162" fmla="*/ 840 h 6925856"/>
              <a:gd name="connsiteX9-2163" fmla="*/ 488220 w 9397013"/>
              <a:gd name="connsiteY9-2164" fmla="*/ 5275963 h 6925856"/>
              <a:gd name="connsiteX10-2165" fmla="*/ 1601458 w 9397013"/>
              <a:gd name="connsiteY10-2166" fmla="*/ 4845836 h 6925856"/>
              <a:gd name="connsiteX11-2167" fmla="*/ 1550937 w 9397013"/>
              <a:gd name="connsiteY11-2168" fmla="*/ 4315002 h 6925856"/>
              <a:gd name="connsiteX12-2169" fmla="*/ 4805164 w 9397013"/>
              <a:gd name="connsiteY12-2170" fmla="*/ 4602 h 6925856"/>
              <a:gd name="connsiteX13-2171" fmla="*/ 5260238 w 9397013"/>
              <a:gd name="connsiteY13-2172" fmla="*/ 25779 h 6925856"/>
              <a:gd name="connsiteX14-2173" fmla="*/ 1601458 w 9397013"/>
              <a:gd name="connsiteY14-2174" fmla="*/ 4845836 h 6925856"/>
              <a:gd name="connsiteX15-2175" fmla="*/ 1580200 w 9397013"/>
              <a:gd name="connsiteY15-2176" fmla="*/ 5985735 h 6925856"/>
              <a:gd name="connsiteX16-2177" fmla="*/ 1566201 w 9397013"/>
              <a:gd name="connsiteY16-2178" fmla="*/ 5394811 h 6925856"/>
              <a:gd name="connsiteX17-2179" fmla="*/ 5641256 w 9397013"/>
              <a:gd name="connsiteY17-2180" fmla="*/ 4084 h 6925856"/>
              <a:gd name="connsiteX18-2181" fmla="*/ 6077099 w 9397013"/>
              <a:gd name="connsiteY18-2182" fmla="*/ 17286 h 6925856"/>
              <a:gd name="connsiteX19-2183" fmla="*/ 1580200 w 9397013"/>
              <a:gd name="connsiteY19-2184" fmla="*/ 5985735 h 6925856"/>
              <a:gd name="connsiteX20-2185" fmla="*/ 6958778 w 9397013"/>
              <a:gd name="connsiteY20-2186" fmla="*/ 6916619 h 6925856"/>
              <a:gd name="connsiteX21-2187" fmla="*/ 6560038 w 9397013"/>
              <a:gd name="connsiteY21-2188" fmla="*/ 6925855 h 6925856"/>
              <a:gd name="connsiteX22-2189" fmla="*/ 3849932 w 9397013"/>
              <a:gd name="connsiteY22-2190" fmla="*/ 3388318 h 6925856"/>
              <a:gd name="connsiteX23-2191" fmla="*/ 4086202 w 9397013"/>
              <a:gd name="connsiteY23-2192" fmla="*/ 3078877 h 6925856"/>
              <a:gd name="connsiteX24-2193" fmla="*/ 6958778 w 9397013"/>
              <a:gd name="connsiteY24-2194" fmla="*/ 6916619 h 6925856"/>
              <a:gd name="connsiteX25-2195" fmla="*/ 7777211 w 9397013"/>
              <a:gd name="connsiteY25-2196" fmla="*/ 6916620 h 6925856"/>
              <a:gd name="connsiteX26-2197" fmla="*/ 7324729 w 9397013"/>
              <a:gd name="connsiteY26-2198" fmla="*/ 6916620 h 6925856"/>
              <a:gd name="connsiteX27-2199" fmla="*/ 4245793 w 9397013"/>
              <a:gd name="connsiteY27-2200" fmla="*/ 2869862 h 6925856"/>
              <a:gd name="connsiteX28-2201" fmla="*/ 4490696 w 9397013"/>
              <a:gd name="connsiteY28-2202" fmla="*/ 2549117 h 6925856"/>
              <a:gd name="connsiteX29-2203" fmla="*/ 7777211 w 9397013"/>
              <a:gd name="connsiteY29-2204" fmla="*/ 6916620 h 6925856"/>
              <a:gd name="connsiteX30-2205" fmla="*/ 8567691 w 9397013"/>
              <a:gd name="connsiteY30-2206" fmla="*/ 6916619 h 6925856"/>
              <a:gd name="connsiteX31-2207" fmla="*/ 8159389 w 9397013"/>
              <a:gd name="connsiteY31-2208" fmla="*/ 6925856 h 6925856"/>
              <a:gd name="connsiteX32-2209" fmla="*/ 4650570 w 9397013"/>
              <a:gd name="connsiteY32-2210" fmla="*/ 2339732 h 6925856"/>
              <a:gd name="connsiteX33-2211" fmla="*/ 4869244 w 9397013"/>
              <a:gd name="connsiteY33-2212" fmla="*/ 2053337 h 6925856"/>
              <a:gd name="connsiteX34-2213" fmla="*/ 8567691 w 9397013"/>
              <a:gd name="connsiteY34-2214" fmla="*/ 6916619 h 6925856"/>
              <a:gd name="connsiteX35-2215" fmla="*/ 9397013 w 9397013"/>
              <a:gd name="connsiteY35-2216" fmla="*/ 6925855 h 6925856"/>
              <a:gd name="connsiteX36-2217" fmla="*/ 8921338 w 9397013"/>
              <a:gd name="connsiteY36-2218" fmla="*/ 6907383 h 6925856"/>
              <a:gd name="connsiteX37-2219" fmla="*/ 5045299 w 9397013"/>
              <a:gd name="connsiteY37-2220" fmla="*/ 1822761 h 6925856"/>
              <a:gd name="connsiteX38-2221" fmla="*/ 5273037 w 9397013"/>
              <a:gd name="connsiteY38-2222" fmla="*/ 1524494 h 6925856"/>
              <a:gd name="connsiteX39-2223" fmla="*/ 9397013 w 9397013"/>
              <a:gd name="connsiteY39-2224" fmla="*/ 6925855 h 6925856"/>
              <a:gd name="connsiteX0-2225" fmla="*/ 168369 w 9397013"/>
              <a:gd name="connsiteY0-2226" fmla="*/ 4571581 h 6925856"/>
              <a:gd name="connsiteX1-2227" fmla="*/ 0 w 9397013"/>
              <a:gd name="connsiteY1-2228" fmla="*/ 4200794 h 6925856"/>
              <a:gd name="connsiteX2-2229" fmla="*/ 3175788 w 9397013"/>
              <a:gd name="connsiteY2-2230" fmla="*/ 4084 h 6925856"/>
              <a:gd name="connsiteX3-2231" fmla="*/ 3628305 w 9397013"/>
              <a:gd name="connsiteY3-2232" fmla="*/ 0 h 6925856"/>
              <a:gd name="connsiteX4-2233" fmla="*/ 168369 w 9397013"/>
              <a:gd name="connsiteY4-2234" fmla="*/ 4571581 h 6925856"/>
              <a:gd name="connsiteX5-2235" fmla="*/ 488220 w 9397013"/>
              <a:gd name="connsiteY5-2236" fmla="*/ 5275963 h 6925856"/>
              <a:gd name="connsiteX6-2237" fmla="*/ 299082 w 9397013"/>
              <a:gd name="connsiteY6-2238" fmla="*/ 4859439 h 6925856"/>
              <a:gd name="connsiteX7-2239" fmla="*/ 3977147 w 9397013"/>
              <a:gd name="connsiteY7-2240" fmla="*/ 3723 h 6925856"/>
              <a:gd name="connsiteX8-2241" fmla="*/ 4465006 w 9397013"/>
              <a:gd name="connsiteY8-2242" fmla="*/ 840 h 6925856"/>
              <a:gd name="connsiteX9-2243" fmla="*/ 488220 w 9397013"/>
              <a:gd name="connsiteY9-2244" fmla="*/ 5275963 h 6925856"/>
              <a:gd name="connsiteX10-2245" fmla="*/ 1573749 w 9397013"/>
              <a:gd name="connsiteY10-2246" fmla="*/ 4882781 h 6925856"/>
              <a:gd name="connsiteX11-2247" fmla="*/ 1550937 w 9397013"/>
              <a:gd name="connsiteY11-2248" fmla="*/ 4315002 h 6925856"/>
              <a:gd name="connsiteX12-2249" fmla="*/ 4805164 w 9397013"/>
              <a:gd name="connsiteY12-2250" fmla="*/ 4602 h 6925856"/>
              <a:gd name="connsiteX13-2251" fmla="*/ 5260238 w 9397013"/>
              <a:gd name="connsiteY13-2252" fmla="*/ 25779 h 6925856"/>
              <a:gd name="connsiteX14-2253" fmla="*/ 1573749 w 9397013"/>
              <a:gd name="connsiteY14-2254" fmla="*/ 4882781 h 6925856"/>
              <a:gd name="connsiteX15-2255" fmla="*/ 1580200 w 9397013"/>
              <a:gd name="connsiteY15-2256" fmla="*/ 5985735 h 6925856"/>
              <a:gd name="connsiteX16-2257" fmla="*/ 1566201 w 9397013"/>
              <a:gd name="connsiteY16-2258" fmla="*/ 5394811 h 6925856"/>
              <a:gd name="connsiteX17-2259" fmla="*/ 5641256 w 9397013"/>
              <a:gd name="connsiteY17-2260" fmla="*/ 4084 h 6925856"/>
              <a:gd name="connsiteX18-2261" fmla="*/ 6077099 w 9397013"/>
              <a:gd name="connsiteY18-2262" fmla="*/ 17286 h 6925856"/>
              <a:gd name="connsiteX19-2263" fmla="*/ 1580200 w 9397013"/>
              <a:gd name="connsiteY19-2264" fmla="*/ 5985735 h 6925856"/>
              <a:gd name="connsiteX20-2265" fmla="*/ 6958778 w 9397013"/>
              <a:gd name="connsiteY20-2266" fmla="*/ 6916619 h 6925856"/>
              <a:gd name="connsiteX21-2267" fmla="*/ 6560038 w 9397013"/>
              <a:gd name="connsiteY21-2268" fmla="*/ 6925855 h 6925856"/>
              <a:gd name="connsiteX22-2269" fmla="*/ 3849932 w 9397013"/>
              <a:gd name="connsiteY22-2270" fmla="*/ 3388318 h 6925856"/>
              <a:gd name="connsiteX23-2271" fmla="*/ 4086202 w 9397013"/>
              <a:gd name="connsiteY23-2272" fmla="*/ 3078877 h 6925856"/>
              <a:gd name="connsiteX24-2273" fmla="*/ 6958778 w 9397013"/>
              <a:gd name="connsiteY24-2274" fmla="*/ 6916619 h 6925856"/>
              <a:gd name="connsiteX25-2275" fmla="*/ 7777211 w 9397013"/>
              <a:gd name="connsiteY25-2276" fmla="*/ 6916620 h 6925856"/>
              <a:gd name="connsiteX26-2277" fmla="*/ 7324729 w 9397013"/>
              <a:gd name="connsiteY26-2278" fmla="*/ 6916620 h 6925856"/>
              <a:gd name="connsiteX27-2279" fmla="*/ 4245793 w 9397013"/>
              <a:gd name="connsiteY27-2280" fmla="*/ 2869862 h 6925856"/>
              <a:gd name="connsiteX28-2281" fmla="*/ 4490696 w 9397013"/>
              <a:gd name="connsiteY28-2282" fmla="*/ 2549117 h 6925856"/>
              <a:gd name="connsiteX29-2283" fmla="*/ 7777211 w 9397013"/>
              <a:gd name="connsiteY29-2284" fmla="*/ 6916620 h 6925856"/>
              <a:gd name="connsiteX30-2285" fmla="*/ 8567691 w 9397013"/>
              <a:gd name="connsiteY30-2286" fmla="*/ 6916619 h 6925856"/>
              <a:gd name="connsiteX31-2287" fmla="*/ 8159389 w 9397013"/>
              <a:gd name="connsiteY31-2288" fmla="*/ 6925856 h 6925856"/>
              <a:gd name="connsiteX32-2289" fmla="*/ 4650570 w 9397013"/>
              <a:gd name="connsiteY32-2290" fmla="*/ 2339732 h 6925856"/>
              <a:gd name="connsiteX33-2291" fmla="*/ 4869244 w 9397013"/>
              <a:gd name="connsiteY33-2292" fmla="*/ 2053337 h 6925856"/>
              <a:gd name="connsiteX34-2293" fmla="*/ 8567691 w 9397013"/>
              <a:gd name="connsiteY34-2294" fmla="*/ 6916619 h 6925856"/>
              <a:gd name="connsiteX35-2295" fmla="*/ 9397013 w 9397013"/>
              <a:gd name="connsiteY35-2296" fmla="*/ 6925855 h 6925856"/>
              <a:gd name="connsiteX36-2297" fmla="*/ 8921338 w 9397013"/>
              <a:gd name="connsiteY36-2298" fmla="*/ 6907383 h 6925856"/>
              <a:gd name="connsiteX37-2299" fmla="*/ 5045299 w 9397013"/>
              <a:gd name="connsiteY37-2300" fmla="*/ 1822761 h 6925856"/>
              <a:gd name="connsiteX38-2301" fmla="*/ 5273037 w 9397013"/>
              <a:gd name="connsiteY38-2302" fmla="*/ 1524494 h 6925856"/>
              <a:gd name="connsiteX39-2303" fmla="*/ 9397013 w 9397013"/>
              <a:gd name="connsiteY39-2304" fmla="*/ 6925855 h 6925856"/>
              <a:gd name="connsiteX0-2305" fmla="*/ 168369 w 9397013"/>
              <a:gd name="connsiteY0-2306" fmla="*/ 4571581 h 6925856"/>
              <a:gd name="connsiteX1-2307" fmla="*/ 0 w 9397013"/>
              <a:gd name="connsiteY1-2308" fmla="*/ 4200794 h 6925856"/>
              <a:gd name="connsiteX2-2309" fmla="*/ 3175788 w 9397013"/>
              <a:gd name="connsiteY2-2310" fmla="*/ 4084 h 6925856"/>
              <a:gd name="connsiteX3-2311" fmla="*/ 3628305 w 9397013"/>
              <a:gd name="connsiteY3-2312" fmla="*/ 0 h 6925856"/>
              <a:gd name="connsiteX4-2313" fmla="*/ 168369 w 9397013"/>
              <a:gd name="connsiteY4-2314" fmla="*/ 4571581 h 6925856"/>
              <a:gd name="connsiteX5-2315" fmla="*/ 1578111 w 9397013"/>
              <a:gd name="connsiteY5-2316" fmla="*/ 3835090 h 6925856"/>
              <a:gd name="connsiteX6-2317" fmla="*/ 299082 w 9397013"/>
              <a:gd name="connsiteY6-2318" fmla="*/ 4859439 h 6925856"/>
              <a:gd name="connsiteX7-2319" fmla="*/ 3977147 w 9397013"/>
              <a:gd name="connsiteY7-2320" fmla="*/ 3723 h 6925856"/>
              <a:gd name="connsiteX8-2321" fmla="*/ 4465006 w 9397013"/>
              <a:gd name="connsiteY8-2322" fmla="*/ 840 h 6925856"/>
              <a:gd name="connsiteX9-2323" fmla="*/ 1578111 w 9397013"/>
              <a:gd name="connsiteY9-2324" fmla="*/ 3835090 h 6925856"/>
              <a:gd name="connsiteX10-2325" fmla="*/ 1573749 w 9397013"/>
              <a:gd name="connsiteY10-2326" fmla="*/ 4882781 h 6925856"/>
              <a:gd name="connsiteX11-2327" fmla="*/ 1550937 w 9397013"/>
              <a:gd name="connsiteY11-2328" fmla="*/ 4315002 h 6925856"/>
              <a:gd name="connsiteX12-2329" fmla="*/ 4805164 w 9397013"/>
              <a:gd name="connsiteY12-2330" fmla="*/ 4602 h 6925856"/>
              <a:gd name="connsiteX13-2331" fmla="*/ 5260238 w 9397013"/>
              <a:gd name="connsiteY13-2332" fmla="*/ 25779 h 6925856"/>
              <a:gd name="connsiteX14-2333" fmla="*/ 1573749 w 9397013"/>
              <a:gd name="connsiteY14-2334" fmla="*/ 4882781 h 6925856"/>
              <a:gd name="connsiteX15-2335" fmla="*/ 1580200 w 9397013"/>
              <a:gd name="connsiteY15-2336" fmla="*/ 5985735 h 6925856"/>
              <a:gd name="connsiteX16-2337" fmla="*/ 1566201 w 9397013"/>
              <a:gd name="connsiteY16-2338" fmla="*/ 5394811 h 6925856"/>
              <a:gd name="connsiteX17-2339" fmla="*/ 5641256 w 9397013"/>
              <a:gd name="connsiteY17-2340" fmla="*/ 4084 h 6925856"/>
              <a:gd name="connsiteX18-2341" fmla="*/ 6077099 w 9397013"/>
              <a:gd name="connsiteY18-2342" fmla="*/ 17286 h 6925856"/>
              <a:gd name="connsiteX19-2343" fmla="*/ 1580200 w 9397013"/>
              <a:gd name="connsiteY19-2344" fmla="*/ 5985735 h 6925856"/>
              <a:gd name="connsiteX20-2345" fmla="*/ 6958778 w 9397013"/>
              <a:gd name="connsiteY20-2346" fmla="*/ 6916619 h 6925856"/>
              <a:gd name="connsiteX21-2347" fmla="*/ 6560038 w 9397013"/>
              <a:gd name="connsiteY21-2348" fmla="*/ 6925855 h 6925856"/>
              <a:gd name="connsiteX22-2349" fmla="*/ 3849932 w 9397013"/>
              <a:gd name="connsiteY22-2350" fmla="*/ 3388318 h 6925856"/>
              <a:gd name="connsiteX23-2351" fmla="*/ 4086202 w 9397013"/>
              <a:gd name="connsiteY23-2352" fmla="*/ 3078877 h 6925856"/>
              <a:gd name="connsiteX24-2353" fmla="*/ 6958778 w 9397013"/>
              <a:gd name="connsiteY24-2354" fmla="*/ 6916619 h 6925856"/>
              <a:gd name="connsiteX25-2355" fmla="*/ 7777211 w 9397013"/>
              <a:gd name="connsiteY25-2356" fmla="*/ 6916620 h 6925856"/>
              <a:gd name="connsiteX26-2357" fmla="*/ 7324729 w 9397013"/>
              <a:gd name="connsiteY26-2358" fmla="*/ 6916620 h 6925856"/>
              <a:gd name="connsiteX27-2359" fmla="*/ 4245793 w 9397013"/>
              <a:gd name="connsiteY27-2360" fmla="*/ 2869862 h 6925856"/>
              <a:gd name="connsiteX28-2361" fmla="*/ 4490696 w 9397013"/>
              <a:gd name="connsiteY28-2362" fmla="*/ 2549117 h 6925856"/>
              <a:gd name="connsiteX29-2363" fmla="*/ 7777211 w 9397013"/>
              <a:gd name="connsiteY29-2364" fmla="*/ 6916620 h 6925856"/>
              <a:gd name="connsiteX30-2365" fmla="*/ 8567691 w 9397013"/>
              <a:gd name="connsiteY30-2366" fmla="*/ 6916619 h 6925856"/>
              <a:gd name="connsiteX31-2367" fmla="*/ 8159389 w 9397013"/>
              <a:gd name="connsiteY31-2368" fmla="*/ 6925856 h 6925856"/>
              <a:gd name="connsiteX32-2369" fmla="*/ 4650570 w 9397013"/>
              <a:gd name="connsiteY32-2370" fmla="*/ 2339732 h 6925856"/>
              <a:gd name="connsiteX33-2371" fmla="*/ 4869244 w 9397013"/>
              <a:gd name="connsiteY33-2372" fmla="*/ 2053337 h 6925856"/>
              <a:gd name="connsiteX34-2373" fmla="*/ 8567691 w 9397013"/>
              <a:gd name="connsiteY34-2374" fmla="*/ 6916619 h 6925856"/>
              <a:gd name="connsiteX35-2375" fmla="*/ 9397013 w 9397013"/>
              <a:gd name="connsiteY35-2376" fmla="*/ 6925855 h 6925856"/>
              <a:gd name="connsiteX36-2377" fmla="*/ 8921338 w 9397013"/>
              <a:gd name="connsiteY36-2378" fmla="*/ 6907383 h 6925856"/>
              <a:gd name="connsiteX37-2379" fmla="*/ 5045299 w 9397013"/>
              <a:gd name="connsiteY37-2380" fmla="*/ 1822761 h 6925856"/>
              <a:gd name="connsiteX38-2381" fmla="*/ 5273037 w 9397013"/>
              <a:gd name="connsiteY38-2382" fmla="*/ 1524494 h 6925856"/>
              <a:gd name="connsiteX39-2383" fmla="*/ 9397013 w 9397013"/>
              <a:gd name="connsiteY39-2384" fmla="*/ 6925855 h 6925856"/>
              <a:gd name="connsiteX0-2385" fmla="*/ 168369 w 9397013"/>
              <a:gd name="connsiteY0-2386" fmla="*/ 4571581 h 6925856"/>
              <a:gd name="connsiteX1-2387" fmla="*/ 0 w 9397013"/>
              <a:gd name="connsiteY1-2388" fmla="*/ 4200794 h 6925856"/>
              <a:gd name="connsiteX2-2389" fmla="*/ 3175788 w 9397013"/>
              <a:gd name="connsiteY2-2390" fmla="*/ 4084 h 6925856"/>
              <a:gd name="connsiteX3-2391" fmla="*/ 3628305 w 9397013"/>
              <a:gd name="connsiteY3-2392" fmla="*/ 0 h 6925856"/>
              <a:gd name="connsiteX4-2393" fmla="*/ 168369 w 9397013"/>
              <a:gd name="connsiteY4-2394" fmla="*/ 4571581 h 6925856"/>
              <a:gd name="connsiteX5-2395" fmla="*/ 1578111 w 9397013"/>
              <a:gd name="connsiteY5-2396" fmla="*/ 3835090 h 6925856"/>
              <a:gd name="connsiteX6-2397" fmla="*/ 1564463 w 9397013"/>
              <a:gd name="connsiteY6-2398" fmla="*/ 3206130 h 6925856"/>
              <a:gd name="connsiteX7-2399" fmla="*/ 3977147 w 9397013"/>
              <a:gd name="connsiteY7-2400" fmla="*/ 3723 h 6925856"/>
              <a:gd name="connsiteX8-2401" fmla="*/ 4465006 w 9397013"/>
              <a:gd name="connsiteY8-2402" fmla="*/ 840 h 6925856"/>
              <a:gd name="connsiteX9-2403" fmla="*/ 1578111 w 9397013"/>
              <a:gd name="connsiteY9-2404" fmla="*/ 3835090 h 6925856"/>
              <a:gd name="connsiteX10-2405" fmla="*/ 1573749 w 9397013"/>
              <a:gd name="connsiteY10-2406" fmla="*/ 4882781 h 6925856"/>
              <a:gd name="connsiteX11-2407" fmla="*/ 1550937 w 9397013"/>
              <a:gd name="connsiteY11-2408" fmla="*/ 4315002 h 6925856"/>
              <a:gd name="connsiteX12-2409" fmla="*/ 4805164 w 9397013"/>
              <a:gd name="connsiteY12-2410" fmla="*/ 4602 h 6925856"/>
              <a:gd name="connsiteX13-2411" fmla="*/ 5260238 w 9397013"/>
              <a:gd name="connsiteY13-2412" fmla="*/ 25779 h 6925856"/>
              <a:gd name="connsiteX14-2413" fmla="*/ 1573749 w 9397013"/>
              <a:gd name="connsiteY14-2414" fmla="*/ 4882781 h 6925856"/>
              <a:gd name="connsiteX15-2415" fmla="*/ 1580200 w 9397013"/>
              <a:gd name="connsiteY15-2416" fmla="*/ 5985735 h 6925856"/>
              <a:gd name="connsiteX16-2417" fmla="*/ 1566201 w 9397013"/>
              <a:gd name="connsiteY16-2418" fmla="*/ 5394811 h 6925856"/>
              <a:gd name="connsiteX17-2419" fmla="*/ 5641256 w 9397013"/>
              <a:gd name="connsiteY17-2420" fmla="*/ 4084 h 6925856"/>
              <a:gd name="connsiteX18-2421" fmla="*/ 6077099 w 9397013"/>
              <a:gd name="connsiteY18-2422" fmla="*/ 17286 h 6925856"/>
              <a:gd name="connsiteX19-2423" fmla="*/ 1580200 w 9397013"/>
              <a:gd name="connsiteY19-2424" fmla="*/ 5985735 h 6925856"/>
              <a:gd name="connsiteX20-2425" fmla="*/ 6958778 w 9397013"/>
              <a:gd name="connsiteY20-2426" fmla="*/ 6916619 h 6925856"/>
              <a:gd name="connsiteX21-2427" fmla="*/ 6560038 w 9397013"/>
              <a:gd name="connsiteY21-2428" fmla="*/ 6925855 h 6925856"/>
              <a:gd name="connsiteX22-2429" fmla="*/ 3849932 w 9397013"/>
              <a:gd name="connsiteY22-2430" fmla="*/ 3388318 h 6925856"/>
              <a:gd name="connsiteX23-2431" fmla="*/ 4086202 w 9397013"/>
              <a:gd name="connsiteY23-2432" fmla="*/ 3078877 h 6925856"/>
              <a:gd name="connsiteX24-2433" fmla="*/ 6958778 w 9397013"/>
              <a:gd name="connsiteY24-2434" fmla="*/ 6916619 h 6925856"/>
              <a:gd name="connsiteX25-2435" fmla="*/ 7777211 w 9397013"/>
              <a:gd name="connsiteY25-2436" fmla="*/ 6916620 h 6925856"/>
              <a:gd name="connsiteX26-2437" fmla="*/ 7324729 w 9397013"/>
              <a:gd name="connsiteY26-2438" fmla="*/ 6916620 h 6925856"/>
              <a:gd name="connsiteX27-2439" fmla="*/ 4245793 w 9397013"/>
              <a:gd name="connsiteY27-2440" fmla="*/ 2869862 h 6925856"/>
              <a:gd name="connsiteX28-2441" fmla="*/ 4490696 w 9397013"/>
              <a:gd name="connsiteY28-2442" fmla="*/ 2549117 h 6925856"/>
              <a:gd name="connsiteX29-2443" fmla="*/ 7777211 w 9397013"/>
              <a:gd name="connsiteY29-2444" fmla="*/ 6916620 h 6925856"/>
              <a:gd name="connsiteX30-2445" fmla="*/ 8567691 w 9397013"/>
              <a:gd name="connsiteY30-2446" fmla="*/ 6916619 h 6925856"/>
              <a:gd name="connsiteX31-2447" fmla="*/ 8159389 w 9397013"/>
              <a:gd name="connsiteY31-2448" fmla="*/ 6925856 h 6925856"/>
              <a:gd name="connsiteX32-2449" fmla="*/ 4650570 w 9397013"/>
              <a:gd name="connsiteY32-2450" fmla="*/ 2339732 h 6925856"/>
              <a:gd name="connsiteX33-2451" fmla="*/ 4869244 w 9397013"/>
              <a:gd name="connsiteY33-2452" fmla="*/ 2053337 h 6925856"/>
              <a:gd name="connsiteX34-2453" fmla="*/ 8567691 w 9397013"/>
              <a:gd name="connsiteY34-2454" fmla="*/ 6916619 h 6925856"/>
              <a:gd name="connsiteX35-2455" fmla="*/ 9397013 w 9397013"/>
              <a:gd name="connsiteY35-2456" fmla="*/ 6925855 h 6925856"/>
              <a:gd name="connsiteX36-2457" fmla="*/ 8921338 w 9397013"/>
              <a:gd name="connsiteY36-2458" fmla="*/ 6907383 h 6925856"/>
              <a:gd name="connsiteX37-2459" fmla="*/ 5045299 w 9397013"/>
              <a:gd name="connsiteY37-2460" fmla="*/ 1822761 h 6925856"/>
              <a:gd name="connsiteX38-2461" fmla="*/ 5273037 w 9397013"/>
              <a:gd name="connsiteY38-2462" fmla="*/ 1524494 h 6925856"/>
              <a:gd name="connsiteX39-2463" fmla="*/ 9397013 w 9397013"/>
              <a:gd name="connsiteY39-2464" fmla="*/ 6925855 h 6925856"/>
              <a:gd name="connsiteX0-2465" fmla="*/ 1572296 w 9397013"/>
              <a:gd name="connsiteY0-2466" fmla="*/ 2715072 h 6925856"/>
              <a:gd name="connsiteX1-2467" fmla="*/ 0 w 9397013"/>
              <a:gd name="connsiteY1-2468" fmla="*/ 4200794 h 6925856"/>
              <a:gd name="connsiteX2-2469" fmla="*/ 3175788 w 9397013"/>
              <a:gd name="connsiteY2-2470" fmla="*/ 4084 h 6925856"/>
              <a:gd name="connsiteX3-2471" fmla="*/ 3628305 w 9397013"/>
              <a:gd name="connsiteY3-2472" fmla="*/ 0 h 6925856"/>
              <a:gd name="connsiteX4-2473" fmla="*/ 1572296 w 9397013"/>
              <a:gd name="connsiteY4-2474" fmla="*/ 2715072 h 6925856"/>
              <a:gd name="connsiteX5-2475" fmla="*/ 1578111 w 9397013"/>
              <a:gd name="connsiteY5-2476" fmla="*/ 3835090 h 6925856"/>
              <a:gd name="connsiteX6-2477" fmla="*/ 1564463 w 9397013"/>
              <a:gd name="connsiteY6-2478" fmla="*/ 3206130 h 6925856"/>
              <a:gd name="connsiteX7-2479" fmla="*/ 3977147 w 9397013"/>
              <a:gd name="connsiteY7-2480" fmla="*/ 3723 h 6925856"/>
              <a:gd name="connsiteX8-2481" fmla="*/ 4465006 w 9397013"/>
              <a:gd name="connsiteY8-2482" fmla="*/ 840 h 6925856"/>
              <a:gd name="connsiteX9-2483" fmla="*/ 1578111 w 9397013"/>
              <a:gd name="connsiteY9-2484" fmla="*/ 3835090 h 6925856"/>
              <a:gd name="connsiteX10-2485" fmla="*/ 1573749 w 9397013"/>
              <a:gd name="connsiteY10-2486" fmla="*/ 4882781 h 6925856"/>
              <a:gd name="connsiteX11-2487" fmla="*/ 1550937 w 9397013"/>
              <a:gd name="connsiteY11-2488" fmla="*/ 4315002 h 6925856"/>
              <a:gd name="connsiteX12-2489" fmla="*/ 4805164 w 9397013"/>
              <a:gd name="connsiteY12-2490" fmla="*/ 4602 h 6925856"/>
              <a:gd name="connsiteX13-2491" fmla="*/ 5260238 w 9397013"/>
              <a:gd name="connsiteY13-2492" fmla="*/ 25779 h 6925856"/>
              <a:gd name="connsiteX14-2493" fmla="*/ 1573749 w 9397013"/>
              <a:gd name="connsiteY14-2494" fmla="*/ 4882781 h 6925856"/>
              <a:gd name="connsiteX15-2495" fmla="*/ 1580200 w 9397013"/>
              <a:gd name="connsiteY15-2496" fmla="*/ 5985735 h 6925856"/>
              <a:gd name="connsiteX16-2497" fmla="*/ 1566201 w 9397013"/>
              <a:gd name="connsiteY16-2498" fmla="*/ 5394811 h 6925856"/>
              <a:gd name="connsiteX17-2499" fmla="*/ 5641256 w 9397013"/>
              <a:gd name="connsiteY17-2500" fmla="*/ 4084 h 6925856"/>
              <a:gd name="connsiteX18-2501" fmla="*/ 6077099 w 9397013"/>
              <a:gd name="connsiteY18-2502" fmla="*/ 17286 h 6925856"/>
              <a:gd name="connsiteX19-2503" fmla="*/ 1580200 w 9397013"/>
              <a:gd name="connsiteY19-2504" fmla="*/ 5985735 h 6925856"/>
              <a:gd name="connsiteX20-2505" fmla="*/ 6958778 w 9397013"/>
              <a:gd name="connsiteY20-2506" fmla="*/ 6916619 h 6925856"/>
              <a:gd name="connsiteX21-2507" fmla="*/ 6560038 w 9397013"/>
              <a:gd name="connsiteY21-2508" fmla="*/ 6925855 h 6925856"/>
              <a:gd name="connsiteX22-2509" fmla="*/ 3849932 w 9397013"/>
              <a:gd name="connsiteY22-2510" fmla="*/ 3388318 h 6925856"/>
              <a:gd name="connsiteX23-2511" fmla="*/ 4086202 w 9397013"/>
              <a:gd name="connsiteY23-2512" fmla="*/ 3078877 h 6925856"/>
              <a:gd name="connsiteX24-2513" fmla="*/ 6958778 w 9397013"/>
              <a:gd name="connsiteY24-2514" fmla="*/ 6916619 h 6925856"/>
              <a:gd name="connsiteX25-2515" fmla="*/ 7777211 w 9397013"/>
              <a:gd name="connsiteY25-2516" fmla="*/ 6916620 h 6925856"/>
              <a:gd name="connsiteX26-2517" fmla="*/ 7324729 w 9397013"/>
              <a:gd name="connsiteY26-2518" fmla="*/ 6916620 h 6925856"/>
              <a:gd name="connsiteX27-2519" fmla="*/ 4245793 w 9397013"/>
              <a:gd name="connsiteY27-2520" fmla="*/ 2869862 h 6925856"/>
              <a:gd name="connsiteX28-2521" fmla="*/ 4490696 w 9397013"/>
              <a:gd name="connsiteY28-2522" fmla="*/ 2549117 h 6925856"/>
              <a:gd name="connsiteX29-2523" fmla="*/ 7777211 w 9397013"/>
              <a:gd name="connsiteY29-2524" fmla="*/ 6916620 h 6925856"/>
              <a:gd name="connsiteX30-2525" fmla="*/ 8567691 w 9397013"/>
              <a:gd name="connsiteY30-2526" fmla="*/ 6916619 h 6925856"/>
              <a:gd name="connsiteX31-2527" fmla="*/ 8159389 w 9397013"/>
              <a:gd name="connsiteY31-2528" fmla="*/ 6925856 h 6925856"/>
              <a:gd name="connsiteX32-2529" fmla="*/ 4650570 w 9397013"/>
              <a:gd name="connsiteY32-2530" fmla="*/ 2339732 h 6925856"/>
              <a:gd name="connsiteX33-2531" fmla="*/ 4869244 w 9397013"/>
              <a:gd name="connsiteY33-2532" fmla="*/ 2053337 h 6925856"/>
              <a:gd name="connsiteX34-2533" fmla="*/ 8567691 w 9397013"/>
              <a:gd name="connsiteY34-2534" fmla="*/ 6916619 h 6925856"/>
              <a:gd name="connsiteX35-2535" fmla="*/ 9397013 w 9397013"/>
              <a:gd name="connsiteY35-2536" fmla="*/ 6925855 h 6925856"/>
              <a:gd name="connsiteX36-2537" fmla="*/ 8921338 w 9397013"/>
              <a:gd name="connsiteY36-2538" fmla="*/ 6907383 h 6925856"/>
              <a:gd name="connsiteX37-2539" fmla="*/ 5045299 w 9397013"/>
              <a:gd name="connsiteY37-2540" fmla="*/ 1822761 h 6925856"/>
              <a:gd name="connsiteX38-2541" fmla="*/ 5273037 w 9397013"/>
              <a:gd name="connsiteY38-2542" fmla="*/ 1524494 h 6925856"/>
              <a:gd name="connsiteX39-2543" fmla="*/ 9397013 w 9397013"/>
              <a:gd name="connsiteY39-2544" fmla="*/ 6925855 h 6925856"/>
              <a:gd name="connsiteX0-2545" fmla="*/ 21359 w 7846076"/>
              <a:gd name="connsiteY0-2546" fmla="*/ 2715072 h 6925856"/>
              <a:gd name="connsiteX1-2547" fmla="*/ 28481 w 7846076"/>
              <a:gd name="connsiteY1-2548" fmla="*/ 2104139 h 6925856"/>
              <a:gd name="connsiteX2-2549" fmla="*/ 1624851 w 7846076"/>
              <a:gd name="connsiteY2-2550" fmla="*/ 4084 h 6925856"/>
              <a:gd name="connsiteX3-2551" fmla="*/ 2077368 w 7846076"/>
              <a:gd name="connsiteY3-2552" fmla="*/ 0 h 6925856"/>
              <a:gd name="connsiteX4-2553" fmla="*/ 21359 w 7846076"/>
              <a:gd name="connsiteY4-2554" fmla="*/ 2715072 h 6925856"/>
              <a:gd name="connsiteX5-2555" fmla="*/ 27174 w 7846076"/>
              <a:gd name="connsiteY5-2556" fmla="*/ 3835090 h 6925856"/>
              <a:gd name="connsiteX6-2557" fmla="*/ 13526 w 7846076"/>
              <a:gd name="connsiteY6-2558" fmla="*/ 3206130 h 6925856"/>
              <a:gd name="connsiteX7-2559" fmla="*/ 2426210 w 7846076"/>
              <a:gd name="connsiteY7-2560" fmla="*/ 3723 h 6925856"/>
              <a:gd name="connsiteX8-2561" fmla="*/ 2914069 w 7846076"/>
              <a:gd name="connsiteY8-2562" fmla="*/ 840 h 6925856"/>
              <a:gd name="connsiteX9-2563" fmla="*/ 27174 w 7846076"/>
              <a:gd name="connsiteY9-2564" fmla="*/ 3835090 h 6925856"/>
              <a:gd name="connsiteX10-2565" fmla="*/ 22812 w 7846076"/>
              <a:gd name="connsiteY10-2566" fmla="*/ 4882781 h 6925856"/>
              <a:gd name="connsiteX11-2567" fmla="*/ 0 w 7846076"/>
              <a:gd name="connsiteY11-2568" fmla="*/ 4315002 h 6925856"/>
              <a:gd name="connsiteX12-2569" fmla="*/ 3254227 w 7846076"/>
              <a:gd name="connsiteY12-2570" fmla="*/ 4602 h 6925856"/>
              <a:gd name="connsiteX13-2571" fmla="*/ 3709301 w 7846076"/>
              <a:gd name="connsiteY13-2572" fmla="*/ 25779 h 6925856"/>
              <a:gd name="connsiteX14-2573" fmla="*/ 22812 w 7846076"/>
              <a:gd name="connsiteY14-2574" fmla="*/ 4882781 h 6925856"/>
              <a:gd name="connsiteX15-2575" fmla="*/ 29263 w 7846076"/>
              <a:gd name="connsiteY15-2576" fmla="*/ 5985735 h 6925856"/>
              <a:gd name="connsiteX16-2577" fmla="*/ 15264 w 7846076"/>
              <a:gd name="connsiteY16-2578" fmla="*/ 5394811 h 6925856"/>
              <a:gd name="connsiteX17-2579" fmla="*/ 4090319 w 7846076"/>
              <a:gd name="connsiteY17-2580" fmla="*/ 4084 h 6925856"/>
              <a:gd name="connsiteX18-2581" fmla="*/ 4526162 w 7846076"/>
              <a:gd name="connsiteY18-2582" fmla="*/ 17286 h 6925856"/>
              <a:gd name="connsiteX19-2583" fmla="*/ 29263 w 7846076"/>
              <a:gd name="connsiteY19-2584" fmla="*/ 5985735 h 6925856"/>
              <a:gd name="connsiteX20-2585" fmla="*/ 5407841 w 7846076"/>
              <a:gd name="connsiteY20-2586" fmla="*/ 6916619 h 6925856"/>
              <a:gd name="connsiteX21-2587" fmla="*/ 5009101 w 7846076"/>
              <a:gd name="connsiteY21-2588" fmla="*/ 6925855 h 6925856"/>
              <a:gd name="connsiteX22-2589" fmla="*/ 2298995 w 7846076"/>
              <a:gd name="connsiteY22-2590" fmla="*/ 3388318 h 6925856"/>
              <a:gd name="connsiteX23-2591" fmla="*/ 2535265 w 7846076"/>
              <a:gd name="connsiteY23-2592" fmla="*/ 3078877 h 6925856"/>
              <a:gd name="connsiteX24-2593" fmla="*/ 5407841 w 7846076"/>
              <a:gd name="connsiteY24-2594" fmla="*/ 6916619 h 6925856"/>
              <a:gd name="connsiteX25-2595" fmla="*/ 6226274 w 7846076"/>
              <a:gd name="connsiteY25-2596" fmla="*/ 6916620 h 6925856"/>
              <a:gd name="connsiteX26-2597" fmla="*/ 5773792 w 7846076"/>
              <a:gd name="connsiteY26-2598" fmla="*/ 6916620 h 6925856"/>
              <a:gd name="connsiteX27-2599" fmla="*/ 2694856 w 7846076"/>
              <a:gd name="connsiteY27-2600" fmla="*/ 2869862 h 6925856"/>
              <a:gd name="connsiteX28-2601" fmla="*/ 2939759 w 7846076"/>
              <a:gd name="connsiteY28-2602" fmla="*/ 2549117 h 6925856"/>
              <a:gd name="connsiteX29-2603" fmla="*/ 6226274 w 7846076"/>
              <a:gd name="connsiteY29-2604" fmla="*/ 6916620 h 6925856"/>
              <a:gd name="connsiteX30-2605" fmla="*/ 7016754 w 7846076"/>
              <a:gd name="connsiteY30-2606" fmla="*/ 6916619 h 6925856"/>
              <a:gd name="connsiteX31-2607" fmla="*/ 6608452 w 7846076"/>
              <a:gd name="connsiteY31-2608" fmla="*/ 6925856 h 6925856"/>
              <a:gd name="connsiteX32-2609" fmla="*/ 3099633 w 7846076"/>
              <a:gd name="connsiteY32-2610" fmla="*/ 2339732 h 6925856"/>
              <a:gd name="connsiteX33-2611" fmla="*/ 3318307 w 7846076"/>
              <a:gd name="connsiteY33-2612" fmla="*/ 2053337 h 6925856"/>
              <a:gd name="connsiteX34-2613" fmla="*/ 7016754 w 7846076"/>
              <a:gd name="connsiteY34-2614" fmla="*/ 6916619 h 6925856"/>
              <a:gd name="connsiteX35-2615" fmla="*/ 7846076 w 7846076"/>
              <a:gd name="connsiteY35-2616" fmla="*/ 6925855 h 6925856"/>
              <a:gd name="connsiteX36-2617" fmla="*/ 7370401 w 7846076"/>
              <a:gd name="connsiteY36-2618" fmla="*/ 6907383 h 6925856"/>
              <a:gd name="connsiteX37-2619" fmla="*/ 3494362 w 7846076"/>
              <a:gd name="connsiteY37-2620" fmla="*/ 1822761 h 6925856"/>
              <a:gd name="connsiteX38-2621" fmla="*/ 3722100 w 7846076"/>
              <a:gd name="connsiteY38-2622" fmla="*/ 1524494 h 6925856"/>
              <a:gd name="connsiteX39-2623" fmla="*/ 7846076 w 7846076"/>
              <a:gd name="connsiteY39-2624" fmla="*/ 6925855 h 692585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129" y="connsiteY32-130"/>
              </a:cxn>
              <a:cxn ang="0">
                <a:pos x="connsiteX33-131" y="connsiteY33-132"/>
              </a:cxn>
              <a:cxn ang="0">
                <a:pos x="connsiteX34-133" y="connsiteY34-134"/>
              </a:cxn>
              <a:cxn ang="0">
                <a:pos x="connsiteX35-135" y="connsiteY35-136"/>
              </a:cxn>
              <a:cxn ang="0">
                <a:pos x="connsiteX36-137" y="connsiteY36-138"/>
              </a:cxn>
              <a:cxn ang="0">
                <a:pos x="connsiteX37-139" y="connsiteY37-140"/>
              </a:cxn>
              <a:cxn ang="0">
                <a:pos x="connsiteX38-141" y="connsiteY38-142"/>
              </a:cxn>
              <a:cxn ang="0">
                <a:pos x="connsiteX39-143" y="connsiteY39-144"/>
              </a:cxn>
            </a:cxnLst>
            <a:rect l="l" t="t" r="r" b="b"/>
            <a:pathLst>
              <a:path w="7846076" h="6925856">
                <a:moveTo>
                  <a:pt x="21359" y="2715072"/>
                </a:moveTo>
                <a:lnTo>
                  <a:pt x="28481" y="2104139"/>
                </a:lnTo>
                <a:lnTo>
                  <a:pt x="1624851" y="4084"/>
                </a:lnTo>
                <a:lnTo>
                  <a:pt x="2077368" y="0"/>
                </a:lnTo>
                <a:lnTo>
                  <a:pt x="21359" y="2715072"/>
                </a:lnTo>
                <a:close/>
                <a:moveTo>
                  <a:pt x="27174" y="3835090"/>
                </a:moveTo>
                <a:lnTo>
                  <a:pt x="13526" y="3206130"/>
                </a:lnTo>
                <a:lnTo>
                  <a:pt x="2426210" y="3723"/>
                </a:lnTo>
                <a:lnTo>
                  <a:pt x="2914069" y="840"/>
                </a:lnTo>
                <a:lnTo>
                  <a:pt x="27174" y="3835090"/>
                </a:lnTo>
                <a:close/>
                <a:moveTo>
                  <a:pt x="22812" y="4882781"/>
                </a:moveTo>
                <a:lnTo>
                  <a:pt x="0" y="4315002"/>
                </a:lnTo>
                <a:lnTo>
                  <a:pt x="3254227" y="4602"/>
                </a:lnTo>
                <a:lnTo>
                  <a:pt x="3709301" y="25779"/>
                </a:lnTo>
                <a:lnTo>
                  <a:pt x="22812" y="4882781"/>
                </a:lnTo>
                <a:close/>
                <a:moveTo>
                  <a:pt x="29263" y="5985735"/>
                </a:moveTo>
                <a:lnTo>
                  <a:pt x="15264" y="5394811"/>
                </a:lnTo>
                <a:lnTo>
                  <a:pt x="4090319" y="4084"/>
                </a:lnTo>
                <a:lnTo>
                  <a:pt x="4526162" y="17286"/>
                </a:lnTo>
                <a:lnTo>
                  <a:pt x="29263" y="5985735"/>
                </a:lnTo>
                <a:close/>
                <a:moveTo>
                  <a:pt x="5407841" y="6916619"/>
                </a:moveTo>
                <a:lnTo>
                  <a:pt x="5009101" y="6925855"/>
                </a:lnTo>
                <a:lnTo>
                  <a:pt x="2298995" y="3388318"/>
                </a:lnTo>
                <a:lnTo>
                  <a:pt x="2535265" y="3078877"/>
                </a:lnTo>
                <a:lnTo>
                  <a:pt x="5407841" y="6916619"/>
                </a:lnTo>
                <a:close/>
                <a:moveTo>
                  <a:pt x="6226274" y="6916620"/>
                </a:moveTo>
                <a:lnTo>
                  <a:pt x="5773792" y="6916620"/>
                </a:lnTo>
                <a:lnTo>
                  <a:pt x="2694856" y="2869862"/>
                </a:lnTo>
                <a:lnTo>
                  <a:pt x="2939759" y="2549117"/>
                </a:lnTo>
                <a:lnTo>
                  <a:pt x="6226274" y="6916620"/>
                </a:lnTo>
                <a:close/>
                <a:moveTo>
                  <a:pt x="7016754" y="6916619"/>
                </a:moveTo>
                <a:lnTo>
                  <a:pt x="6608452" y="6925856"/>
                </a:lnTo>
                <a:lnTo>
                  <a:pt x="3099633" y="2339732"/>
                </a:lnTo>
                <a:lnTo>
                  <a:pt x="3318307" y="2053337"/>
                </a:lnTo>
                <a:lnTo>
                  <a:pt x="7016754" y="6916619"/>
                </a:lnTo>
                <a:close/>
                <a:moveTo>
                  <a:pt x="7846076" y="6925855"/>
                </a:moveTo>
                <a:lnTo>
                  <a:pt x="7370401" y="6907383"/>
                </a:lnTo>
                <a:lnTo>
                  <a:pt x="3494362" y="1822761"/>
                </a:lnTo>
                <a:lnTo>
                  <a:pt x="3722100" y="1524494"/>
                </a:lnTo>
                <a:lnTo>
                  <a:pt x="7846076" y="6925855"/>
                </a:lnTo>
                <a:close/>
              </a:path>
            </a:pathLst>
          </a:custGeom>
          <a:solidFill>
            <a:schemeClr val="bg1">
              <a:lumMod val="9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5" name="文本框 4"/>
          <p:cNvSpPr txBox="1"/>
          <p:nvPr/>
        </p:nvSpPr>
        <p:spPr>
          <a:xfrm>
            <a:off x="641380" y="1304455"/>
            <a:ext cx="10243956" cy="2118529"/>
          </a:xfrm>
          <a:prstGeom prst="rect">
            <a:avLst/>
          </a:prstGeom>
          <a:noFill/>
        </p:spPr>
        <p:txBody>
          <a:bodyPr wrap="square" rtlCol="0">
            <a:spAutoFit/>
          </a:bodyPr>
          <a:lstStyle/>
          <a:p>
            <a:pPr>
              <a:lnSpc>
                <a:spcPct val="150000"/>
              </a:lnSpc>
            </a:pPr>
            <a:r>
              <a:rPr lang="zh-CN" altLang="en-US" dirty="0"/>
              <a:t>将更长的投录时间视为科学论文在评审过程中遭遇延迟认可的标志，本研究尝试探索以下研究问题：</a:t>
            </a:r>
            <a:endParaRPr lang="en-US" altLang="zh-CN" dirty="0"/>
          </a:p>
          <a:p>
            <a:pPr>
              <a:lnSpc>
                <a:spcPct val="150000"/>
              </a:lnSpc>
            </a:pPr>
            <a:endParaRPr lang="en-US" altLang="zh-CN" dirty="0"/>
          </a:p>
          <a:p>
            <a:pPr marL="285750" indent="-285750">
              <a:lnSpc>
                <a:spcPct val="150000"/>
              </a:lnSpc>
              <a:buFont typeface="Arial" panose="020B0604020202020204" pitchFamily="34" charset="0"/>
              <a:buChar char="•"/>
            </a:pPr>
            <a:r>
              <a:rPr lang="zh-CN" altLang="en-US" dirty="0"/>
              <a:t>具有更高创新性的科学论文是否会比其他科学论文经历更长的投录时间？</a:t>
            </a:r>
            <a:endParaRPr lang="en-US" altLang="zh-CN" dirty="0"/>
          </a:p>
          <a:p>
            <a:pPr marL="285750" indent="-285750">
              <a:lnSpc>
                <a:spcPct val="150000"/>
              </a:lnSpc>
              <a:buFont typeface="Arial" panose="020B0604020202020204" pitchFamily="34" charset="0"/>
              <a:buChar char="•"/>
            </a:pPr>
            <a:r>
              <a:rPr lang="zh-CN" altLang="en-US" dirty="0"/>
              <a:t>期刊、作者和机构的声望如何在“创新性</a:t>
            </a:r>
            <a:r>
              <a:rPr lang="en-US" altLang="zh-CN" dirty="0"/>
              <a:t>-</a:t>
            </a:r>
            <a:r>
              <a:rPr lang="zh-CN" altLang="en-US" dirty="0"/>
              <a:t>投录时间”的关系中发挥调节作用？</a:t>
            </a:r>
            <a:endParaRPr lang="en-US" altLang="zh-CN" dirty="0"/>
          </a:p>
          <a:p>
            <a:pPr marL="285750" indent="-285750">
              <a:lnSpc>
                <a:spcPct val="150000"/>
              </a:lnSpc>
              <a:buFont typeface="Arial" panose="020B0604020202020204" pitchFamily="34" charset="0"/>
              <a:buChar char="•"/>
            </a:pPr>
            <a:r>
              <a:rPr lang="zh-CN" altLang="en-US" dirty="0"/>
              <a:t>论文创新性、投录时间、影响力之间存在什么样的相关关系？</a:t>
            </a:r>
            <a:endParaRPr lang="en-US" altLang="zh-CN" dirty="0"/>
          </a:p>
        </p:txBody>
      </p:sp>
    </p:spTree>
    <p:custDataLst>
      <p:tags r:id="rId1"/>
    </p:custData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iṣlide"/>
        <p:cNvGrpSpPr/>
        <p:nvPr/>
      </p:nvGrpSpPr>
      <p:grpSpPr>
        <a:xfrm>
          <a:off x="0" y="0"/>
          <a:ext cx="0" cy="0"/>
          <a:chOff x="0" y="0"/>
          <a:chExt cx="0" cy="0"/>
        </a:xfrm>
      </p:grpSpPr>
      <p:sp>
        <p:nvSpPr>
          <p:cNvPr id="2" name="íšľîḓê"/>
          <p:cNvSpPr>
            <a:spLocks noGrp="1"/>
          </p:cNvSpPr>
          <p:nvPr>
            <p:ph type="title"/>
          </p:nvPr>
        </p:nvSpPr>
        <p:spPr/>
        <p:txBody>
          <a:bodyPr/>
          <a:lstStyle/>
          <a:p>
            <a:r>
              <a:rPr lang="en-US" altLang="zh-CN" dirty="0"/>
              <a:t>3. </a:t>
            </a:r>
            <a:r>
              <a:rPr lang="zh-CN" altLang="en-US" dirty="0"/>
              <a:t>研究方法</a:t>
            </a:r>
            <a:endParaRPr lang="zh-CN" altLang="en-US" dirty="0"/>
          </a:p>
        </p:txBody>
      </p:sp>
      <p:sp>
        <p:nvSpPr>
          <p:cNvPr id="4" name="ïṣḷide"/>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110" name="íṥļîďè"/>
          <p:cNvSpPr/>
          <p:nvPr/>
        </p:nvSpPr>
        <p:spPr>
          <a:xfrm rot="10800000">
            <a:off x="4396104" y="0"/>
            <a:ext cx="7846076" cy="6857999"/>
          </a:xfrm>
          <a:custGeom>
            <a:avLst/>
            <a:gdLst>
              <a:gd name="connsiteX0" fmla="*/ 168369 w 9517086"/>
              <a:gd name="connsiteY0" fmla="*/ 4779933 h 7291226"/>
              <a:gd name="connsiteX1" fmla="*/ 0 w 9517086"/>
              <a:gd name="connsiteY1" fmla="*/ 4409146 h 7291226"/>
              <a:gd name="connsiteX2" fmla="*/ 3332806 w 9517086"/>
              <a:gd name="connsiteY2" fmla="*/ 0 h 7291226"/>
              <a:gd name="connsiteX3" fmla="*/ 3794560 w 9517086"/>
              <a:gd name="connsiteY3" fmla="*/ 32861 h 7291226"/>
              <a:gd name="connsiteX4" fmla="*/ 488220 w 9517086"/>
              <a:gd name="connsiteY4" fmla="*/ 5484315 h 7291226"/>
              <a:gd name="connsiteX5" fmla="*/ 299082 w 9517086"/>
              <a:gd name="connsiteY5" fmla="*/ 5067791 h 7291226"/>
              <a:gd name="connsiteX6" fmla="*/ 4106456 w 9517086"/>
              <a:gd name="connsiteY6" fmla="*/ 55057 h 7291226"/>
              <a:gd name="connsiteX7" fmla="*/ 4585079 w 9517086"/>
              <a:gd name="connsiteY7" fmla="*/ 89119 h 7291226"/>
              <a:gd name="connsiteX8" fmla="*/ 779421 w 9517086"/>
              <a:gd name="connsiteY8" fmla="*/ 6125606 h 7291226"/>
              <a:gd name="connsiteX9" fmla="*/ 618065 w 9517086"/>
              <a:gd name="connsiteY9" fmla="*/ 5770263 h 7291226"/>
              <a:gd name="connsiteX10" fmla="*/ 4897528 w 9517086"/>
              <a:gd name="connsiteY10" fmla="*/ 111354 h 7291226"/>
              <a:gd name="connsiteX11" fmla="*/ 5324893 w 9517086"/>
              <a:gd name="connsiteY11" fmla="*/ 141768 h 7291226"/>
              <a:gd name="connsiteX12" fmla="*/ 1099910 w 9517086"/>
              <a:gd name="connsiteY12" fmla="*/ 6831395 h 7291226"/>
              <a:gd name="connsiteX13" fmla="*/ 919656 w 9517086"/>
              <a:gd name="connsiteY13" fmla="*/ 6434435 h 7291226"/>
              <a:gd name="connsiteX14" fmla="*/ 5668965 w 9517086"/>
              <a:gd name="connsiteY14" fmla="*/ 166254 h 7291226"/>
              <a:gd name="connsiteX15" fmla="*/ 6114044 w 9517086"/>
              <a:gd name="connsiteY15" fmla="*/ 197929 h 7291226"/>
              <a:gd name="connsiteX16" fmla="*/ 7106560 w 9517086"/>
              <a:gd name="connsiteY16" fmla="*/ 7291226 h 7291226"/>
              <a:gd name="connsiteX17" fmla="*/ 6670875 w 9517086"/>
              <a:gd name="connsiteY17" fmla="*/ 7291226 h 7291226"/>
              <a:gd name="connsiteX18" fmla="*/ 3849932 w 9517086"/>
              <a:gd name="connsiteY18" fmla="*/ 3596670 h 7291226"/>
              <a:gd name="connsiteX19" fmla="*/ 4086202 w 9517086"/>
              <a:gd name="connsiteY19" fmla="*/ 3287229 h 7291226"/>
              <a:gd name="connsiteX20" fmla="*/ 7934229 w 9517086"/>
              <a:gd name="connsiteY20" fmla="*/ 7291226 h 7291226"/>
              <a:gd name="connsiteX21" fmla="*/ 7444802 w 9517086"/>
              <a:gd name="connsiteY21" fmla="*/ 7291226 h 7291226"/>
              <a:gd name="connsiteX22" fmla="*/ 4245793 w 9517086"/>
              <a:gd name="connsiteY22" fmla="*/ 3078214 h 7291226"/>
              <a:gd name="connsiteX23" fmla="*/ 4490696 w 9517086"/>
              <a:gd name="connsiteY23" fmla="*/ 2757469 h 7291226"/>
              <a:gd name="connsiteX24" fmla="*/ 8687764 w 9517086"/>
              <a:gd name="connsiteY24" fmla="*/ 7291226 h 7291226"/>
              <a:gd name="connsiteX25" fmla="*/ 8270226 w 9517086"/>
              <a:gd name="connsiteY25" fmla="*/ 7291226 h 7291226"/>
              <a:gd name="connsiteX26" fmla="*/ 4650570 w 9517086"/>
              <a:gd name="connsiteY26" fmla="*/ 2548084 h 7291226"/>
              <a:gd name="connsiteX27" fmla="*/ 4869244 w 9517086"/>
              <a:gd name="connsiteY27" fmla="*/ 2261689 h 7291226"/>
              <a:gd name="connsiteX28" fmla="*/ 9517086 w 9517086"/>
              <a:gd name="connsiteY28" fmla="*/ 7291226 h 7291226"/>
              <a:gd name="connsiteX29" fmla="*/ 9050647 w 9517086"/>
              <a:gd name="connsiteY29" fmla="*/ 7291226 h 7291226"/>
              <a:gd name="connsiteX30" fmla="*/ 5045299 w 9517086"/>
              <a:gd name="connsiteY30" fmla="*/ 2031113 h 7291226"/>
              <a:gd name="connsiteX31" fmla="*/ 5273037 w 9517086"/>
              <a:gd name="connsiteY31" fmla="*/ 1732846 h 7291226"/>
              <a:gd name="connsiteX0-1" fmla="*/ 168369 w 9378540"/>
              <a:gd name="connsiteY0-2" fmla="*/ 4779933 h 7291226"/>
              <a:gd name="connsiteX1-3" fmla="*/ 0 w 9378540"/>
              <a:gd name="connsiteY1-4" fmla="*/ 4409146 h 7291226"/>
              <a:gd name="connsiteX2-5" fmla="*/ 3332806 w 9378540"/>
              <a:gd name="connsiteY2-6" fmla="*/ 0 h 7291226"/>
              <a:gd name="connsiteX3-7" fmla="*/ 3794560 w 9378540"/>
              <a:gd name="connsiteY3-8" fmla="*/ 32861 h 7291226"/>
              <a:gd name="connsiteX4-9" fmla="*/ 168369 w 9378540"/>
              <a:gd name="connsiteY4-10" fmla="*/ 4779933 h 7291226"/>
              <a:gd name="connsiteX5-11" fmla="*/ 488220 w 9378540"/>
              <a:gd name="connsiteY5-12" fmla="*/ 5484315 h 7291226"/>
              <a:gd name="connsiteX6-13" fmla="*/ 299082 w 9378540"/>
              <a:gd name="connsiteY6-14" fmla="*/ 5067791 h 7291226"/>
              <a:gd name="connsiteX7-15" fmla="*/ 4106456 w 9378540"/>
              <a:gd name="connsiteY7-16" fmla="*/ 55057 h 7291226"/>
              <a:gd name="connsiteX8-17" fmla="*/ 4585079 w 9378540"/>
              <a:gd name="connsiteY8-18" fmla="*/ 89119 h 7291226"/>
              <a:gd name="connsiteX9-19" fmla="*/ 488220 w 9378540"/>
              <a:gd name="connsiteY9-20" fmla="*/ 5484315 h 7291226"/>
              <a:gd name="connsiteX10-21" fmla="*/ 779421 w 9378540"/>
              <a:gd name="connsiteY10-22" fmla="*/ 6125606 h 7291226"/>
              <a:gd name="connsiteX11-23" fmla="*/ 618065 w 9378540"/>
              <a:gd name="connsiteY11-24" fmla="*/ 5770263 h 7291226"/>
              <a:gd name="connsiteX12-25" fmla="*/ 4897528 w 9378540"/>
              <a:gd name="connsiteY12-26" fmla="*/ 111354 h 7291226"/>
              <a:gd name="connsiteX13-27" fmla="*/ 5324893 w 9378540"/>
              <a:gd name="connsiteY13-28" fmla="*/ 141768 h 7291226"/>
              <a:gd name="connsiteX14-29" fmla="*/ 779421 w 9378540"/>
              <a:gd name="connsiteY14-30" fmla="*/ 6125606 h 7291226"/>
              <a:gd name="connsiteX15-31" fmla="*/ 1099910 w 9378540"/>
              <a:gd name="connsiteY15-32" fmla="*/ 6831395 h 7291226"/>
              <a:gd name="connsiteX16-33" fmla="*/ 919656 w 9378540"/>
              <a:gd name="connsiteY16-34" fmla="*/ 6434435 h 7291226"/>
              <a:gd name="connsiteX17-35" fmla="*/ 5668965 w 9378540"/>
              <a:gd name="connsiteY17-36" fmla="*/ 166254 h 7291226"/>
              <a:gd name="connsiteX18-37" fmla="*/ 6114044 w 9378540"/>
              <a:gd name="connsiteY18-38" fmla="*/ 197929 h 7291226"/>
              <a:gd name="connsiteX19-39" fmla="*/ 1099910 w 9378540"/>
              <a:gd name="connsiteY19-40" fmla="*/ 6831395 h 7291226"/>
              <a:gd name="connsiteX20-41" fmla="*/ 7106560 w 9378540"/>
              <a:gd name="connsiteY20-42" fmla="*/ 7291226 h 7291226"/>
              <a:gd name="connsiteX21-43" fmla="*/ 6670875 w 9378540"/>
              <a:gd name="connsiteY21-44" fmla="*/ 7291226 h 7291226"/>
              <a:gd name="connsiteX22-45" fmla="*/ 3849932 w 9378540"/>
              <a:gd name="connsiteY22-46" fmla="*/ 3596670 h 7291226"/>
              <a:gd name="connsiteX23-47" fmla="*/ 4086202 w 9378540"/>
              <a:gd name="connsiteY23-48" fmla="*/ 3287229 h 7291226"/>
              <a:gd name="connsiteX24-49" fmla="*/ 7106560 w 9378540"/>
              <a:gd name="connsiteY24-50" fmla="*/ 7291226 h 7291226"/>
              <a:gd name="connsiteX25-51" fmla="*/ 7934229 w 9378540"/>
              <a:gd name="connsiteY25-52" fmla="*/ 7291226 h 7291226"/>
              <a:gd name="connsiteX26-53" fmla="*/ 7444802 w 9378540"/>
              <a:gd name="connsiteY26-54" fmla="*/ 7291226 h 7291226"/>
              <a:gd name="connsiteX27-55" fmla="*/ 4245793 w 9378540"/>
              <a:gd name="connsiteY27-56" fmla="*/ 3078214 h 7291226"/>
              <a:gd name="connsiteX28-57" fmla="*/ 4490696 w 9378540"/>
              <a:gd name="connsiteY28-58" fmla="*/ 2757469 h 7291226"/>
              <a:gd name="connsiteX29-59" fmla="*/ 7934229 w 9378540"/>
              <a:gd name="connsiteY29-60" fmla="*/ 7291226 h 7291226"/>
              <a:gd name="connsiteX30-61" fmla="*/ 8687764 w 9378540"/>
              <a:gd name="connsiteY30-62" fmla="*/ 7291226 h 7291226"/>
              <a:gd name="connsiteX31-63" fmla="*/ 8270226 w 9378540"/>
              <a:gd name="connsiteY31-64" fmla="*/ 7291226 h 7291226"/>
              <a:gd name="connsiteX32" fmla="*/ 4650570 w 9378540"/>
              <a:gd name="connsiteY32" fmla="*/ 2548084 h 7291226"/>
              <a:gd name="connsiteX33" fmla="*/ 4869244 w 9378540"/>
              <a:gd name="connsiteY33" fmla="*/ 2261689 h 7291226"/>
              <a:gd name="connsiteX34" fmla="*/ 8687764 w 9378540"/>
              <a:gd name="connsiteY34" fmla="*/ 7291226 h 7291226"/>
              <a:gd name="connsiteX35" fmla="*/ 9378540 w 9378540"/>
              <a:gd name="connsiteY35" fmla="*/ 7097262 h 7291226"/>
              <a:gd name="connsiteX36" fmla="*/ 9050647 w 9378540"/>
              <a:gd name="connsiteY36" fmla="*/ 7291226 h 7291226"/>
              <a:gd name="connsiteX37" fmla="*/ 5045299 w 9378540"/>
              <a:gd name="connsiteY37" fmla="*/ 2031113 h 7291226"/>
              <a:gd name="connsiteX38" fmla="*/ 5273037 w 9378540"/>
              <a:gd name="connsiteY38" fmla="*/ 1732846 h 7291226"/>
              <a:gd name="connsiteX39" fmla="*/ 9378540 w 9378540"/>
              <a:gd name="connsiteY39" fmla="*/ 7097262 h 7291226"/>
              <a:gd name="connsiteX0-65" fmla="*/ 168369 w 9378540"/>
              <a:gd name="connsiteY0-66" fmla="*/ 4779933 h 7291226"/>
              <a:gd name="connsiteX1-67" fmla="*/ 0 w 9378540"/>
              <a:gd name="connsiteY1-68" fmla="*/ 4409146 h 7291226"/>
              <a:gd name="connsiteX2-69" fmla="*/ 3332806 w 9378540"/>
              <a:gd name="connsiteY2-70" fmla="*/ 0 h 7291226"/>
              <a:gd name="connsiteX3-71" fmla="*/ 3794560 w 9378540"/>
              <a:gd name="connsiteY3-72" fmla="*/ 32861 h 7291226"/>
              <a:gd name="connsiteX4-73" fmla="*/ 168369 w 9378540"/>
              <a:gd name="connsiteY4-74" fmla="*/ 4779933 h 7291226"/>
              <a:gd name="connsiteX5-75" fmla="*/ 488220 w 9378540"/>
              <a:gd name="connsiteY5-76" fmla="*/ 5484315 h 7291226"/>
              <a:gd name="connsiteX6-77" fmla="*/ 299082 w 9378540"/>
              <a:gd name="connsiteY6-78" fmla="*/ 5067791 h 7291226"/>
              <a:gd name="connsiteX7-79" fmla="*/ 4106456 w 9378540"/>
              <a:gd name="connsiteY7-80" fmla="*/ 55057 h 7291226"/>
              <a:gd name="connsiteX8-81" fmla="*/ 4585079 w 9378540"/>
              <a:gd name="connsiteY8-82" fmla="*/ 89119 h 7291226"/>
              <a:gd name="connsiteX9-83" fmla="*/ 488220 w 9378540"/>
              <a:gd name="connsiteY9-84" fmla="*/ 5484315 h 7291226"/>
              <a:gd name="connsiteX10-85" fmla="*/ 779421 w 9378540"/>
              <a:gd name="connsiteY10-86" fmla="*/ 6125606 h 7291226"/>
              <a:gd name="connsiteX11-87" fmla="*/ 618065 w 9378540"/>
              <a:gd name="connsiteY11-88" fmla="*/ 5770263 h 7291226"/>
              <a:gd name="connsiteX12-89" fmla="*/ 4897528 w 9378540"/>
              <a:gd name="connsiteY12-90" fmla="*/ 111354 h 7291226"/>
              <a:gd name="connsiteX13-91" fmla="*/ 5324893 w 9378540"/>
              <a:gd name="connsiteY13-92" fmla="*/ 141768 h 7291226"/>
              <a:gd name="connsiteX14-93" fmla="*/ 779421 w 9378540"/>
              <a:gd name="connsiteY14-94" fmla="*/ 6125606 h 7291226"/>
              <a:gd name="connsiteX15-95" fmla="*/ 1099910 w 9378540"/>
              <a:gd name="connsiteY15-96" fmla="*/ 6831395 h 7291226"/>
              <a:gd name="connsiteX16-97" fmla="*/ 919656 w 9378540"/>
              <a:gd name="connsiteY16-98" fmla="*/ 6434435 h 7291226"/>
              <a:gd name="connsiteX17-99" fmla="*/ 5668965 w 9378540"/>
              <a:gd name="connsiteY17-100" fmla="*/ 166254 h 7291226"/>
              <a:gd name="connsiteX18-101" fmla="*/ 6114044 w 9378540"/>
              <a:gd name="connsiteY18-102" fmla="*/ 197929 h 7291226"/>
              <a:gd name="connsiteX19-103" fmla="*/ 1099910 w 9378540"/>
              <a:gd name="connsiteY19-104" fmla="*/ 6831395 h 7291226"/>
              <a:gd name="connsiteX20-105" fmla="*/ 7106560 w 9378540"/>
              <a:gd name="connsiteY20-106" fmla="*/ 7291226 h 7291226"/>
              <a:gd name="connsiteX21-107" fmla="*/ 6670875 w 9378540"/>
              <a:gd name="connsiteY21-108" fmla="*/ 7291226 h 7291226"/>
              <a:gd name="connsiteX22-109" fmla="*/ 3849932 w 9378540"/>
              <a:gd name="connsiteY22-110" fmla="*/ 3596670 h 7291226"/>
              <a:gd name="connsiteX23-111" fmla="*/ 4086202 w 9378540"/>
              <a:gd name="connsiteY23-112" fmla="*/ 3287229 h 7291226"/>
              <a:gd name="connsiteX24-113" fmla="*/ 7106560 w 9378540"/>
              <a:gd name="connsiteY24-114" fmla="*/ 7291226 h 7291226"/>
              <a:gd name="connsiteX25-115" fmla="*/ 7934229 w 9378540"/>
              <a:gd name="connsiteY25-116" fmla="*/ 7291226 h 7291226"/>
              <a:gd name="connsiteX26-117" fmla="*/ 7444802 w 9378540"/>
              <a:gd name="connsiteY26-118" fmla="*/ 7291226 h 7291226"/>
              <a:gd name="connsiteX27-119" fmla="*/ 4245793 w 9378540"/>
              <a:gd name="connsiteY27-120" fmla="*/ 3078214 h 7291226"/>
              <a:gd name="connsiteX28-121" fmla="*/ 4490696 w 9378540"/>
              <a:gd name="connsiteY28-122" fmla="*/ 2757469 h 7291226"/>
              <a:gd name="connsiteX29-123" fmla="*/ 7934229 w 9378540"/>
              <a:gd name="connsiteY29-124" fmla="*/ 7291226 h 7291226"/>
              <a:gd name="connsiteX30-125" fmla="*/ 8687764 w 9378540"/>
              <a:gd name="connsiteY30-126" fmla="*/ 7291226 h 7291226"/>
              <a:gd name="connsiteX31-127" fmla="*/ 8270226 w 9378540"/>
              <a:gd name="connsiteY31-128" fmla="*/ 7291226 h 7291226"/>
              <a:gd name="connsiteX32-129" fmla="*/ 4650570 w 9378540"/>
              <a:gd name="connsiteY32-130" fmla="*/ 2548084 h 7291226"/>
              <a:gd name="connsiteX33-131" fmla="*/ 4869244 w 9378540"/>
              <a:gd name="connsiteY33-132" fmla="*/ 2261689 h 7291226"/>
              <a:gd name="connsiteX34-133" fmla="*/ 8687764 w 9378540"/>
              <a:gd name="connsiteY34-134" fmla="*/ 7291226 h 7291226"/>
              <a:gd name="connsiteX35-135" fmla="*/ 9378540 w 9378540"/>
              <a:gd name="connsiteY35-136" fmla="*/ 7097262 h 7291226"/>
              <a:gd name="connsiteX36-137" fmla="*/ 8921338 w 9378540"/>
              <a:gd name="connsiteY36-138" fmla="*/ 7115735 h 7291226"/>
              <a:gd name="connsiteX37-139" fmla="*/ 5045299 w 9378540"/>
              <a:gd name="connsiteY37-140" fmla="*/ 2031113 h 7291226"/>
              <a:gd name="connsiteX38-141" fmla="*/ 5273037 w 9378540"/>
              <a:gd name="connsiteY38-142" fmla="*/ 1732846 h 7291226"/>
              <a:gd name="connsiteX39-143" fmla="*/ 9378540 w 9378540"/>
              <a:gd name="connsiteY39-144" fmla="*/ 7097262 h 7291226"/>
              <a:gd name="connsiteX0-145" fmla="*/ 168369 w 9397013"/>
              <a:gd name="connsiteY0-146" fmla="*/ 4779933 h 7291226"/>
              <a:gd name="connsiteX1-147" fmla="*/ 0 w 9397013"/>
              <a:gd name="connsiteY1-148" fmla="*/ 4409146 h 7291226"/>
              <a:gd name="connsiteX2-149" fmla="*/ 3332806 w 9397013"/>
              <a:gd name="connsiteY2-150" fmla="*/ 0 h 7291226"/>
              <a:gd name="connsiteX3-151" fmla="*/ 3794560 w 9397013"/>
              <a:gd name="connsiteY3-152" fmla="*/ 32861 h 7291226"/>
              <a:gd name="connsiteX4-153" fmla="*/ 168369 w 9397013"/>
              <a:gd name="connsiteY4-154" fmla="*/ 4779933 h 7291226"/>
              <a:gd name="connsiteX5-155" fmla="*/ 488220 w 9397013"/>
              <a:gd name="connsiteY5-156" fmla="*/ 5484315 h 7291226"/>
              <a:gd name="connsiteX6-157" fmla="*/ 299082 w 9397013"/>
              <a:gd name="connsiteY6-158" fmla="*/ 5067791 h 7291226"/>
              <a:gd name="connsiteX7-159" fmla="*/ 4106456 w 9397013"/>
              <a:gd name="connsiteY7-160" fmla="*/ 55057 h 7291226"/>
              <a:gd name="connsiteX8-161" fmla="*/ 4585079 w 9397013"/>
              <a:gd name="connsiteY8-162" fmla="*/ 89119 h 7291226"/>
              <a:gd name="connsiteX9-163" fmla="*/ 488220 w 9397013"/>
              <a:gd name="connsiteY9-164" fmla="*/ 5484315 h 7291226"/>
              <a:gd name="connsiteX10-165" fmla="*/ 779421 w 9397013"/>
              <a:gd name="connsiteY10-166" fmla="*/ 6125606 h 7291226"/>
              <a:gd name="connsiteX11-167" fmla="*/ 618065 w 9397013"/>
              <a:gd name="connsiteY11-168" fmla="*/ 5770263 h 7291226"/>
              <a:gd name="connsiteX12-169" fmla="*/ 4897528 w 9397013"/>
              <a:gd name="connsiteY12-170" fmla="*/ 111354 h 7291226"/>
              <a:gd name="connsiteX13-171" fmla="*/ 5324893 w 9397013"/>
              <a:gd name="connsiteY13-172" fmla="*/ 141768 h 7291226"/>
              <a:gd name="connsiteX14-173" fmla="*/ 779421 w 9397013"/>
              <a:gd name="connsiteY14-174" fmla="*/ 6125606 h 7291226"/>
              <a:gd name="connsiteX15-175" fmla="*/ 1099910 w 9397013"/>
              <a:gd name="connsiteY15-176" fmla="*/ 6831395 h 7291226"/>
              <a:gd name="connsiteX16-177" fmla="*/ 919656 w 9397013"/>
              <a:gd name="connsiteY16-178" fmla="*/ 6434435 h 7291226"/>
              <a:gd name="connsiteX17-179" fmla="*/ 5668965 w 9397013"/>
              <a:gd name="connsiteY17-180" fmla="*/ 166254 h 7291226"/>
              <a:gd name="connsiteX18-181" fmla="*/ 6114044 w 9397013"/>
              <a:gd name="connsiteY18-182" fmla="*/ 197929 h 7291226"/>
              <a:gd name="connsiteX19-183" fmla="*/ 1099910 w 9397013"/>
              <a:gd name="connsiteY19-184" fmla="*/ 6831395 h 7291226"/>
              <a:gd name="connsiteX20-185" fmla="*/ 7106560 w 9397013"/>
              <a:gd name="connsiteY20-186" fmla="*/ 7291226 h 7291226"/>
              <a:gd name="connsiteX21-187" fmla="*/ 6670875 w 9397013"/>
              <a:gd name="connsiteY21-188" fmla="*/ 7291226 h 7291226"/>
              <a:gd name="connsiteX22-189" fmla="*/ 3849932 w 9397013"/>
              <a:gd name="connsiteY22-190" fmla="*/ 3596670 h 7291226"/>
              <a:gd name="connsiteX23-191" fmla="*/ 4086202 w 9397013"/>
              <a:gd name="connsiteY23-192" fmla="*/ 3287229 h 7291226"/>
              <a:gd name="connsiteX24-193" fmla="*/ 7106560 w 9397013"/>
              <a:gd name="connsiteY24-194" fmla="*/ 7291226 h 7291226"/>
              <a:gd name="connsiteX25-195" fmla="*/ 7934229 w 9397013"/>
              <a:gd name="connsiteY25-196" fmla="*/ 7291226 h 7291226"/>
              <a:gd name="connsiteX26-197" fmla="*/ 7444802 w 9397013"/>
              <a:gd name="connsiteY26-198" fmla="*/ 7291226 h 7291226"/>
              <a:gd name="connsiteX27-199" fmla="*/ 4245793 w 9397013"/>
              <a:gd name="connsiteY27-200" fmla="*/ 3078214 h 7291226"/>
              <a:gd name="connsiteX28-201" fmla="*/ 4490696 w 9397013"/>
              <a:gd name="connsiteY28-202" fmla="*/ 2757469 h 7291226"/>
              <a:gd name="connsiteX29-203" fmla="*/ 7934229 w 9397013"/>
              <a:gd name="connsiteY29-204" fmla="*/ 7291226 h 7291226"/>
              <a:gd name="connsiteX30-205" fmla="*/ 8687764 w 9397013"/>
              <a:gd name="connsiteY30-206" fmla="*/ 7291226 h 7291226"/>
              <a:gd name="connsiteX31-207" fmla="*/ 8270226 w 9397013"/>
              <a:gd name="connsiteY31-208" fmla="*/ 7291226 h 7291226"/>
              <a:gd name="connsiteX32-209" fmla="*/ 4650570 w 9397013"/>
              <a:gd name="connsiteY32-210" fmla="*/ 2548084 h 7291226"/>
              <a:gd name="connsiteX33-211" fmla="*/ 4869244 w 9397013"/>
              <a:gd name="connsiteY33-212" fmla="*/ 2261689 h 7291226"/>
              <a:gd name="connsiteX34-213" fmla="*/ 8687764 w 9397013"/>
              <a:gd name="connsiteY34-214" fmla="*/ 7291226 h 7291226"/>
              <a:gd name="connsiteX35-215" fmla="*/ 9397013 w 9397013"/>
              <a:gd name="connsiteY35-216" fmla="*/ 7134207 h 7291226"/>
              <a:gd name="connsiteX36-217" fmla="*/ 8921338 w 9397013"/>
              <a:gd name="connsiteY36-218" fmla="*/ 7115735 h 7291226"/>
              <a:gd name="connsiteX37-219" fmla="*/ 5045299 w 9397013"/>
              <a:gd name="connsiteY37-220" fmla="*/ 2031113 h 7291226"/>
              <a:gd name="connsiteX38-221" fmla="*/ 5273037 w 9397013"/>
              <a:gd name="connsiteY38-222" fmla="*/ 1732846 h 7291226"/>
              <a:gd name="connsiteX39-223" fmla="*/ 9397013 w 9397013"/>
              <a:gd name="connsiteY39-224" fmla="*/ 7134207 h 7291226"/>
              <a:gd name="connsiteX0-225" fmla="*/ 168369 w 9397013"/>
              <a:gd name="connsiteY0-226" fmla="*/ 4779933 h 7291226"/>
              <a:gd name="connsiteX1-227" fmla="*/ 0 w 9397013"/>
              <a:gd name="connsiteY1-228" fmla="*/ 4409146 h 7291226"/>
              <a:gd name="connsiteX2-229" fmla="*/ 3332806 w 9397013"/>
              <a:gd name="connsiteY2-230" fmla="*/ 0 h 7291226"/>
              <a:gd name="connsiteX3-231" fmla="*/ 3794560 w 9397013"/>
              <a:gd name="connsiteY3-232" fmla="*/ 32861 h 7291226"/>
              <a:gd name="connsiteX4-233" fmla="*/ 168369 w 9397013"/>
              <a:gd name="connsiteY4-234" fmla="*/ 4779933 h 7291226"/>
              <a:gd name="connsiteX5-235" fmla="*/ 488220 w 9397013"/>
              <a:gd name="connsiteY5-236" fmla="*/ 5484315 h 7291226"/>
              <a:gd name="connsiteX6-237" fmla="*/ 299082 w 9397013"/>
              <a:gd name="connsiteY6-238" fmla="*/ 5067791 h 7291226"/>
              <a:gd name="connsiteX7-239" fmla="*/ 4106456 w 9397013"/>
              <a:gd name="connsiteY7-240" fmla="*/ 55057 h 7291226"/>
              <a:gd name="connsiteX8-241" fmla="*/ 4585079 w 9397013"/>
              <a:gd name="connsiteY8-242" fmla="*/ 89119 h 7291226"/>
              <a:gd name="connsiteX9-243" fmla="*/ 488220 w 9397013"/>
              <a:gd name="connsiteY9-244" fmla="*/ 5484315 h 7291226"/>
              <a:gd name="connsiteX10-245" fmla="*/ 779421 w 9397013"/>
              <a:gd name="connsiteY10-246" fmla="*/ 6125606 h 7291226"/>
              <a:gd name="connsiteX11-247" fmla="*/ 618065 w 9397013"/>
              <a:gd name="connsiteY11-248" fmla="*/ 5770263 h 7291226"/>
              <a:gd name="connsiteX12-249" fmla="*/ 4897528 w 9397013"/>
              <a:gd name="connsiteY12-250" fmla="*/ 111354 h 7291226"/>
              <a:gd name="connsiteX13-251" fmla="*/ 5324893 w 9397013"/>
              <a:gd name="connsiteY13-252" fmla="*/ 141768 h 7291226"/>
              <a:gd name="connsiteX14-253" fmla="*/ 779421 w 9397013"/>
              <a:gd name="connsiteY14-254" fmla="*/ 6125606 h 7291226"/>
              <a:gd name="connsiteX15-255" fmla="*/ 1099910 w 9397013"/>
              <a:gd name="connsiteY15-256" fmla="*/ 6831395 h 7291226"/>
              <a:gd name="connsiteX16-257" fmla="*/ 919656 w 9397013"/>
              <a:gd name="connsiteY16-258" fmla="*/ 6434435 h 7291226"/>
              <a:gd name="connsiteX17-259" fmla="*/ 5668965 w 9397013"/>
              <a:gd name="connsiteY17-260" fmla="*/ 166254 h 7291226"/>
              <a:gd name="connsiteX18-261" fmla="*/ 6114044 w 9397013"/>
              <a:gd name="connsiteY18-262" fmla="*/ 197929 h 7291226"/>
              <a:gd name="connsiteX19-263" fmla="*/ 1099910 w 9397013"/>
              <a:gd name="connsiteY19-264" fmla="*/ 6831395 h 7291226"/>
              <a:gd name="connsiteX20-265" fmla="*/ 7106560 w 9397013"/>
              <a:gd name="connsiteY20-266" fmla="*/ 7291226 h 7291226"/>
              <a:gd name="connsiteX21-267" fmla="*/ 6670875 w 9397013"/>
              <a:gd name="connsiteY21-268" fmla="*/ 7291226 h 7291226"/>
              <a:gd name="connsiteX22-269" fmla="*/ 3849932 w 9397013"/>
              <a:gd name="connsiteY22-270" fmla="*/ 3596670 h 7291226"/>
              <a:gd name="connsiteX23-271" fmla="*/ 4086202 w 9397013"/>
              <a:gd name="connsiteY23-272" fmla="*/ 3287229 h 7291226"/>
              <a:gd name="connsiteX24-273" fmla="*/ 7106560 w 9397013"/>
              <a:gd name="connsiteY24-274" fmla="*/ 7291226 h 7291226"/>
              <a:gd name="connsiteX25-275" fmla="*/ 7934229 w 9397013"/>
              <a:gd name="connsiteY25-276" fmla="*/ 7291226 h 7291226"/>
              <a:gd name="connsiteX26-277" fmla="*/ 7444802 w 9397013"/>
              <a:gd name="connsiteY26-278" fmla="*/ 7291226 h 7291226"/>
              <a:gd name="connsiteX27-279" fmla="*/ 4245793 w 9397013"/>
              <a:gd name="connsiteY27-280" fmla="*/ 3078214 h 7291226"/>
              <a:gd name="connsiteX28-281" fmla="*/ 4490696 w 9397013"/>
              <a:gd name="connsiteY28-282" fmla="*/ 2757469 h 7291226"/>
              <a:gd name="connsiteX29-283" fmla="*/ 7934229 w 9397013"/>
              <a:gd name="connsiteY29-284" fmla="*/ 7291226 h 7291226"/>
              <a:gd name="connsiteX30-285" fmla="*/ 8530746 w 9397013"/>
              <a:gd name="connsiteY30-286" fmla="*/ 7088026 h 7291226"/>
              <a:gd name="connsiteX31-287" fmla="*/ 8270226 w 9397013"/>
              <a:gd name="connsiteY31-288" fmla="*/ 7291226 h 7291226"/>
              <a:gd name="connsiteX32-289" fmla="*/ 4650570 w 9397013"/>
              <a:gd name="connsiteY32-290" fmla="*/ 2548084 h 7291226"/>
              <a:gd name="connsiteX33-291" fmla="*/ 4869244 w 9397013"/>
              <a:gd name="connsiteY33-292" fmla="*/ 2261689 h 7291226"/>
              <a:gd name="connsiteX34-293" fmla="*/ 8530746 w 9397013"/>
              <a:gd name="connsiteY34-294" fmla="*/ 7088026 h 7291226"/>
              <a:gd name="connsiteX35-295" fmla="*/ 9397013 w 9397013"/>
              <a:gd name="connsiteY35-296" fmla="*/ 7134207 h 7291226"/>
              <a:gd name="connsiteX36-297" fmla="*/ 8921338 w 9397013"/>
              <a:gd name="connsiteY36-298" fmla="*/ 7115735 h 7291226"/>
              <a:gd name="connsiteX37-299" fmla="*/ 5045299 w 9397013"/>
              <a:gd name="connsiteY37-300" fmla="*/ 2031113 h 7291226"/>
              <a:gd name="connsiteX38-301" fmla="*/ 5273037 w 9397013"/>
              <a:gd name="connsiteY38-302" fmla="*/ 1732846 h 7291226"/>
              <a:gd name="connsiteX39-303" fmla="*/ 9397013 w 9397013"/>
              <a:gd name="connsiteY39-304" fmla="*/ 7134207 h 7291226"/>
              <a:gd name="connsiteX0-305" fmla="*/ 168369 w 9397013"/>
              <a:gd name="connsiteY0-306" fmla="*/ 4779933 h 7291226"/>
              <a:gd name="connsiteX1-307" fmla="*/ 0 w 9397013"/>
              <a:gd name="connsiteY1-308" fmla="*/ 4409146 h 7291226"/>
              <a:gd name="connsiteX2-309" fmla="*/ 3332806 w 9397013"/>
              <a:gd name="connsiteY2-310" fmla="*/ 0 h 7291226"/>
              <a:gd name="connsiteX3-311" fmla="*/ 3794560 w 9397013"/>
              <a:gd name="connsiteY3-312" fmla="*/ 32861 h 7291226"/>
              <a:gd name="connsiteX4-313" fmla="*/ 168369 w 9397013"/>
              <a:gd name="connsiteY4-314" fmla="*/ 4779933 h 7291226"/>
              <a:gd name="connsiteX5-315" fmla="*/ 488220 w 9397013"/>
              <a:gd name="connsiteY5-316" fmla="*/ 5484315 h 7291226"/>
              <a:gd name="connsiteX6-317" fmla="*/ 299082 w 9397013"/>
              <a:gd name="connsiteY6-318" fmla="*/ 5067791 h 7291226"/>
              <a:gd name="connsiteX7-319" fmla="*/ 4106456 w 9397013"/>
              <a:gd name="connsiteY7-320" fmla="*/ 55057 h 7291226"/>
              <a:gd name="connsiteX8-321" fmla="*/ 4585079 w 9397013"/>
              <a:gd name="connsiteY8-322" fmla="*/ 89119 h 7291226"/>
              <a:gd name="connsiteX9-323" fmla="*/ 488220 w 9397013"/>
              <a:gd name="connsiteY9-324" fmla="*/ 5484315 h 7291226"/>
              <a:gd name="connsiteX10-325" fmla="*/ 779421 w 9397013"/>
              <a:gd name="connsiteY10-326" fmla="*/ 6125606 h 7291226"/>
              <a:gd name="connsiteX11-327" fmla="*/ 618065 w 9397013"/>
              <a:gd name="connsiteY11-328" fmla="*/ 5770263 h 7291226"/>
              <a:gd name="connsiteX12-329" fmla="*/ 4897528 w 9397013"/>
              <a:gd name="connsiteY12-330" fmla="*/ 111354 h 7291226"/>
              <a:gd name="connsiteX13-331" fmla="*/ 5324893 w 9397013"/>
              <a:gd name="connsiteY13-332" fmla="*/ 141768 h 7291226"/>
              <a:gd name="connsiteX14-333" fmla="*/ 779421 w 9397013"/>
              <a:gd name="connsiteY14-334" fmla="*/ 6125606 h 7291226"/>
              <a:gd name="connsiteX15-335" fmla="*/ 1099910 w 9397013"/>
              <a:gd name="connsiteY15-336" fmla="*/ 6831395 h 7291226"/>
              <a:gd name="connsiteX16-337" fmla="*/ 919656 w 9397013"/>
              <a:gd name="connsiteY16-338" fmla="*/ 6434435 h 7291226"/>
              <a:gd name="connsiteX17-339" fmla="*/ 5668965 w 9397013"/>
              <a:gd name="connsiteY17-340" fmla="*/ 166254 h 7291226"/>
              <a:gd name="connsiteX18-341" fmla="*/ 6114044 w 9397013"/>
              <a:gd name="connsiteY18-342" fmla="*/ 197929 h 7291226"/>
              <a:gd name="connsiteX19-343" fmla="*/ 1099910 w 9397013"/>
              <a:gd name="connsiteY19-344" fmla="*/ 6831395 h 7291226"/>
              <a:gd name="connsiteX20-345" fmla="*/ 7106560 w 9397013"/>
              <a:gd name="connsiteY20-346" fmla="*/ 7291226 h 7291226"/>
              <a:gd name="connsiteX21-347" fmla="*/ 6670875 w 9397013"/>
              <a:gd name="connsiteY21-348" fmla="*/ 7291226 h 7291226"/>
              <a:gd name="connsiteX22-349" fmla="*/ 3849932 w 9397013"/>
              <a:gd name="connsiteY22-350" fmla="*/ 3596670 h 7291226"/>
              <a:gd name="connsiteX23-351" fmla="*/ 4086202 w 9397013"/>
              <a:gd name="connsiteY23-352" fmla="*/ 3287229 h 7291226"/>
              <a:gd name="connsiteX24-353" fmla="*/ 7106560 w 9397013"/>
              <a:gd name="connsiteY24-354" fmla="*/ 7291226 h 7291226"/>
              <a:gd name="connsiteX25-355" fmla="*/ 7934229 w 9397013"/>
              <a:gd name="connsiteY25-356" fmla="*/ 7291226 h 7291226"/>
              <a:gd name="connsiteX26-357" fmla="*/ 7444802 w 9397013"/>
              <a:gd name="connsiteY26-358" fmla="*/ 7291226 h 7291226"/>
              <a:gd name="connsiteX27-359" fmla="*/ 4245793 w 9397013"/>
              <a:gd name="connsiteY27-360" fmla="*/ 3078214 h 7291226"/>
              <a:gd name="connsiteX28-361" fmla="*/ 4490696 w 9397013"/>
              <a:gd name="connsiteY28-362" fmla="*/ 2757469 h 7291226"/>
              <a:gd name="connsiteX29-363" fmla="*/ 7934229 w 9397013"/>
              <a:gd name="connsiteY29-364" fmla="*/ 7291226 h 7291226"/>
              <a:gd name="connsiteX30-365" fmla="*/ 8530746 w 9397013"/>
              <a:gd name="connsiteY30-366" fmla="*/ 7088026 h 7291226"/>
              <a:gd name="connsiteX31-367" fmla="*/ 8150153 w 9397013"/>
              <a:gd name="connsiteY31-368" fmla="*/ 7097262 h 7291226"/>
              <a:gd name="connsiteX32-369" fmla="*/ 4650570 w 9397013"/>
              <a:gd name="connsiteY32-370" fmla="*/ 2548084 h 7291226"/>
              <a:gd name="connsiteX33-371" fmla="*/ 4869244 w 9397013"/>
              <a:gd name="connsiteY33-372" fmla="*/ 2261689 h 7291226"/>
              <a:gd name="connsiteX34-373" fmla="*/ 8530746 w 9397013"/>
              <a:gd name="connsiteY34-374" fmla="*/ 7088026 h 7291226"/>
              <a:gd name="connsiteX35-375" fmla="*/ 9397013 w 9397013"/>
              <a:gd name="connsiteY35-376" fmla="*/ 7134207 h 7291226"/>
              <a:gd name="connsiteX36-377" fmla="*/ 8921338 w 9397013"/>
              <a:gd name="connsiteY36-378" fmla="*/ 7115735 h 7291226"/>
              <a:gd name="connsiteX37-379" fmla="*/ 5045299 w 9397013"/>
              <a:gd name="connsiteY37-380" fmla="*/ 2031113 h 7291226"/>
              <a:gd name="connsiteX38-381" fmla="*/ 5273037 w 9397013"/>
              <a:gd name="connsiteY38-382" fmla="*/ 1732846 h 7291226"/>
              <a:gd name="connsiteX39-383" fmla="*/ 9397013 w 9397013"/>
              <a:gd name="connsiteY39-384" fmla="*/ 7134207 h 7291226"/>
              <a:gd name="connsiteX0-385" fmla="*/ 168369 w 9397013"/>
              <a:gd name="connsiteY0-386" fmla="*/ 4779933 h 7291226"/>
              <a:gd name="connsiteX1-387" fmla="*/ 0 w 9397013"/>
              <a:gd name="connsiteY1-388" fmla="*/ 4409146 h 7291226"/>
              <a:gd name="connsiteX2-389" fmla="*/ 3332806 w 9397013"/>
              <a:gd name="connsiteY2-390" fmla="*/ 0 h 7291226"/>
              <a:gd name="connsiteX3-391" fmla="*/ 3794560 w 9397013"/>
              <a:gd name="connsiteY3-392" fmla="*/ 32861 h 7291226"/>
              <a:gd name="connsiteX4-393" fmla="*/ 168369 w 9397013"/>
              <a:gd name="connsiteY4-394" fmla="*/ 4779933 h 7291226"/>
              <a:gd name="connsiteX5-395" fmla="*/ 488220 w 9397013"/>
              <a:gd name="connsiteY5-396" fmla="*/ 5484315 h 7291226"/>
              <a:gd name="connsiteX6-397" fmla="*/ 299082 w 9397013"/>
              <a:gd name="connsiteY6-398" fmla="*/ 5067791 h 7291226"/>
              <a:gd name="connsiteX7-399" fmla="*/ 4106456 w 9397013"/>
              <a:gd name="connsiteY7-400" fmla="*/ 55057 h 7291226"/>
              <a:gd name="connsiteX8-401" fmla="*/ 4585079 w 9397013"/>
              <a:gd name="connsiteY8-402" fmla="*/ 89119 h 7291226"/>
              <a:gd name="connsiteX9-403" fmla="*/ 488220 w 9397013"/>
              <a:gd name="connsiteY9-404" fmla="*/ 5484315 h 7291226"/>
              <a:gd name="connsiteX10-405" fmla="*/ 779421 w 9397013"/>
              <a:gd name="connsiteY10-406" fmla="*/ 6125606 h 7291226"/>
              <a:gd name="connsiteX11-407" fmla="*/ 618065 w 9397013"/>
              <a:gd name="connsiteY11-408" fmla="*/ 5770263 h 7291226"/>
              <a:gd name="connsiteX12-409" fmla="*/ 4897528 w 9397013"/>
              <a:gd name="connsiteY12-410" fmla="*/ 111354 h 7291226"/>
              <a:gd name="connsiteX13-411" fmla="*/ 5324893 w 9397013"/>
              <a:gd name="connsiteY13-412" fmla="*/ 141768 h 7291226"/>
              <a:gd name="connsiteX14-413" fmla="*/ 779421 w 9397013"/>
              <a:gd name="connsiteY14-414" fmla="*/ 6125606 h 7291226"/>
              <a:gd name="connsiteX15-415" fmla="*/ 1099910 w 9397013"/>
              <a:gd name="connsiteY15-416" fmla="*/ 6831395 h 7291226"/>
              <a:gd name="connsiteX16-417" fmla="*/ 919656 w 9397013"/>
              <a:gd name="connsiteY16-418" fmla="*/ 6434435 h 7291226"/>
              <a:gd name="connsiteX17-419" fmla="*/ 5668965 w 9397013"/>
              <a:gd name="connsiteY17-420" fmla="*/ 166254 h 7291226"/>
              <a:gd name="connsiteX18-421" fmla="*/ 6114044 w 9397013"/>
              <a:gd name="connsiteY18-422" fmla="*/ 197929 h 7291226"/>
              <a:gd name="connsiteX19-423" fmla="*/ 1099910 w 9397013"/>
              <a:gd name="connsiteY19-424" fmla="*/ 6831395 h 7291226"/>
              <a:gd name="connsiteX20-425" fmla="*/ 7106560 w 9397013"/>
              <a:gd name="connsiteY20-426" fmla="*/ 7291226 h 7291226"/>
              <a:gd name="connsiteX21-427" fmla="*/ 6670875 w 9397013"/>
              <a:gd name="connsiteY21-428" fmla="*/ 7291226 h 7291226"/>
              <a:gd name="connsiteX22-429" fmla="*/ 3849932 w 9397013"/>
              <a:gd name="connsiteY22-430" fmla="*/ 3596670 h 7291226"/>
              <a:gd name="connsiteX23-431" fmla="*/ 4086202 w 9397013"/>
              <a:gd name="connsiteY23-432" fmla="*/ 3287229 h 7291226"/>
              <a:gd name="connsiteX24-433" fmla="*/ 7106560 w 9397013"/>
              <a:gd name="connsiteY24-434" fmla="*/ 7291226 h 7291226"/>
              <a:gd name="connsiteX25-435" fmla="*/ 7934229 w 9397013"/>
              <a:gd name="connsiteY25-436" fmla="*/ 7291226 h 7291226"/>
              <a:gd name="connsiteX26-437" fmla="*/ 7444802 w 9397013"/>
              <a:gd name="connsiteY26-438" fmla="*/ 7291226 h 7291226"/>
              <a:gd name="connsiteX27-439" fmla="*/ 4245793 w 9397013"/>
              <a:gd name="connsiteY27-440" fmla="*/ 3078214 h 7291226"/>
              <a:gd name="connsiteX28-441" fmla="*/ 4490696 w 9397013"/>
              <a:gd name="connsiteY28-442" fmla="*/ 2757469 h 7291226"/>
              <a:gd name="connsiteX29-443" fmla="*/ 7934229 w 9397013"/>
              <a:gd name="connsiteY29-444" fmla="*/ 7291226 h 7291226"/>
              <a:gd name="connsiteX30-445" fmla="*/ 8567691 w 9397013"/>
              <a:gd name="connsiteY30-446" fmla="*/ 7124971 h 7291226"/>
              <a:gd name="connsiteX31-447" fmla="*/ 8150153 w 9397013"/>
              <a:gd name="connsiteY31-448" fmla="*/ 7097262 h 7291226"/>
              <a:gd name="connsiteX32-449" fmla="*/ 4650570 w 9397013"/>
              <a:gd name="connsiteY32-450" fmla="*/ 2548084 h 7291226"/>
              <a:gd name="connsiteX33-451" fmla="*/ 4869244 w 9397013"/>
              <a:gd name="connsiteY33-452" fmla="*/ 2261689 h 7291226"/>
              <a:gd name="connsiteX34-453" fmla="*/ 8567691 w 9397013"/>
              <a:gd name="connsiteY34-454" fmla="*/ 7124971 h 7291226"/>
              <a:gd name="connsiteX35-455" fmla="*/ 9397013 w 9397013"/>
              <a:gd name="connsiteY35-456" fmla="*/ 7134207 h 7291226"/>
              <a:gd name="connsiteX36-457" fmla="*/ 8921338 w 9397013"/>
              <a:gd name="connsiteY36-458" fmla="*/ 7115735 h 7291226"/>
              <a:gd name="connsiteX37-459" fmla="*/ 5045299 w 9397013"/>
              <a:gd name="connsiteY37-460" fmla="*/ 2031113 h 7291226"/>
              <a:gd name="connsiteX38-461" fmla="*/ 5273037 w 9397013"/>
              <a:gd name="connsiteY38-462" fmla="*/ 1732846 h 7291226"/>
              <a:gd name="connsiteX39-463" fmla="*/ 9397013 w 9397013"/>
              <a:gd name="connsiteY39-464" fmla="*/ 7134207 h 7291226"/>
              <a:gd name="connsiteX0-465" fmla="*/ 168369 w 9397013"/>
              <a:gd name="connsiteY0-466" fmla="*/ 4779933 h 7291226"/>
              <a:gd name="connsiteX1-467" fmla="*/ 0 w 9397013"/>
              <a:gd name="connsiteY1-468" fmla="*/ 4409146 h 7291226"/>
              <a:gd name="connsiteX2-469" fmla="*/ 3332806 w 9397013"/>
              <a:gd name="connsiteY2-470" fmla="*/ 0 h 7291226"/>
              <a:gd name="connsiteX3-471" fmla="*/ 3794560 w 9397013"/>
              <a:gd name="connsiteY3-472" fmla="*/ 32861 h 7291226"/>
              <a:gd name="connsiteX4-473" fmla="*/ 168369 w 9397013"/>
              <a:gd name="connsiteY4-474" fmla="*/ 4779933 h 7291226"/>
              <a:gd name="connsiteX5-475" fmla="*/ 488220 w 9397013"/>
              <a:gd name="connsiteY5-476" fmla="*/ 5484315 h 7291226"/>
              <a:gd name="connsiteX6-477" fmla="*/ 299082 w 9397013"/>
              <a:gd name="connsiteY6-478" fmla="*/ 5067791 h 7291226"/>
              <a:gd name="connsiteX7-479" fmla="*/ 4106456 w 9397013"/>
              <a:gd name="connsiteY7-480" fmla="*/ 55057 h 7291226"/>
              <a:gd name="connsiteX8-481" fmla="*/ 4585079 w 9397013"/>
              <a:gd name="connsiteY8-482" fmla="*/ 89119 h 7291226"/>
              <a:gd name="connsiteX9-483" fmla="*/ 488220 w 9397013"/>
              <a:gd name="connsiteY9-484" fmla="*/ 5484315 h 7291226"/>
              <a:gd name="connsiteX10-485" fmla="*/ 779421 w 9397013"/>
              <a:gd name="connsiteY10-486" fmla="*/ 6125606 h 7291226"/>
              <a:gd name="connsiteX11-487" fmla="*/ 618065 w 9397013"/>
              <a:gd name="connsiteY11-488" fmla="*/ 5770263 h 7291226"/>
              <a:gd name="connsiteX12-489" fmla="*/ 4897528 w 9397013"/>
              <a:gd name="connsiteY12-490" fmla="*/ 111354 h 7291226"/>
              <a:gd name="connsiteX13-491" fmla="*/ 5324893 w 9397013"/>
              <a:gd name="connsiteY13-492" fmla="*/ 141768 h 7291226"/>
              <a:gd name="connsiteX14-493" fmla="*/ 779421 w 9397013"/>
              <a:gd name="connsiteY14-494" fmla="*/ 6125606 h 7291226"/>
              <a:gd name="connsiteX15-495" fmla="*/ 1099910 w 9397013"/>
              <a:gd name="connsiteY15-496" fmla="*/ 6831395 h 7291226"/>
              <a:gd name="connsiteX16-497" fmla="*/ 919656 w 9397013"/>
              <a:gd name="connsiteY16-498" fmla="*/ 6434435 h 7291226"/>
              <a:gd name="connsiteX17-499" fmla="*/ 5668965 w 9397013"/>
              <a:gd name="connsiteY17-500" fmla="*/ 166254 h 7291226"/>
              <a:gd name="connsiteX18-501" fmla="*/ 6114044 w 9397013"/>
              <a:gd name="connsiteY18-502" fmla="*/ 197929 h 7291226"/>
              <a:gd name="connsiteX19-503" fmla="*/ 1099910 w 9397013"/>
              <a:gd name="connsiteY19-504" fmla="*/ 6831395 h 7291226"/>
              <a:gd name="connsiteX20-505" fmla="*/ 7106560 w 9397013"/>
              <a:gd name="connsiteY20-506" fmla="*/ 7291226 h 7291226"/>
              <a:gd name="connsiteX21-507" fmla="*/ 6670875 w 9397013"/>
              <a:gd name="connsiteY21-508" fmla="*/ 7291226 h 7291226"/>
              <a:gd name="connsiteX22-509" fmla="*/ 3849932 w 9397013"/>
              <a:gd name="connsiteY22-510" fmla="*/ 3596670 h 7291226"/>
              <a:gd name="connsiteX23-511" fmla="*/ 4086202 w 9397013"/>
              <a:gd name="connsiteY23-512" fmla="*/ 3287229 h 7291226"/>
              <a:gd name="connsiteX24-513" fmla="*/ 7106560 w 9397013"/>
              <a:gd name="connsiteY24-514" fmla="*/ 7291226 h 7291226"/>
              <a:gd name="connsiteX25-515" fmla="*/ 7934229 w 9397013"/>
              <a:gd name="connsiteY25-516" fmla="*/ 7291226 h 7291226"/>
              <a:gd name="connsiteX26-517" fmla="*/ 7444802 w 9397013"/>
              <a:gd name="connsiteY26-518" fmla="*/ 7291226 h 7291226"/>
              <a:gd name="connsiteX27-519" fmla="*/ 4245793 w 9397013"/>
              <a:gd name="connsiteY27-520" fmla="*/ 3078214 h 7291226"/>
              <a:gd name="connsiteX28-521" fmla="*/ 4490696 w 9397013"/>
              <a:gd name="connsiteY28-522" fmla="*/ 2757469 h 7291226"/>
              <a:gd name="connsiteX29-523" fmla="*/ 7934229 w 9397013"/>
              <a:gd name="connsiteY29-524" fmla="*/ 7291226 h 7291226"/>
              <a:gd name="connsiteX30-525" fmla="*/ 8567691 w 9397013"/>
              <a:gd name="connsiteY30-526" fmla="*/ 7124971 h 7291226"/>
              <a:gd name="connsiteX31-527" fmla="*/ 8159389 w 9397013"/>
              <a:gd name="connsiteY31-528" fmla="*/ 7134208 h 7291226"/>
              <a:gd name="connsiteX32-529" fmla="*/ 4650570 w 9397013"/>
              <a:gd name="connsiteY32-530" fmla="*/ 2548084 h 7291226"/>
              <a:gd name="connsiteX33-531" fmla="*/ 4869244 w 9397013"/>
              <a:gd name="connsiteY33-532" fmla="*/ 2261689 h 7291226"/>
              <a:gd name="connsiteX34-533" fmla="*/ 8567691 w 9397013"/>
              <a:gd name="connsiteY34-534" fmla="*/ 7124971 h 7291226"/>
              <a:gd name="connsiteX35-535" fmla="*/ 9397013 w 9397013"/>
              <a:gd name="connsiteY35-536" fmla="*/ 7134207 h 7291226"/>
              <a:gd name="connsiteX36-537" fmla="*/ 8921338 w 9397013"/>
              <a:gd name="connsiteY36-538" fmla="*/ 7115735 h 7291226"/>
              <a:gd name="connsiteX37-539" fmla="*/ 5045299 w 9397013"/>
              <a:gd name="connsiteY37-540" fmla="*/ 2031113 h 7291226"/>
              <a:gd name="connsiteX38-541" fmla="*/ 5273037 w 9397013"/>
              <a:gd name="connsiteY38-542" fmla="*/ 1732846 h 7291226"/>
              <a:gd name="connsiteX39-543" fmla="*/ 9397013 w 9397013"/>
              <a:gd name="connsiteY39-544" fmla="*/ 7134207 h 7291226"/>
              <a:gd name="connsiteX0-545" fmla="*/ 168369 w 9397013"/>
              <a:gd name="connsiteY0-546" fmla="*/ 4779933 h 7291226"/>
              <a:gd name="connsiteX1-547" fmla="*/ 0 w 9397013"/>
              <a:gd name="connsiteY1-548" fmla="*/ 4409146 h 7291226"/>
              <a:gd name="connsiteX2-549" fmla="*/ 3332806 w 9397013"/>
              <a:gd name="connsiteY2-550" fmla="*/ 0 h 7291226"/>
              <a:gd name="connsiteX3-551" fmla="*/ 3794560 w 9397013"/>
              <a:gd name="connsiteY3-552" fmla="*/ 32861 h 7291226"/>
              <a:gd name="connsiteX4-553" fmla="*/ 168369 w 9397013"/>
              <a:gd name="connsiteY4-554" fmla="*/ 4779933 h 7291226"/>
              <a:gd name="connsiteX5-555" fmla="*/ 488220 w 9397013"/>
              <a:gd name="connsiteY5-556" fmla="*/ 5484315 h 7291226"/>
              <a:gd name="connsiteX6-557" fmla="*/ 299082 w 9397013"/>
              <a:gd name="connsiteY6-558" fmla="*/ 5067791 h 7291226"/>
              <a:gd name="connsiteX7-559" fmla="*/ 4106456 w 9397013"/>
              <a:gd name="connsiteY7-560" fmla="*/ 55057 h 7291226"/>
              <a:gd name="connsiteX8-561" fmla="*/ 4585079 w 9397013"/>
              <a:gd name="connsiteY8-562" fmla="*/ 89119 h 7291226"/>
              <a:gd name="connsiteX9-563" fmla="*/ 488220 w 9397013"/>
              <a:gd name="connsiteY9-564" fmla="*/ 5484315 h 7291226"/>
              <a:gd name="connsiteX10-565" fmla="*/ 779421 w 9397013"/>
              <a:gd name="connsiteY10-566" fmla="*/ 6125606 h 7291226"/>
              <a:gd name="connsiteX11-567" fmla="*/ 618065 w 9397013"/>
              <a:gd name="connsiteY11-568" fmla="*/ 5770263 h 7291226"/>
              <a:gd name="connsiteX12-569" fmla="*/ 4897528 w 9397013"/>
              <a:gd name="connsiteY12-570" fmla="*/ 111354 h 7291226"/>
              <a:gd name="connsiteX13-571" fmla="*/ 5324893 w 9397013"/>
              <a:gd name="connsiteY13-572" fmla="*/ 141768 h 7291226"/>
              <a:gd name="connsiteX14-573" fmla="*/ 779421 w 9397013"/>
              <a:gd name="connsiteY14-574" fmla="*/ 6125606 h 7291226"/>
              <a:gd name="connsiteX15-575" fmla="*/ 1099910 w 9397013"/>
              <a:gd name="connsiteY15-576" fmla="*/ 6831395 h 7291226"/>
              <a:gd name="connsiteX16-577" fmla="*/ 919656 w 9397013"/>
              <a:gd name="connsiteY16-578" fmla="*/ 6434435 h 7291226"/>
              <a:gd name="connsiteX17-579" fmla="*/ 5668965 w 9397013"/>
              <a:gd name="connsiteY17-580" fmla="*/ 166254 h 7291226"/>
              <a:gd name="connsiteX18-581" fmla="*/ 6114044 w 9397013"/>
              <a:gd name="connsiteY18-582" fmla="*/ 197929 h 7291226"/>
              <a:gd name="connsiteX19-583" fmla="*/ 1099910 w 9397013"/>
              <a:gd name="connsiteY19-584" fmla="*/ 6831395 h 7291226"/>
              <a:gd name="connsiteX20-585" fmla="*/ 7106560 w 9397013"/>
              <a:gd name="connsiteY20-586" fmla="*/ 7291226 h 7291226"/>
              <a:gd name="connsiteX21-587" fmla="*/ 6670875 w 9397013"/>
              <a:gd name="connsiteY21-588" fmla="*/ 7291226 h 7291226"/>
              <a:gd name="connsiteX22-589" fmla="*/ 3849932 w 9397013"/>
              <a:gd name="connsiteY22-590" fmla="*/ 3596670 h 7291226"/>
              <a:gd name="connsiteX23-591" fmla="*/ 4086202 w 9397013"/>
              <a:gd name="connsiteY23-592" fmla="*/ 3287229 h 7291226"/>
              <a:gd name="connsiteX24-593" fmla="*/ 7106560 w 9397013"/>
              <a:gd name="connsiteY24-594" fmla="*/ 7291226 h 7291226"/>
              <a:gd name="connsiteX25-595" fmla="*/ 7777211 w 9397013"/>
              <a:gd name="connsiteY25-596" fmla="*/ 7124972 h 7291226"/>
              <a:gd name="connsiteX26-597" fmla="*/ 7444802 w 9397013"/>
              <a:gd name="connsiteY26-598" fmla="*/ 7291226 h 7291226"/>
              <a:gd name="connsiteX27-599" fmla="*/ 4245793 w 9397013"/>
              <a:gd name="connsiteY27-600" fmla="*/ 3078214 h 7291226"/>
              <a:gd name="connsiteX28-601" fmla="*/ 4490696 w 9397013"/>
              <a:gd name="connsiteY28-602" fmla="*/ 2757469 h 7291226"/>
              <a:gd name="connsiteX29-603" fmla="*/ 7777211 w 9397013"/>
              <a:gd name="connsiteY29-604" fmla="*/ 7124972 h 7291226"/>
              <a:gd name="connsiteX30-605" fmla="*/ 8567691 w 9397013"/>
              <a:gd name="connsiteY30-606" fmla="*/ 7124971 h 7291226"/>
              <a:gd name="connsiteX31-607" fmla="*/ 8159389 w 9397013"/>
              <a:gd name="connsiteY31-608" fmla="*/ 7134208 h 7291226"/>
              <a:gd name="connsiteX32-609" fmla="*/ 4650570 w 9397013"/>
              <a:gd name="connsiteY32-610" fmla="*/ 2548084 h 7291226"/>
              <a:gd name="connsiteX33-611" fmla="*/ 4869244 w 9397013"/>
              <a:gd name="connsiteY33-612" fmla="*/ 2261689 h 7291226"/>
              <a:gd name="connsiteX34-613" fmla="*/ 8567691 w 9397013"/>
              <a:gd name="connsiteY34-614" fmla="*/ 7124971 h 7291226"/>
              <a:gd name="connsiteX35-615" fmla="*/ 9397013 w 9397013"/>
              <a:gd name="connsiteY35-616" fmla="*/ 7134207 h 7291226"/>
              <a:gd name="connsiteX36-617" fmla="*/ 8921338 w 9397013"/>
              <a:gd name="connsiteY36-618" fmla="*/ 7115735 h 7291226"/>
              <a:gd name="connsiteX37-619" fmla="*/ 5045299 w 9397013"/>
              <a:gd name="connsiteY37-620" fmla="*/ 2031113 h 7291226"/>
              <a:gd name="connsiteX38-621" fmla="*/ 5273037 w 9397013"/>
              <a:gd name="connsiteY38-622" fmla="*/ 1732846 h 7291226"/>
              <a:gd name="connsiteX39-623" fmla="*/ 9397013 w 9397013"/>
              <a:gd name="connsiteY39-624" fmla="*/ 7134207 h 7291226"/>
              <a:gd name="connsiteX0-625" fmla="*/ 168369 w 9397013"/>
              <a:gd name="connsiteY0-626" fmla="*/ 4779933 h 7291226"/>
              <a:gd name="connsiteX1-627" fmla="*/ 0 w 9397013"/>
              <a:gd name="connsiteY1-628" fmla="*/ 4409146 h 7291226"/>
              <a:gd name="connsiteX2-629" fmla="*/ 3332806 w 9397013"/>
              <a:gd name="connsiteY2-630" fmla="*/ 0 h 7291226"/>
              <a:gd name="connsiteX3-631" fmla="*/ 3794560 w 9397013"/>
              <a:gd name="connsiteY3-632" fmla="*/ 32861 h 7291226"/>
              <a:gd name="connsiteX4-633" fmla="*/ 168369 w 9397013"/>
              <a:gd name="connsiteY4-634" fmla="*/ 4779933 h 7291226"/>
              <a:gd name="connsiteX5-635" fmla="*/ 488220 w 9397013"/>
              <a:gd name="connsiteY5-636" fmla="*/ 5484315 h 7291226"/>
              <a:gd name="connsiteX6-637" fmla="*/ 299082 w 9397013"/>
              <a:gd name="connsiteY6-638" fmla="*/ 5067791 h 7291226"/>
              <a:gd name="connsiteX7-639" fmla="*/ 4106456 w 9397013"/>
              <a:gd name="connsiteY7-640" fmla="*/ 55057 h 7291226"/>
              <a:gd name="connsiteX8-641" fmla="*/ 4585079 w 9397013"/>
              <a:gd name="connsiteY8-642" fmla="*/ 89119 h 7291226"/>
              <a:gd name="connsiteX9-643" fmla="*/ 488220 w 9397013"/>
              <a:gd name="connsiteY9-644" fmla="*/ 5484315 h 7291226"/>
              <a:gd name="connsiteX10-645" fmla="*/ 779421 w 9397013"/>
              <a:gd name="connsiteY10-646" fmla="*/ 6125606 h 7291226"/>
              <a:gd name="connsiteX11-647" fmla="*/ 618065 w 9397013"/>
              <a:gd name="connsiteY11-648" fmla="*/ 5770263 h 7291226"/>
              <a:gd name="connsiteX12-649" fmla="*/ 4897528 w 9397013"/>
              <a:gd name="connsiteY12-650" fmla="*/ 111354 h 7291226"/>
              <a:gd name="connsiteX13-651" fmla="*/ 5324893 w 9397013"/>
              <a:gd name="connsiteY13-652" fmla="*/ 141768 h 7291226"/>
              <a:gd name="connsiteX14-653" fmla="*/ 779421 w 9397013"/>
              <a:gd name="connsiteY14-654" fmla="*/ 6125606 h 7291226"/>
              <a:gd name="connsiteX15-655" fmla="*/ 1099910 w 9397013"/>
              <a:gd name="connsiteY15-656" fmla="*/ 6831395 h 7291226"/>
              <a:gd name="connsiteX16-657" fmla="*/ 919656 w 9397013"/>
              <a:gd name="connsiteY16-658" fmla="*/ 6434435 h 7291226"/>
              <a:gd name="connsiteX17-659" fmla="*/ 5668965 w 9397013"/>
              <a:gd name="connsiteY17-660" fmla="*/ 166254 h 7291226"/>
              <a:gd name="connsiteX18-661" fmla="*/ 6114044 w 9397013"/>
              <a:gd name="connsiteY18-662" fmla="*/ 197929 h 7291226"/>
              <a:gd name="connsiteX19-663" fmla="*/ 1099910 w 9397013"/>
              <a:gd name="connsiteY19-664" fmla="*/ 6831395 h 7291226"/>
              <a:gd name="connsiteX20-665" fmla="*/ 7106560 w 9397013"/>
              <a:gd name="connsiteY20-666" fmla="*/ 7291226 h 7291226"/>
              <a:gd name="connsiteX21-667" fmla="*/ 6670875 w 9397013"/>
              <a:gd name="connsiteY21-668" fmla="*/ 7291226 h 7291226"/>
              <a:gd name="connsiteX22-669" fmla="*/ 3849932 w 9397013"/>
              <a:gd name="connsiteY22-670" fmla="*/ 3596670 h 7291226"/>
              <a:gd name="connsiteX23-671" fmla="*/ 4086202 w 9397013"/>
              <a:gd name="connsiteY23-672" fmla="*/ 3287229 h 7291226"/>
              <a:gd name="connsiteX24-673" fmla="*/ 7106560 w 9397013"/>
              <a:gd name="connsiteY24-674" fmla="*/ 7291226 h 7291226"/>
              <a:gd name="connsiteX25-675" fmla="*/ 7777211 w 9397013"/>
              <a:gd name="connsiteY25-676" fmla="*/ 7124972 h 7291226"/>
              <a:gd name="connsiteX26-677" fmla="*/ 7324729 w 9397013"/>
              <a:gd name="connsiteY26-678" fmla="*/ 7124972 h 7291226"/>
              <a:gd name="connsiteX27-679" fmla="*/ 4245793 w 9397013"/>
              <a:gd name="connsiteY27-680" fmla="*/ 3078214 h 7291226"/>
              <a:gd name="connsiteX28-681" fmla="*/ 4490696 w 9397013"/>
              <a:gd name="connsiteY28-682" fmla="*/ 2757469 h 7291226"/>
              <a:gd name="connsiteX29-683" fmla="*/ 7777211 w 9397013"/>
              <a:gd name="connsiteY29-684" fmla="*/ 7124972 h 7291226"/>
              <a:gd name="connsiteX30-685" fmla="*/ 8567691 w 9397013"/>
              <a:gd name="connsiteY30-686" fmla="*/ 7124971 h 7291226"/>
              <a:gd name="connsiteX31-687" fmla="*/ 8159389 w 9397013"/>
              <a:gd name="connsiteY31-688" fmla="*/ 7134208 h 7291226"/>
              <a:gd name="connsiteX32-689" fmla="*/ 4650570 w 9397013"/>
              <a:gd name="connsiteY32-690" fmla="*/ 2548084 h 7291226"/>
              <a:gd name="connsiteX33-691" fmla="*/ 4869244 w 9397013"/>
              <a:gd name="connsiteY33-692" fmla="*/ 2261689 h 7291226"/>
              <a:gd name="connsiteX34-693" fmla="*/ 8567691 w 9397013"/>
              <a:gd name="connsiteY34-694" fmla="*/ 7124971 h 7291226"/>
              <a:gd name="connsiteX35-695" fmla="*/ 9397013 w 9397013"/>
              <a:gd name="connsiteY35-696" fmla="*/ 7134207 h 7291226"/>
              <a:gd name="connsiteX36-697" fmla="*/ 8921338 w 9397013"/>
              <a:gd name="connsiteY36-698" fmla="*/ 7115735 h 7291226"/>
              <a:gd name="connsiteX37-699" fmla="*/ 5045299 w 9397013"/>
              <a:gd name="connsiteY37-700" fmla="*/ 2031113 h 7291226"/>
              <a:gd name="connsiteX38-701" fmla="*/ 5273037 w 9397013"/>
              <a:gd name="connsiteY38-702" fmla="*/ 1732846 h 7291226"/>
              <a:gd name="connsiteX39-703" fmla="*/ 9397013 w 9397013"/>
              <a:gd name="connsiteY39-704" fmla="*/ 7134207 h 7291226"/>
              <a:gd name="connsiteX0-705" fmla="*/ 168369 w 9397013"/>
              <a:gd name="connsiteY0-706" fmla="*/ 4779933 h 7291226"/>
              <a:gd name="connsiteX1-707" fmla="*/ 0 w 9397013"/>
              <a:gd name="connsiteY1-708" fmla="*/ 4409146 h 7291226"/>
              <a:gd name="connsiteX2-709" fmla="*/ 3332806 w 9397013"/>
              <a:gd name="connsiteY2-710" fmla="*/ 0 h 7291226"/>
              <a:gd name="connsiteX3-711" fmla="*/ 3794560 w 9397013"/>
              <a:gd name="connsiteY3-712" fmla="*/ 32861 h 7291226"/>
              <a:gd name="connsiteX4-713" fmla="*/ 168369 w 9397013"/>
              <a:gd name="connsiteY4-714" fmla="*/ 4779933 h 7291226"/>
              <a:gd name="connsiteX5-715" fmla="*/ 488220 w 9397013"/>
              <a:gd name="connsiteY5-716" fmla="*/ 5484315 h 7291226"/>
              <a:gd name="connsiteX6-717" fmla="*/ 299082 w 9397013"/>
              <a:gd name="connsiteY6-718" fmla="*/ 5067791 h 7291226"/>
              <a:gd name="connsiteX7-719" fmla="*/ 4106456 w 9397013"/>
              <a:gd name="connsiteY7-720" fmla="*/ 55057 h 7291226"/>
              <a:gd name="connsiteX8-721" fmla="*/ 4585079 w 9397013"/>
              <a:gd name="connsiteY8-722" fmla="*/ 89119 h 7291226"/>
              <a:gd name="connsiteX9-723" fmla="*/ 488220 w 9397013"/>
              <a:gd name="connsiteY9-724" fmla="*/ 5484315 h 7291226"/>
              <a:gd name="connsiteX10-725" fmla="*/ 779421 w 9397013"/>
              <a:gd name="connsiteY10-726" fmla="*/ 6125606 h 7291226"/>
              <a:gd name="connsiteX11-727" fmla="*/ 618065 w 9397013"/>
              <a:gd name="connsiteY11-728" fmla="*/ 5770263 h 7291226"/>
              <a:gd name="connsiteX12-729" fmla="*/ 4897528 w 9397013"/>
              <a:gd name="connsiteY12-730" fmla="*/ 111354 h 7291226"/>
              <a:gd name="connsiteX13-731" fmla="*/ 5324893 w 9397013"/>
              <a:gd name="connsiteY13-732" fmla="*/ 141768 h 7291226"/>
              <a:gd name="connsiteX14-733" fmla="*/ 779421 w 9397013"/>
              <a:gd name="connsiteY14-734" fmla="*/ 6125606 h 7291226"/>
              <a:gd name="connsiteX15-735" fmla="*/ 1099910 w 9397013"/>
              <a:gd name="connsiteY15-736" fmla="*/ 6831395 h 7291226"/>
              <a:gd name="connsiteX16-737" fmla="*/ 919656 w 9397013"/>
              <a:gd name="connsiteY16-738" fmla="*/ 6434435 h 7291226"/>
              <a:gd name="connsiteX17-739" fmla="*/ 5668965 w 9397013"/>
              <a:gd name="connsiteY17-740" fmla="*/ 166254 h 7291226"/>
              <a:gd name="connsiteX18-741" fmla="*/ 6114044 w 9397013"/>
              <a:gd name="connsiteY18-742" fmla="*/ 197929 h 7291226"/>
              <a:gd name="connsiteX19-743" fmla="*/ 1099910 w 9397013"/>
              <a:gd name="connsiteY19-744" fmla="*/ 6831395 h 7291226"/>
              <a:gd name="connsiteX20-745" fmla="*/ 6968015 w 9397013"/>
              <a:gd name="connsiteY20-746" fmla="*/ 7143444 h 7291226"/>
              <a:gd name="connsiteX21-747" fmla="*/ 6670875 w 9397013"/>
              <a:gd name="connsiteY21-748" fmla="*/ 7291226 h 7291226"/>
              <a:gd name="connsiteX22-749" fmla="*/ 3849932 w 9397013"/>
              <a:gd name="connsiteY22-750" fmla="*/ 3596670 h 7291226"/>
              <a:gd name="connsiteX23-751" fmla="*/ 4086202 w 9397013"/>
              <a:gd name="connsiteY23-752" fmla="*/ 3287229 h 7291226"/>
              <a:gd name="connsiteX24-753" fmla="*/ 6968015 w 9397013"/>
              <a:gd name="connsiteY24-754" fmla="*/ 7143444 h 7291226"/>
              <a:gd name="connsiteX25-755" fmla="*/ 7777211 w 9397013"/>
              <a:gd name="connsiteY25-756" fmla="*/ 7124972 h 7291226"/>
              <a:gd name="connsiteX26-757" fmla="*/ 7324729 w 9397013"/>
              <a:gd name="connsiteY26-758" fmla="*/ 7124972 h 7291226"/>
              <a:gd name="connsiteX27-759" fmla="*/ 4245793 w 9397013"/>
              <a:gd name="connsiteY27-760" fmla="*/ 3078214 h 7291226"/>
              <a:gd name="connsiteX28-761" fmla="*/ 4490696 w 9397013"/>
              <a:gd name="connsiteY28-762" fmla="*/ 2757469 h 7291226"/>
              <a:gd name="connsiteX29-763" fmla="*/ 7777211 w 9397013"/>
              <a:gd name="connsiteY29-764" fmla="*/ 7124972 h 7291226"/>
              <a:gd name="connsiteX30-765" fmla="*/ 8567691 w 9397013"/>
              <a:gd name="connsiteY30-766" fmla="*/ 7124971 h 7291226"/>
              <a:gd name="connsiteX31-767" fmla="*/ 8159389 w 9397013"/>
              <a:gd name="connsiteY31-768" fmla="*/ 7134208 h 7291226"/>
              <a:gd name="connsiteX32-769" fmla="*/ 4650570 w 9397013"/>
              <a:gd name="connsiteY32-770" fmla="*/ 2548084 h 7291226"/>
              <a:gd name="connsiteX33-771" fmla="*/ 4869244 w 9397013"/>
              <a:gd name="connsiteY33-772" fmla="*/ 2261689 h 7291226"/>
              <a:gd name="connsiteX34-773" fmla="*/ 8567691 w 9397013"/>
              <a:gd name="connsiteY34-774" fmla="*/ 7124971 h 7291226"/>
              <a:gd name="connsiteX35-775" fmla="*/ 9397013 w 9397013"/>
              <a:gd name="connsiteY35-776" fmla="*/ 7134207 h 7291226"/>
              <a:gd name="connsiteX36-777" fmla="*/ 8921338 w 9397013"/>
              <a:gd name="connsiteY36-778" fmla="*/ 7115735 h 7291226"/>
              <a:gd name="connsiteX37-779" fmla="*/ 5045299 w 9397013"/>
              <a:gd name="connsiteY37-780" fmla="*/ 2031113 h 7291226"/>
              <a:gd name="connsiteX38-781" fmla="*/ 5273037 w 9397013"/>
              <a:gd name="connsiteY38-782" fmla="*/ 1732846 h 7291226"/>
              <a:gd name="connsiteX39-783" fmla="*/ 9397013 w 9397013"/>
              <a:gd name="connsiteY39-784" fmla="*/ 7134207 h 7291226"/>
              <a:gd name="connsiteX0-785" fmla="*/ 168369 w 9397013"/>
              <a:gd name="connsiteY0-786" fmla="*/ 4779933 h 7143444"/>
              <a:gd name="connsiteX1-787" fmla="*/ 0 w 9397013"/>
              <a:gd name="connsiteY1-788" fmla="*/ 4409146 h 7143444"/>
              <a:gd name="connsiteX2-789" fmla="*/ 3332806 w 9397013"/>
              <a:gd name="connsiteY2-790" fmla="*/ 0 h 7143444"/>
              <a:gd name="connsiteX3-791" fmla="*/ 3794560 w 9397013"/>
              <a:gd name="connsiteY3-792" fmla="*/ 32861 h 7143444"/>
              <a:gd name="connsiteX4-793" fmla="*/ 168369 w 9397013"/>
              <a:gd name="connsiteY4-794" fmla="*/ 4779933 h 7143444"/>
              <a:gd name="connsiteX5-795" fmla="*/ 488220 w 9397013"/>
              <a:gd name="connsiteY5-796" fmla="*/ 5484315 h 7143444"/>
              <a:gd name="connsiteX6-797" fmla="*/ 299082 w 9397013"/>
              <a:gd name="connsiteY6-798" fmla="*/ 5067791 h 7143444"/>
              <a:gd name="connsiteX7-799" fmla="*/ 4106456 w 9397013"/>
              <a:gd name="connsiteY7-800" fmla="*/ 55057 h 7143444"/>
              <a:gd name="connsiteX8-801" fmla="*/ 4585079 w 9397013"/>
              <a:gd name="connsiteY8-802" fmla="*/ 89119 h 7143444"/>
              <a:gd name="connsiteX9-803" fmla="*/ 488220 w 9397013"/>
              <a:gd name="connsiteY9-804" fmla="*/ 5484315 h 7143444"/>
              <a:gd name="connsiteX10-805" fmla="*/ 779421 w 9397013"/>
              <a:gd name="connsiteY10-806" fmla="*/ 6125606 h 7143444"/>
              <a:gd name="connsiteX11-807" fmla="*/ 618065 w 9397013"/>
              <a:gd name="connsiteY11-808" fmla="*/ 5770263 h 7143444"/>
              <a:gd name="connsiteX12-809" fmla="*/ 4897528 w 9397013"/>
              <a:gd name="connsiteY12-810" fmla="*/ 111354 h 7143444"/>
              <a:gd name="connsiteX13-811" fmla="*/ 5324893 w 9397013"/>
              <a:gd name="connsiteY13-812" fmla="*/ 141768 h 7143444"/>
              <a:gd name="connsiteX14-813" fmla="*/ 779421 w 9397013"/>
              <a:gd name="connsiteY14-814" fmla="*/ 6125606 h 7143444"/>
              <a:gd name="connsiteX15-815" fmla="*/ 1099910 w 9397013"/>
              <a:gd name="connsiteY15-816" fmla="*/ 6831395 h 7143444"/>
              <a:gd name="connsiteX16-817" fmla="*/ 919656 w 9397013"/>
              <a:gd name="connsiteY16-818" fmla="*/ 6434435 h 7143444"/>
              <a:gd name="connsiteX17-819" fmla="*/ 5668965 w 9397013"/>
              <a:gd name="connsiteY17-820" fmla="*/ 166254 h 7143444"/>
              <a:gd name="connsiteX18-821" fmla="*/ 6114044 w 9397013"/>
              <a:gd name="connsiteY18-822" fmla="*/ 197929 h 7143444"/>
              <a:gd name="connsiteX19-823" fmla="*/ 1099910 w 9397013"/>
              <a:gd name="connsiteY19-824" fmla="*/ 6831395 h 7143444"/>
              <a:gd name="connsiteX20-825" fmla="*/ 6968015 w 9397013"/>
              <a:gd name="connsiteY20-826" fmla="*/ 7143444 h 7143444"/>
              <a:gd name="connsiteX21-827" fmla="*/ 6550802 w 9397013"/>
              <a:gd name="connsiteY21-828" fmla="*/ 7143444 h 7143444"/>
              <a:gd name="connsiteX22-829" fmla="*/ 3849932 w 9397013"/>
              <a:gd name="connsiteY22-830" fmla="*/ 3596670 h 7143444"/>
              <a:gd name="connsiteX23-831" fmla="*/ 4086202 w 9397013"/>
              <a:gd name="connsiteY23-832" fmla="*/ 3287229 h 7143444"/>
              <a:gd name="connsiteX24-833" fmla="*/ 6968015 w 9397013"/>
              <a:gd name="connsiteY24-834" fmla="*/ 7143444 h 7143444"/>
              <a:gd name="connsiteX25-835" fmla="*/ 7777211 w 9397013"/>
              <a:gd name="connsiteY25-836" fmla="*/ 7124972 h 7143444"/>
              <a:gd name="connsiteX26-837" fmla="*/ 7324729 w 9397013"/>
              <a:gd name="connsiteY26-838" fmla="*/ 7124972 h 7143444"/>
              <a:gd name="connsiteX27-839" fmla="*/ 4245793 w 9397013"/>
              <a:gd name="connsiteY27-840" fmla="*/ 3078214 h 7143444"/>
              <a:gd name="connsiteX28-841" fmla="*/ 4490696 w 9397013"/>
              <a:gd name="connsiteY28-842" fmla="*/ 2757469 h 7143444"/>
              <a:gd name="connsiteX29-843" fmla="*/ 7777211 w 9397013"/>
              <a:gd name="connsiteY29-844" fmla="*/ 7124972 h 7143444"/>
              <a:gd name="connsiteX30-845" fmla="*/ 8567691 w 9397013"/>
              <a:gd name="connsiteY30-846" fmla="*/ 7124971 h 7143444"/>
              <a:gd name="connsiteX31-847" fmla="*/ 8159389 w 9397013"/>
              <a:gd name="connsiteY31-848" fmla="*/ 7134208 h 7143444"/>
              <a:gd name="connsiteX32-849" fmla="*/ 4650570 w 9397013"/>
              <a:gd name="connsiteY32-850" fmla="*/ 2548084 h 7143444"/>
              <a:gd name="connsiteX33-851" fmla="*/ 4869244 w 9397013"/>
              <a:gd name="connsiteY33-852" fmla="*/ 2261689 h 7143444"/>
              <a:gd name="connsiteX34-853" fmla="*/ 8567691 w 9397013"/>
              <a:gd name="connsiteY34-854" fmla="*/ 7124971 h 7143444"/>
              <a:gd name="connsiteX35-855" fmla="*/ 9397013 w 9397013"/>
              <a:gd name="connsiteY35-856" fmla="*/ 7134207 h 7143444"/>
              <a:gd name="connsiteX36-857" fmla="*/ 8921338 w 9397013"/>
              <a:gd name="connsiteY36-858" fmla="*/ 7115735 h 7143444"/>
              <a:gd name="connsiteX37-859" fmla="*/ 5045299 w 9397013"/>
              <a:gd name="connsiteY37-860" fmla="*/ 2031113 h 7143444"/>
              <a:gd name="connsiteX38-861" fmla="*/ 5273037 w 9397013"/>
              <a:gd name="connsiteY38-862" fmla="*/ 1732846 h 7143444"/>
              <a:gd name="connsiteX39-863" fmla="*/ 9397013 w 9397013"/>
              <a:gd name="connsiteY39-864" fmla="*/ 7134207 h 7143444"/>
              <a:gd name="connsiteX0-865" fmla="*/ 168369 w 9397013"/>
              <a:gd name="connsiteY0-866" fmla="*/ 4779933 h 7143444"/>
              <a:gd name="connsiteX1-867" fmla="*/ 0 w 9397013"/>
              <a:gd name="connsiteY1-868" fmla="*/ 4409146 h 7143444"/>
              <a:gd name="connsiteX2-869" fmla="*/ 3332806 w 9397013"/>
              <a:gd name="connsiteY2-870" fmla="*/ 0 h 7143444"/>
              <a:gd name="connsiteX3-871" fmla="*/ 3794560 w 9397013"/>
              <a:gd name="connsiteY3-872" fmla="*/ 32861 h 7143444"/>
              <a:gd name="connsiteX4-873" fmla="*/ 168369 w 9397013"/>
              <a:gd name="connsiteY4-874" fmla="*/ 4779933 h 7143444"/>
              <a:gd name="connsiteX5-875" fmla="*/ 488220 w 9397013"/>
              <a:gd name="connsiteY5-876" fmla="*/ 5484315 h 7143444"/>
              <a:gd name="connsiteX6-877" fmla="*/ 299082 w 9397013"/>
              <a:gd name="connsiteY6-878" fmla="*/ 5067791 h 7143444"/>
              <a:gd name="connsiteX7-879" fmla="*/ 4106456 w 9397013"/>
              <a:gd name="connsiteY7-880" fmla="*/ 55057 h 7143444"/>
              <a:gd name="connsiteX8-881" fmla="*/ 4585079 w 9397013"/>
              <a:gd name="connsiteY8-882" fmla="*/ 89119 h 7143444"/>
              <a:gd name="connsiteX9-883" fmla="*/ 488220 w 9397013"/>
              <a:gd name="connsiteY9-884" fmla="*/ 5484315 h 7143444"/>
              <a:gd name="connsiteX10-885" fmla="*/ 779421 w 9397013"/>
              <a:gd name="connsiteY10-886" fmla="*/ 6125606 h 7143444"/>
              <a:gd name="connsiteX11-887" fmla="*/ 618065 w 9397013"/>
              <a:gd name="connsiteY11-888" fmla="*/ 5770263 h 7143444"/>
              <a:gd name="connsiteX12-889" fmla="*/ 4897528 w 9397013"/>
              <a:gd name="connsiteY12-890" fmla="*/ 111354 h 7143444"/>
              <a:gd name="connsiteX13-891" fmla="*/ 5324893 w 9397013"/>
              <a:gd name="connsiteY13-892" fmla="*/ 141768 h 7143444"/>
              <a:gd name="connsiteX14-893" fmla="*/ 779421 w 9397013"/>
              <a:gd name="connsiteY14-894" fmla="*/ 6125606 h 7143444"/>
              <a:gd name="connsiteX15-895" fmla="*/ 1099910 w 9397013"/>
              <a:gd name="connsiteY15-896" fmla="*/ 6831395 h 7143444"/>
              <a:gd name="connsiteX16-897" fmla="*/ 919656 w 9397013"/>
              <a:gd name="connsiteY16-898" fmla="*/ 6434435 h 7143444"/>
              <a:gd name="connsiteX17-899" fmla="*/ 5668965 w 9397013"/>
              <a:gd name="connsiteY17-900" fmla="*/ 166254 h 7143444"/>
              <a:gd name="connsiteX18-901" fmla="*/ 6114044 w 9397013"/>
              <a:gd name="connsiteY18-902" fmla="*/ 197929 h 7143444"/>
              <a:gd name="connsiteX19-903" fmla="*/ 1099910 w 9397013"/>
              <a:gd name="connsiteY19-904" fmla="*/ 6831395 h 7143444"/>
              <a:gd name="connsiteX20-905" fmla="*/ 6958778 w 9397013"/>
              <a:gd name="connsiteY20-906" fmla="*/ 7124971 h 7143444"/>
              <a:gd name="connsiteX21-907" fmla="*/ 6550802 w 9397013"/>
              <a:gd name="connsiteY21-908" fmla="*/ 7143444 h 7143444"/>
              <a:gd name="connsiteX22-909" fmla="*/ 3849932 w 9397013"/>
              <a:gd name="connsiteY22-910" fmla="*/ 3596670 h 7143444"/>
              <a:gd name="connsiteX23-911" fmla="*/ 4086202 w 9397013"/>
              <a:gd name="connsiteY23-912" fmla="*/ 3287229 h 7143444"/>
              <a:gd name="connsiteX24-913" fmla="*/ 6958778 w 9397013"/>
              <a:gd name="connsiteY24-914" fmla="*/ 7124971 h 7143444"/>
              <a:gd name="connsiteX25-915" fmla="*/ 7777211 w 9397013"/>
              <a:gd name="connsiteY25-916" fmla="*/ 7124972 h 7143444"/>
              <a:gd name="connsiteX26-917" fmla="*/ 7324729 w 9397013"/>
              <a:gd name="connsiteY26-918" fmla="*/ 7124972 h 7143444"/>
              <a:gd name="connsiteX27-919" fmla="*/ 4245793 w 9397013"/>
              <a:gd name="connsiteY27-920" fmla="*/ 3078214 h 7143444"/>
              <a:gd name="connsiteX28-921" fmla="*/ 4490696 w 9397013"/>
              <a:gd name="connsiteY28-922" fmla="*/ 2757469 h 7143444"/>
              <a:gd name="connsiteX29-923" fmla="*/ 7777211 w 9397013"/>
              <a:gd name="connsiteY29-924" fmla="*/ 7124972 h 7143444"/>
              <a:gd name="connsiteX30-925" fmla="*/ 8567691 w 9397013"/>
              <a:gd name="connsiteY30-926" fmla="*/ 7124971 h 7143444"/>
              <a:gd name="connsiteX31-927" fmla="*/ 8159389 w 9397013"/>
              <a:gd name="connsiteY31-928" fmla="*/ 7134208 h 7143444"/>
              <a:gd name="connsiteX32-929" fmla="*/ 4650570 w 9397013"/>
              <a:gd name="connsiteY32-930" fmla="*/ 2548084 h 7143444"/>
              <a:gd name="connsiteX33-931" fmla="*/ 4869244 w 9397013"/>
              <a:gd name="connsiteY33-932" fmla="*/ 2261689 h 7143444"/>
              <a:gd name="connsiteX34-933" fmla="*/ 8567691 w 9397013"/>
              <a:gd name="connsiteY34-934" fmla="*/ 7124971 h 7143444"/>
              <a:gd name="connsiteX35-935" fmla="*/ 9397013 w 9397013"/>
              <a:gd name="connsiteY35-936" fmla="*/ 7134207 h 7143444"/>
              <a:gd name="connsiteX36-937" fmla="*/ 8921338 w 9397013"/>
              <a:gd name="connsiteY36-938" fmla="*/ 7115735 h 7143444"/>
              <a:gd name="connsiteX37-939" fmla="*/ 5045299 w 9397013"/>
              <a:gd name="connsiteY37-940" fmla="*/ 2031113 h 7143444"/>
              <a:gd name="connsiteX38-941" fmla="*/ 5273037 w 9397013"/>
              <a:gd name="connsiteY38-942" fmla="*/ 1732846 h 7143444"/>
              <a:gd name="connsiteX39-943" fmla="*/ 9397013 w 9397013"/>
              <a:gd name="connsiteY39-944" fmla="*/ 7134207 h 7143444"/>
              <a:gd name="connsiteX0-945" fmla="*/ 168369 w 9397013"/>
              <a:gd name="connsiteY0-946" fmla="*/ 4779933 h 7134208"/>
              <a:gd name="connsiteX1-947" fmla="*/ 0 w 9397013"/>
              <a:gd name="connsiteY1-948" fmla="*/ 4409146 h 7134208"/>
              <a:gd name="connsiteX2-949" fmla="*/ 3332806 w 9397013"/>
              <a:gd name="connsiteY2-950" fmla="*/ 0 h 7134208"/>
              <a:gd name="connsiteX3-951" fmla="*/ 3794560 w 9397013"/>
              <a:gd name="connsiteY3-952" fmla="*/ 32861 h 7134208"/>
              <a:gd name="connsiteX4-953" fmla="*/ 168369 w 9397013"/>
              <a:gd name="connsiteY4-954" fmla="*/ 4779933 h 7134208"/>
              <a:gd name="connsiteX5-955" fmla="*/ 488220 w 9397013"/>
              <a:gd name="connsiteY5-956" fmla="*/ 5484315 h 7134208"/>
              <a:gd name="connsiteX6-957" fmla="*/ 299082 w 9397013"/>
              <a:gd name="connsiteY6-958" fmla="*/ 5067791 h 7134208"/>
              <a:gd name="connsiteX7-959" fmla="*/ 4106456 w 9397013"/>
              <a:gd name="connsiteY7-960" fmla="*/ 55057 h 7134208"/>
              <a:gd name="connsiteX8-961" fmla="*/ 4585079 w 9397013"/>
              <a:gd name="connsiteY8-962" fmla="*/ 89119 h 7134208"/>
              <a:gd name="connsiteX9-963" fmla="*/ 488220 w 9397013"/>
              <a:gd name="connsiteY9-964" fmla="*/ 5484315 h 7134208"/>
              <a:gd name="connsiteX10-965" fmla="*/ 779421 w 9397013"/>
              <a:gd name="connsiteY10-966" fmla="*/ 6125606 h 7134208"/>
              <a:gd name="connsiteX11-967" fmla="*/ 618065 w 9397013"/>
              <a:gd name="connsiteY11-968" fmla="*/ 5770263 h 7134208"/>
              <a:gd name="connsiteX12-969" fmla="*/ 4897528 w 9397013"/>
              <a:gd name="connsiteY12-970" fmla="*/ 111354 h 7134208"/>
              <a:gd name="connsiteX13-971" fmla="*/ 5324893 w 9397013"/>
              <a:gd name="connsiteY13-972" fmla="*/ 141768 h 7134208"/>
              <a:gd name="connsiteX14-973" fmla="*/ 779421 w 9397013"/>
              <a:gd name="connsiteY14-974" fmla="*/ 6125606 h 7134208"/>
              <a:gd name="connsiteX15-975" fmla="*/ 1099910 w 9397013"/>
              <a:gd name="connsiteY15-976" fmla="*/ 6831395 h 7134208"/>
              <a:gd name="connsiteX16-977" fmla="*/ 919656 w 9397013"/>
              <a:gd name="connsiteY16-978" fmla="*/ 6434435 h 7134208"/>
              <a:gd name="connsiteX17-979" fmla="*/ 5668965 w 9397013"/>
              <a:gd name="connsiteY17-980" fmla="*/ 166254 h 7134208"/>
              <a:gd name="connsiteX18-981" fmla="*/ 6114044 w 9397013"/>
              <a:gd name="connsiteY18-982" fmla="*/ 197929 h 7134208"/>
              <a:gd name="connsiteX19-983" fmla="*/ 1099910 w 9397013"/>
              <a:gd name="connsiteY19-984" fmla="*/ 6831395 h 7134208"/>
              <a:gd name="connsiteX20-985" fmla="*/ 6958778 w 9397013"/>
              <a:gd name="connsiteY20-986" fmla="*/ 7124971 h 7134208"/>
              <a:gd name="connsiteX21-987" fmla="*/ 6541566 w 9397013"/>
              <a:gd name="connsiteY21-988" fmla="*/ 7115735 h 7134208"/>
              <a:gd name="connsiteX22-989" fmla="*/ 3849932 w 9397013"/>
              <a:gd name="connsiteY22-990" fmla="*/ 3596670 h 7134208"/>
              <a:gd name="connsiteX23-991" fmla="*/ 4086202 w 9397013"/>
              <a:gd name="connsiteY23-992" fmla="*/ 3287229 h 7134208"/>
              <a:gd name="connsiteX24-993" fmla="*/ 6958778 w 9397013"/>
              <a:gd name="connsiteY24-994" fmla="*/ 7124971 h 7134208"/>
              <a:gd name="connsiteX25-995" fmla="*/ 7777211 w 9397013"/>
              <a:gd name="connsiteY25-996" fmla="*/ 7124972 h 7134208"/>
              <a:gd name="connsiteX26-997" fmla="*/ 7324729 w 9397013"/>
              <a:gd name="connsiteY26-998" fmla="*/ 7124972 h 7134208"/>
              <a:gd name="connsiteX27-999" fmla="*/ 4245793 w 9397013"/>
              <a:gd name="connsiteY27-1000" fmla="*/ 3078214 h 7134208"/>
              <a:gd name="connsiteX28-1001" fmla="*/ 4490696 w 9397013"/>
              <a:gd name="connsiteY28-1002" fmla="*/ 2757469 h 7134208"/>
              <a:gd name="connsiteX29-1003" fmla="*/ 7777211 w 9397013"/>
              <a:gd name="connsiteY29-1004" fmla="*/ 7124972 h 7134208"/>
              <a:gd name="connsiteX30-1005" fmla="*/ 8567691 w 9397013"/>
              <a:gd name="connsiteY30-1006" fmla="*/ 7124971 h 7134208"/>
              <a:gd name="connsiteX31-1007" fmla="*/ 8159389 w 9397013"/>
              <a:gd name="connsiteY31-1008" fmla="*/ 7134208 h 7134208"/>
              <a:gd name="connsiteX32-1009" fmla="*/ 4650570 w 9397013"/>
              <a:gd name="connsiteY32-1010" fmla="*/ 2548084 h 7134208"/>
              <a:gd name="connsiteX33-1011" fmla="*/ 4869244 w 9397013"/>
              <a:gd name="connsiteY33-1012" fmla="*/ 2261689 h 7134208"/>
              <a:gd name="connsiteX34-1013" fmla="*/ 8567691 w 9397013"/>
              <a:gd name="connsiteY34-1014" fmla="*/ 7124971 h 7134208"/>
              <a:gd name="connsiteX35-1015" fmla="*/ 9397013 w 9397013"/>
              <a:gd name="connsiteY35-1016" fmla="*/ 7134207 h 7134208"/>
              <a:gd name="connsiteX36-1017" fmla="*/ 8921338 w 9397013"/>
              <a:gd name="connsiteY36-1018" fmla="*/ 7115735 h 7134208"/>
              <a:gd name="connsiteX37-1019" fmla="*/ 5045299 w 9397013"/>
              <a:gd name="connsiteY37-1020" fmla="*/ 2031113 h 7134208"/>
              <a:gd name="connsiteX38-1021" fmla="*/ 5273037 w 9397013"/>
              <a:gd name="connsiteY38-1022" fmla="*/ 1732846 h 7134208"/>
              <a:gd name="connsiteX39-1023" fmla="*/ 9397013 w 9397013"/>
              <a:gd name="connsiteY39-1024" fmla="*/ 7134207 h 7134208"/>
              <a:gd name="connsiteX0-1025" fmla="*/ 168369 w 9397013"/>
              <a:gd name="connsiteY0-1026" fmla="*/ 4779933 h 7134208"/>
              <a:gd name="connsiteX1-1027" fmla="*/ 0 w 9397013"/>
              <a:gd name="connsiteY1-1028" fmla="*/ 4409146 h 7134208"/>
              <a:gd name="connsiteX2-1029" fmla="*/ 3332806 w 9397013"/>
              <a:gd name="connsiteY2-1030" fmla="*/ 0 h 7134208"/>
              <a:gd name="connsiteX3-1031" fmla="*/ 3794560 w 9397013"/>
              <a:gd name="connsiteY3-1032" fmla="*/ 32861 h 7134208"/>
              <a:gd name="connsiteX4-1033" fmla="*/ 168369 w 9397013"/>
              <a:gd name="connsiteY4-1034" fmla="*/ 4779933 h 7134208"/>
              <a:gd name="connsiteX5-1035" fmla="*/ 488220 w 9397013"/>
              <a:gd name="connsiteY5-1036" fmla="*/ 5484315 h 7134208"/>
              <a:gd name="connsiteX6-1037" fmla="*/ 299082 w 9397013"/>
              <a:gd name="connsiteY6-1038" fmla="*/ 5067791 h 7134208"/>
              <a:gd name="connsiteX7-1039" fmla="*/ 4106456 w 9397013"/>
              <a:gd name="connsiteY7-1040" fmla="*/ 55057 h 7134208"/>
              <a:gd name="connsiteX8-1041" fmla="*/ 4585079 w 9397013"/>
              <a:gd name="connsiteY8-1042" fmla="*/ 89119 h 7134208"/>
              <a:gd name="connsiteX9-1043" fmla="*/ 488220 w 9397013"/>
              <a:gd name="connsiteY9-1044" fmla="*/ 5484315 h 7134208"/>
              <a:gd name="connsiteX10-1045" fmla="*/ 779421 w 9397013"/>
              <a:gd name="connsiteY10-1046" fmla="*/ 6125606 h 7134208"/>
              <a:gd name="connsiteX11-1047" fmla="*/ 618065 w 9397013"/>
              <a:gd name="connsiteY11-1048" fmla="*/ 5770263 h 7134208"/>
              <a:gd name="connsiteX12-1049" fmla="*/ 4897528 w 9397013"/>
              <a:gd name="connsiteY12-1050" fmla="*/ 111354 h 7134208"/>
              <a:gd name="connsiteX13-1051" fmla="*/ 5324893 w 9397013"/>
              <a:gd name="connsiteY13-1052" fmla="*/ 141768 h 7134208"/>
              <a:gd name="connsiteX14-1053" fmla="*/ 779421 w 9397013"/>
              <a:gd name="connsiteY14-1054" fmla="*/ 6125606 h 7134208"/>
              <a:gd name="connsiteX15-1055" fmla="*/ 1099910 w 9397013"/>
              <a:gd name="connsiteY15-1056" fmla="*/ 6831395 h 7134208"/>
              <a:gd name="connsiteX16-1057" fmla="*/ 919656 w 9397013"/>
              <a:gd name="connsiteY16-1058" fmla="*/ 6434435 h 7134208"/>
              <a:gd name="connsiteX17-1059" fmla="*/ 5668965 w 9397013"/>
              <a:gd name="connsiteY17-1060" fmla="*/ 166254 h 7134208"/>
              <a:gd name="connsiteX18-1061" fmla="*/ 6114044 w 9397013"/>
              <a:gd name="connsiteY18-1062" fmla="*/ 197929 h 7134208"/>
              <a:gd name="connsiteX19-1063" fmla="*/ 1099910 w 9397013"/>
              <a:gd name="connsiteY19-1064" fmla="*/ 6831395 h 7134208"/>
              <a:gd name="connsiteX20-1065" fmla="*/ 6958778 w 9397013"/>
              <a:gd name="connsiteY20-1066" fmla="*/ 7124971 h 7134208"/>
              <a:gd name="connsiteX21-1067" fmla="*/ 6560038 w 9397013"/>
              <a:gd name="connsiteY21-1068" fmla="*/ 7134207 h 7134208"/>
              <a:gd name="connsiteX22-1069" fmla="*/ 3849932 w 9397013"/>
              <a:gd name="connsiteY22-1070" fmla="*/ 3596670 h 7134208"/>
              <a:gd name="connsiteX23-1071" fmla="*/ 4086202 w 9397013"/>
              <a:gd name="connsiteY23-1072" fmla="*/ 3287229 h 7134208"/>
              <a:gd name="connsiteX24-1073" fmla="*/ 6958778 w 9397013"/>
              <a:gd name="connsiteY24-1074" fmla="*/ 7124971 h 7134208"/>
              <a:gd name="connsiteX25-1075" fmla="*/ 7777211 w 9397013"/>
              <a:gd name="connsiteY25-1076" fmla="*/ 7124972 h 7134208"/>
              <a:gd name="connsiteX26-1077" fmla="*/ 7324729 w 9397013"/>
              <a:gd name="connsiteY26-1078" fmla="*/ 7124972 h 7134208"/>
              <a:gd name="connsiteX27-1079" fmla="*/ 4245793 w 9397013"/>
              <a:gd name="connsiteY27-1080" fmla="*/ 3078214 h 7134208"/>
              <a:gd name="connsiteX28-1081" fmla="*/ 4490696 w 9397013"/>
              <a:gd name="connsiteY28-1082" fmla="*/ 2757469 h 7134208"/>
              <a:gd name="connsiteX29-1083" fmla="*/ 7777211 w 9397013"/>
              <a:gd name="connsiteY29-1084" fmla="*/ 7124972 h 7134208"/>
              <a:gd name="connsiteX30-1085" fmla="*/ 8567691 w 9397013"/>
              <a:gd name="connsiteY30-1086" fmla="*/ 7124971 h 7134208"/>
              <a:gd name="connsiteX31-1087" fmla="*/ 8159389 w 9397013"/>
              <a:gd name="connsiteY31-1088" fmla="*/ 7134208 h 7134208"/>
              <a:gd name="connsiteX32-1089" fmla="*/ 4650570 w 9397013"/>
              <a:gd name="connsiteY32-1090" fmla="*/ 2548084 h 7134208"/>
              <a:gd name="connsiteX33-1091" fmla="*/ 4869244 w 9397013"/>
              <a:gd name="connsiteY33-1092" fmla="*/ 2261689 h 7134208"/>
              <a:gd name="connsiteX34-1093" fmla="*/ 8567691 w 9397013"/>
              <a:gd name="connsiteY34-1094" fmla="*/ 7124971 h 7134208"/>
              <a:gd name="connsiteX35-1095" fmla="*/ 9397013 w 9397013"/>
              <a:gd name="connsiteY35-1096" fmla="*/ 7134207 h 7134208"/>
              <a:gd name="connsiteX36-1097" fmla="*/ 8921338 w 9397013"/>
              <a:gd name="connsiteY36-1098" fmla="*/ 7115735 h 7134208"/>
              <a:gd name="connsiteX37-1099" fmla="*/ 5045299 w 9397013"/>
              <a:gd name="connsiteY37-1100" fmla="*/ 2031113 h 7134208"/>
              <a:gd name="connsiteX38-1101" fmla="*/ 5273037 w 9397013"/>
              <a:gd name="connsiteY38-1102" fmla="*/ 1732846 h 7134208"/>
              <a:gd name="connsiteX39-1103" fmla="*/ 9397013 w 9397013"/>
              <a:gd name="connsiteY39-1104" fmla="*/ 7134207 h 7134208"/>
              <a:gd name="connsiteX0-1105" fmla="*/ 168369 w 9397013"/>
              <a:gd name="connsiteY0-1106" fmla="*/ 4779933 h 7134208"/>
              <a:gd name="connsiteX1-1107" fmla="*/ 0 w 9397013"/>
              <a:gd name="connsiteY1-1108" fmla="*/ 4409146 h 7134208"/>
              <a:gd name="connsiteX2-1109" fmla="*/ 3332806 w 9397013"/>
              <a:gd name="connsiteY2-1110" fmla="*/ 0 h 7134208"/>
              <a:gd name="connsiteX3-1111" fmla="*/ 3794560 w 9397013"/>
              <a:gd name="connsiteY3-1112" fmla="*/ 32861 h 7134208"/>
              <a:gd name="connsiteX4-1113" fmla="*/ 168369 w 9397013"/>
              <a:gd name="connsiteY4-1114" fmla="*/ 4779933 h 7134208"/>
              <a:gd name="connsiteX5-1115" fmla="*/ 488220 w 9397013"/>
              <a:gd name="connsiteY5-1116" fmla="*/ 5484315 h 7134208"/>
              <a:gd name="connsiteX6-1117" fmla="*/ 299082 w 9397013"/>
              <a:gd name="connsiteY6-1118" fmla="*/ 5067791 h 7134208"/>
              <a:gd name="connsiteX7-1119" fmla="*/ 4106456 w 9397013"/>
              <a:gd name="connsiteY7-1120" fmla="*/ 55057 h 7134208"/>
              <a:gd name="connsiteX8-1121" fmla="*/ 4585079 w 9397013"/>
              <a:gd name="connsiteY8-1122" fmla="*/ 89119 h 7134208"/>
              <a:gd name="connsiteX9-1123" fmla="*/ 488220 w 9397013"/>
              <a:gd name="connsiteY9-1124" fmla="*/ 5484315 h 7134208"/>
              <a:gd name="connsiteX10-1125" fmla="*/ 779421 w 9397013"/>
              <a:gd name="connsiteY10-1126" fmla="*/ 6125606 h 7134208"/>
              <a:gd name="connsiteX11-1127" fmla="*/ 618065 w 9397013"/>
              <a:gd name="connsiteY11-1128" fmla="*/ 5770263 h 7134208"/>
              <a:gd name="connsiteX12-1129" fmla="*/ 4897528 w 9397013"/>
              <a:gd name="connsiteY12-1130" fmla="*/ 111354 h 7134208"/>
              <a:gd name="connsiteX13-1131" fmla="*/ 5324893 w 9397013"/>
              <a:gd name="connsiteY13-1132" fmla="*/ 141768 h 7134208"/>
              <a:gd name="connsiteX14-1133" fmla="*/ 779421 w 9397013"/>
              <a:gd name="connsiteY14-1134" fmla="*/ 6125606 h 7134208"/>
              <a:gd name="connsiteX15-1135" fmla="*/ 1099910 w 9397013"/>
              <a:gd name="connsiteY15-1136" fmla="*/ 6831395 h 7134208"/>
              <a:gd name="connsiteX16-1137" fmla="*/ 919656 w 9397013"/>
              <a:gd name="connsiteY16-1138" fmla="*/ 6434435 h 7134208"/>
              <a:gd name="connsiteX17-1139" fmla="*/ 5668965 w 9397013"/>
              <a:gd name="connsiteY17-1140" fmla="*/ 166254 h 7134208"/>
              <a:gd name="connsiteX18-1141" fmla="*/ 6077099 w 9397013"/>
              <a:gd name="connsiteY18-1142" fmla="*/ 225638 h 7134208"/>
              <a:gd name="connsiteX19-1143" fmla="*/ 1099910 w 9397013"/>
              <a:gd name="connsiteY19-1144" fmla="*/ 6831395 h 7134208"/>
              <a:gd name="connsiteX20-1145" fmla="*/ 6958778 w 9397013"/>
              <a:gd name="connsiteY20-1146" fmla="*/ 7124971 h 7134208"/>
              <a:gd name="connsiteX21-1147" fmla="*/ 6560038 w 9397013"/>
              <a:gd name="connsiteY21-1148" fmla="*/ 7134207 h 7134208"/>
              <a:gd name="connsiteX22-1149" fmla="*/ 3849932 w 9397013"/>
              <a:gd name="connsiteY22-1150" fmla="*/ 3596670 h 7134208"/>
              <a:gd name="connsiteX23-1151" fmla="*/ 4086202 w 9397013"/>
              <a:gd name="connsiteY23-1152" fmla="*/ 3287229 h 7134208"/>
              <a:gd name="connsiteX24-1153" fmla="*/ 6958778 w 9397013"/>
              <a:gd name="connsiteY24-1154" fmla="*/ 7124971 h 7134208"/>
              <a:gd name="connsiteX25-1155" fmla="*/ 7777211 w 9397013"/>
              <a:gd name="connsiteY25-1156" fmla="*/ 7124972 h 7134208"/>
              <a:gd name="connsiteX26-1157" fmla="*/ 7324729 w 9397013"/>
              <a:gd name="connsiteY26-1158" fmla="*/ 7124972 h 7134208"/>
              <a:gd name="connsiteX27-1159" fmla="*/ 4245793 w 9397013"/>
              <a:gd name="connsiteY27-1160" fmla="*/ 3078214 h 7134208"/>
              <a:gd name="connsiteX28-1161" fmla="*/ 4490696 w 9397013"/>
              <a:gd name="connsiteY28-1162" fmla="*/ 2757469 h 7134208"/>
              <a:gd name="connsiteX29-1163" fmla="*/ 7777211 w 9397013"/>
              <a:gd name="connsiteY29-1164" fmla="*/ 7124972 h 7134208"/>
              <a:gd name="connsiteX30-1165" fmla="*/ 8567691 w 9397013"/>
              <a:gd name="connsiteY30-1166" fmla="*/ 7124971 h 7134208"/>
              <a:gd name="connsiteX31-1167" fmla="*/ 8159389 w 9397013"/>
              <a:gd name="connsiteY31-1168" fmla="*/ 7134208 h 7134208"/>
              <a:gd name="connsiteX32-1169" fmla="*/ 4650570 w 9397013"/>
              <a:gd name="connsiteY32-1170" fmla="*/ 2548084 h 7134208"/>
              <a:gd name="connsiteX33-1171" fmla="*/ 4869244 w 9397013"/>
              <a:gd name="connsiteY33-1172" fmla="*/ 2261689 h 7134208"/>
              <a:gd name="connsiteX34-1173" fmla="*/ 8567691 w 9397013"/>
              <a:gd name="connsiteY34-1174" fmla="*/ 7124971 h 7134208"/>
              <a:gd name="connsiteX35-1175" fmla="*/ 9397013 w 9397013"/>
              <a:gd name="connsiteY35-1176" fmla="*/ 7134207 h 7134208"/>
              <a:gd name="connsiteX36-1177" fmla="*/ 8921338 w 9397013"/>
              <a:gd name="connsiteY36-1178" fmla="*/ 7115735 h 7134208"/>
              <a:gd name="connsiteX37-1179" fmla="*/ 5045299 w 9397013"/>
              <a:gd name="connsiteY37-1180" fmla="*/ 2031113 h 7134208"/>
              <a:gd name="connsiteX38-1181" fmla="*/ 5273037 w 9397013"/>
              <a:gd name="connsiteY38-1182" fmla="*/ 1732846 h 7134208"/>
              <a:gd name="connsiteX39-1183" fmla="*/ 9397013 w 9397013"/>
              <a:gd name="connsiteY39-1184" fmla="*/ 7134207 h 7134208"/>
              <a:gd name="connsiteX0-1185" fmla="*/ 168369 w 9397013"/>
              <a:gd name="connsiteY0-1186" fmla="*/ 4779933 h 7134208"/>
              <a:gd name="connsiteX1-1187" fmla="*/ 0 w 9397013"/>
              <a:gd name="connsiteY1-1188" fmla="*/ 4409146 h 7134208"/>
              <a:gd name="connsiteX2-1189" fmla="*/ 3332806 w 9397013"/>
              <a:gd name="connsiteY2-1190" fmla="*/ 0 h 7134208"/>
              <a:gd name="connsiteX3-1191" fmla="*/ 3794560 w 9397013"/>
              <a:gd name="connsiteY3-1192" fmla="*/ 32861 h 7134208"/>
              <a:gd name="connsiteX4-1193" fmla="*/ 168369 w 9397013"/>
              <a:gd name="connsiteY4-1194" fmla="*/ 4779933 h 7134208"/>
              <a:gd name="connsiteX5-1195" fmla="*/ 488220 w 9397013"/>
              <a:gd name="connsiteY5-1196" fmla="*/ 5484315 h 7134208"/>
              <a:gd name="connsiteX6-1197" fmla="*/ 299082 w 9397013"/>
              <a:gd name="connsiteY6-1198" fmla="*/ 5067791 h 7134208"/>
              <a:gd name="connsiteX7-1199" fmla="*/ 4106456 w 9397013"/>
              <a:gd name="connsiteY7-1200" fmla="*/ 55057 h 7134208"/>
              <a:gd name="connsiteX8-1201" fmla="*/ 4585079 w 9397013"/>
              <a:gd name="connsiteY8-1202" fmla="*/ 89119 h 7134208"/>
              <a:gd name="connsiteX9-1203" fmla="*/ 488220 w 9397013"/>
              <a:gd name="connsiteY9-1204" fmla="*/ 5484315 h 7134208"/>
              <a:gd name="connsiteX10-1205" fmla="*/ 779421 w 9397013"/>
              <a:gd name="connsiteY10-1206" fmla="*/ 6125606 h 7134208"/>
              <a:gd name="connsiteX11-1207" fmla="*/ 618065 w 9397013"/>
              <a:gd name="connsiteY11-1208" fmla="*/ 5770263 h 7134208"/>
              <a:gd name="connsiteX12-1209" fmla="*/ 4897528 w 9397013"/>
              <a:gd name="connsiteY12-1210" fmla="*/ 111354 h 7134208"/>
              <a:gd name="connsiteX13-1211" fmla="*/ 5324893 w 9397013"/>
              <a:gd name="connsiteY13-1212" fmla="*/ 141768 h 7134208"/>
              <a:gd name="connsiteX14-1213" fmla="*/ 779421 w 9397013"/>
              <a:gd name="connsiteY14-1214" fmla="*/ 6125606 h 7134208"/>
              <a:gd name="connsiteX15-1215" fmla="*/ 1099910 w 9397013"/>
              <a:gd name="connsiteY15-1216" fmla="*/ 6831395 h 7134208"/>
              <a:gd name="connsiteX16-1217" fmla="*/ 919656 w 9397013"/>
              <a:gd name="connsiteY16-1218" fmla="*/ 6434435 h 7134208"/>
              <a:gd name="connsiteX17-1219" fmla="*/ 5613547 w 9397013"/>
              <a:gd name="connsiteY17-1220" fmla="*/ 240145 h 7134208"/>
              <a:gd name="connsiteX18-1221" fmla="*/ 6077099 w 9397013"/>
              <a:gd name="connsiteY18-1222" fmla="*/ 225638 h 7134208"/>
              <a:gd name="connsiteX19-1223" fmla="*/ 1099910 w 9397013"/>
              <a:gd name="connsiteY19-1224" fmla="*/ 6831395 h 7134208"/>
              <a:gd name="connsiteX20-1225" fmla="*/ 6958778 w 9397013"/>
              <a:gd name="connsiteY20-1226" fmla="*/ 7124971 h 7134208"/>
              <a:gd name="connsiteX21-1227" fmla="*/ 6560038 w 9397013"/>
              <a:gd name="connsiteY21-1228" fmla="*/ 7134207 h 7134208"/>
              <a:gd name="connsiteX22-1229" fmla="*/ 3849932 w 9397013"/>
              <a:gd name="connsiteY22-1230" fmla="*/ 3596670 h 7134208"/>
              <a:gd name="connsiteX23-1231" fmla="*/ 4086202 w 9397013"/>
              <a:gd name="connsiteY23-1232" fmla="*/ 3287229 h 7134208"/>
              <a:gd name="connsiteX24-1233" fmla="*/ 6958778 w 9397013"/>
              <a:gd name="connsiteY24-1234" fmla="*/ 7124971 h 7134208"/>
              <a:gd name="connsiteX25-1235" fmla="*/ 7777211 w 9397013"/>
              <a:gd name="connsiteY25-1236" fmla="*/ 7124972 h 7134208"/>
              <a:gd name="connsiteX26-1237" fmla="*/ 7324729 w 9397013"/>
              <a:gd name="connsiteY26-1238" fmla="*/ 7124972 h 7134208"/>
              <a:gd name="connsiteX27-1239" fmla="*/ 4245793 w 9397013"/>
              <a:gd name="connsiteY27-1240" fmla="*/ 3078214 h 7134208"/>
              <a:gd name="connsiteX28-1241" fmla="*/ 4490696 w 9397013"/>
              <a:gd name="connsiteY28-1242" fmla="*/ 2757469 h 7134208"/>
              <a:gd name="connsiteX29-1243" fmla="*/ 7777211 w 9397013"/>
              <a:gd name="connsiteY29-1244" fmla="*/ 7124972 h 7134208"/>
              <a:gd name="connsiteX30-1245" fmla="*/ 8567691 w 9397013"/>
              <a:gd name="connsiteY30-1246" fmla="*/ 7124971 h 7134208"/>
              <a:gd name="connsiteX31-1247" fmla="*/ 8159389 w 9397013"/>
              <a:gd name="connsiteY31-1248" fmla="*/ 7134208 h 7134208"/>
              <a:gd name="connsiteX32-1249" fmla="*/ 4650570 w 9397013"/>
              <a:gd name="connsiteY32-1250" fmla="*/ 2548084 h 7134208"/>
              <a:gd name="connsiteX33-1251" fmla="*/ 4869244 w 9397013"/>
              <a:gd name="connsiteY33-1252" fmla="*/ 2261689 h 7134208"/>
              <a:gd name="connsiteX34-1253" fmla="*/ 8567691 w 9397013"/>
              <a:gd name="connsiteY34-1254" fmla="*/ 7124971 h 7134208"/>
              <a:gd name="connsiteX35-1255" fmla="*/ 9397013 w 9397013"/>
              <a:gd name="connsiteY35-1256" fmla="*/ 7134207 h 7134208"/>
              <a:gd name="connsiteX36-1257" fmla="*/ 8921338 w 9397013"/>
              <a:gd name="connsiteY36-1258" fmla="*/ 7115735 h 7134208"/>
              <a:gd name="connsiteX37-1259" fmla="*/ 5045299 w 9397013"/>
              <a:gd name="connsiteY37-1260" fmla="*/ 2031113 h 7134208"/>
              <a:gd name="connsiteX38-1261" fmla="*/ 5273037 w 9397013"/>
              <a:gd name="connsiteY38-1262" fmla="*/ 1732846 h 7134208"/>
              <a:gd name="connsiteX39-1263" fmla="*/ 9397013 w 9397013"/>
              <a:gd name="connsiteY39-1264" fmla="*/ 7134207 h 7134208"/>
              <a:gd name="connsiteX0-1265" fmla="*/ 168369 w 9397013"/>
              <a:gd name="connsiteY0-1266" fmla="*/ 4779933 h 7134208"/>
              <a:gd name="connsiteX1-1267" fmla="*/ 0 w 9397013"/>
              <a:gd name="connsiteY1-1268" fmla="*/ 4409146 h 7134208"/>
              <a:gd name="connsiteX2-1269" fmla="*/ 3332806 w 9397013"/>
              <a:gd name="connsiteY2-1270" fmla="*/ 0 h 7134208"/>
              <a:gd name="connsiteX3-1271" fmla="*/ 3794560 w 9397013"/>
              <a:gd name="connsiteY3-1272" fmla="*/ 32861 h 7134208"/>
              <a:gd name="connsiteX4-1273" fmla="*/ 168369 w 9397013"/>
              <a:gd name="connsiteY4-1274" fmla="*/ 4779933 h 7134208"/>
              <a:gd name="connsiteX5-1275" fmla="*/ 488220 w 9397013"/>
              <a:gd name="connsiteY5-1276" fmla="*/ 5484315 h 7134208"/>
              <a:gd name="connsiteX6-1277" fmla="*/ 299082 w 9397013"/>
              <a:gd name="connsiteY6-1278" fmla="*/ 5067791 h 7134208"/>
              <a:gd name="connsiteX7-1279" fmla="*/ 4106456 w 9397013"/>
              <a:gd name="connsiteY7-1280" fmla="*/ 55057 h 7134208"/>
              <a:gd name="connsiteX8-1281" fmla="*/ 4585079 w 9397013"/>
              <a:gd name="connsiteY8-1282" fmla="*/ 89119 h 7134208"/>
              <a:gd name="connsiteX9-1283" fmla="*/ 488220 w 9397013"/>
              <a:gd name="connsiteY9-1284" fmla="*/ 5484315 h 7134208"/>
              <a:gd name="connsiteX10-1285" fmla="*/ 779421 w 9397013"/>
              <a:gd name="connsiteY10-1286" fmla="*/ 6125606 h 7134208"/>
              <a:gd name="connsiteX11-1287" fmla="*/ 618065 w 9397013"/>
              <a:gd name="connsiteY11-1288" fmla="*/ 5770263 h 7134208"/>
              <a:gd name="connsiteX12-1289" fmla="*/ 4897528 w 9397013"/>
              <a:gd name="connsiteY12-1290" fmla="*/ 111354 h 7134208"/>
              <a:gd name="connsiteX13-1291" fmla="*/ 5324893 w 9397013"/>
              <a:gd name="connsiteY13-1292" fmla="*/ 141768 h 7134208"/>
              <a:gd name="connsiteX14-1293" fmla="*/ 779421 w 9397013"/>
              <a:gd name="connsiteY14-1294" fmla="*/ 6125606 h 7134208"/>
              <a:gd name="connsiteX15-1295" fmla="*/ 1099910 w 9397013"/>
              <a:gd name="connsiteY15-1296" fmla="*/ 6831395 h 7134208"/>
              <a:gd name="connsiteX16-1297" fmla="*/ 919656 w 9397013"/>
              <a:gd name="connsiteY16-1298" fmla="*/ 6434435 h 7134208"/>
              <a:gd name="connsiteX17-1299" fmla="*/ 5641256 w 9397013"/>
              <a:gd name="connsiteY17-1300" fmla="*/ 212436 h 7134208"/>
              <a:gd name="connsiteX18-1301" fmla="*/ 6077099 w 9397013"/>
              <a:gd name="connsiteY18-1302" fmla="*/ 225638 h 7134208"/>
              <a:gd name="connsiteX19-1303" fmla="*/ 1099910 w 9397013"/>
              <a:gd name="connsiteY19-1304" fmla="*/ 6831395 h 7134208"/>
              <a:gd name="connsiteX20-1305" fmla="*/ 6958778 w 9397013"/>
              <a:gd name="connsiteY20-1306" fmla="*/ 7124971 h 7134208"/>
              <a:gd name="connsiteX21-1307" fmla="*/ 6560038 w 9397013"/>
              <a:gd name="connsiteY21-1308" fmla="*/ 7134207 h 7134208"/>
              <a:gd name="connsiteX22-1309" fmla="*/ 3849932 w 9397013"/>
              <a:gd name="connsiteY22-1310" fmla="*/ 3596670 h 7134208"/>
              <a:gd name="connsiteX23-1311" fmla="*/ 4086202 w 9397013"/>
              <a:gd name="connsiteY23-1312" fmla="*/ 3287229 h 7134208"/>
              <a:gd name="connsiteX24-1313" fmla="*/ 6958778 w 9397013"/>
              <a:gd name="connsiteY24-1314" fmla="*/ 7124971 h 7134208"/>
              <a:gd name="connsiteX25-1315" fmla="*/ 7777211 w 9397013"/>
              <a:gd name="connsiteY25-1316" fmla="*/ 7124972 h 7134208"/>
              <a:gd name="connsiteX26-1317" fmla="*/ 7324729 w 9397013"/>
              <a:gd name="connsiteY26-1318" fmla="*/ 7124972 h 7134208"/>
              <a:gd name="connsiteX27-1319" fmla="*/ 4245793 w 9397013"/>
              <a:gd name="connsiteY27-1320" fmla="*/ 3078214 h 7134208"/>
              <a:gd name="connsiteX28-1321" fmla="*/ 4490696 w 9397013"/>
              <a:gd name="connsiteY28-1322" fmla="*/ 2757469 h 7134208"/>
              <a:gd name="connsiteX29-1323" fmla="*/ 7777211 w 9397013"/>
              <a:gd name="connsiteY29-1324" fmla="*/ 7124972 h 7134208"/>
              <a:gd name="connsiteX30-1325" fmla="*/ 8567691 w 9397013"/>
              <a:gd name="connsiteY30-1326" fmla="*/ 7124971 h 7134208"/>
              <a:gd name="connsiteX31-1327" fmla="*/ 8159389 w 9397013"/>
              <a:gd name="connsiteY31-1328" fmla="*/ 7134208 h 7134208"/>
              <a:gd name="connsiteX32-1329" fmla="*/ 4650570 w 9397013"/>
              <a:gd name="connsiteY32-1330" fmla="*/ 2548084 h 7134208"/>
              <a:gd name="connsiteX33-1331" fmla="*/ 4869244 w 9397013"/>
              <a:gd name="connsiteY33-1332" fmla="*/ 2261689 h 7134208"/>
              <a:gd name="connsiteX34-1333" fmla="*/ 8567691 w 9397013"/>
              <a:gd name="connsiteY34-1334" fmla="*/ 7124971 h 7134208"/>
              <a:gd name="connsiteX35-1335" fmla="*/ 9397013 w 9397013"/>
              <a:gd name="connsiteY35-1336" fmla="*/ 7134207 h 7134208"/>
              <a:gd name="connsiteX36-1337" fmla="*/ 8921338 w 9397013"/>
              <a:gd name="connsiteY36-1338" fmla="*/ 7115735 h 7134208"/>
              <a:gd name="connsiteX37-1339" fmla="*/ 5045299 w 9397013"/>
              <a:gd name="connsiteY37-1340" fmla="*/ 2031113 h 7134208"/>
              <a:gd name="connsiteX38-1341" fmla="*/ 5273037 w 9397013"/>
              <a:gd name="connsiteY38-1342" fmla="*/ 1732846 h 7134208"/>
              <a:gd name="connsiteX39-1343" fmla="*/ 9397013 w 9397013"/>
              <a:gd name="connsiteY39-1344" fmla="*/ 7134207 h 7134208"/>
              <a:gd name="connsiteX0-1345" fmla="*/ 168369 w 9397013"/>
              <a:gd name="connsiteY0-1346" fmla="*/ 4779933 h 7134208"/>
              <a:gd name="connsiteX1-1347" fmla="*/ 0 w 9397013"/>
              <a:gd name="connsiteY1-1348" fmla="*/ 4409146 h 7134208"/>
              <a:gd name="connsiteX2-1349" fmla="*/ 3332806 w 9397013"/>
              <a:gd name="connsiteY2-1350" fmla="*/ 0 h 7134208"/>
              <a:gd name="connsiteX3-1351" fmla="*/ 3794560 w 9397013"/>
              <a:gd name="connsiteY3-1352" fmla="*/ 32861 h 7134208"/>
              <a:gd name="connsiteX4-1353" fmla="*/ 168369 w 9397013"/>
              <a:gd name="connsiteY4-1354" fmla="*/ 4779933 h 7134208"/>
              <a:gd name="connsiteX5-1355" fmla="*/ 488220 w 9397013"/>
              <a:gd name="connsiteY5-1356" fmla="*/ 5484315 h 7134208"/>
              <a:gd name="connsiteX6-1357" fmla="*/ 299082 w 9397013"/>
              <a:gd name="connsiteY6-1358" fmla="*/ 5067791 h 7134208"/>
              <a:gd name="connsiteX7-1359" fmla="*/ 4106456 w 9397013"/>
              <a:gd name="connsiteY7-1360" fmla="*/ 55057 h 7134208"/>
              <a:gd name="connsiteX8-1361" fmla="*/ 4585079 w 9397013"/>
              <a:gd name="connsiteY8-1362" fmla="*/ 89119 h 7134208"/>
              <a:gd name="connsiteX9-1363" fmla="*/ 488220 w 9397013"/>
              <a:gd name="connsiteY9-1364" fmla="*/ 5484315 h 7134208"/>
              <a:gd name="connsiteX10-1365" fmla="*/ 779421 w 9397013"/>
              <a:gd name="connsiteY10-1366" fmla="*/ 6125606 h 7134208"/>
              <a:gd name="connsiteX11-1367" fmla="*/ 618065 w 9397013"/>
              <a:gd name="connsiteY11-1368" fmla="*/ 5770263 h 7134208"/>
              <a:gd name="connsiteX12-1369" fmla="*/ 4897528 w 9397013"/>
              <a:gd name="connsiteY12-1370" fmla="*/ 111354 h 7134208"/>
              <a:gd name="connsiteX13-1371" fmla="*/ 5260238 w 9397013"/>
              <a:gd name="connsiteY13-1372" fmla="*/ 234131 h 7134208"/>
              <a:gd name="connsiteX14-1373" fmla="*/ 779421 w 9397013"/>
              <a:gd name="connsiteY14-1374" fmla="*/ 6125606 h 7134208"/>
              <a:gd name="connsiteX15-1375" fmla="*/ 1099910 w 9397013"/>
              <a:gd name="connsiteY15-1376" fmla="*/ 6831395 h 7134208"/>
              <a:gd name="connsiteX16-1377" fmla="*/ 919656 w 9397013"/>
              <a:gd name="connsiteY16-1378" fmla="*/ 6434435 h 7134208"/>
              <a:gd name="connsiteX17-1379" fmla="*/ 5641256 w 9397013"/>
              <a:gd name="connsiteY17-1380" fmla="*/ 212436 h 7134208"/>
              <a:gd name="connsiteX18-1381" fmla="*/ 6077099 w 9397013"/>
              <a:gd name="connsiteY18-1382" fmla="*/ 225638 h 7134208"/>
              <a:gd name="connsiteX19-1383" fmla="*/ 1099910 w 9397013"/>
              <a:gd name="connsiteY19-1384" fmla="*/ 6831395 h 7134208"/>
              <a:gd name="connsiteX20-1385" fmla="*/ 6958778 w 9397013"/>
              <a:gd name="connsiteY20-1386" fmla="*/ 7124971 h 7134208"/>
              <a:gd name="connsiteX21-1387" fmla="*/ 6560038 w 9397013"/>
              <a:gd name="connsiteY21-1388" fmla="*/ 7134207 h 7134208"/>
              <a:gd name="connsiteX22-1389" fmla="*/ 3849932 w 9397013"/>
              <a:gd name="connsiteY22-1390" fmla="*/ 3596670 h 7134208"/>
              <a:gd name="connsiteX23-1391" fmla="*/ 4086202 w 9397013"/>
              <a:gd name="connsiteY23-1392" fmla="*/ 3287229 h 7134208"/>
              <a:gd name="connsiteX24-1393" fmla="*/ 6958778 w 9397013"/>
              <a:gd name="connsiteY24-1394" fmla="*/ 7124971 h 7134208"/>
              <a:gd name="connsiteX25-1395" fmla="*/ 7777211 w 9397013"/>
              <a:gd name="connsiteY25-1396" fmla="*/ 7124972 h 7134208"/>
              <a:gd name="connsiteX26-1397" fmla="*/ 7324729 w 9397013"/>
              <a:gd name="connsiteY26-1398" fmla="*/ 7124972 h 7134208"/>
              <a:gd name="connsiteX27-1399" fmla="*/ 4245793 w 9397013"/>
              <a:gd name="connsiteY27-1400" fmla="*/ 3078214 h 7134208"/>
              <a:gd name="connsiteX28-1401" fmla="*/ 4490696 w 9397013"/>
              <a:gd name="connsiteY28-1402" fmla="*/ 2757469 h 7134208"/>
              <a:gd name="connsiteX29-1403" fmla="*/ 7777211 w 9397013"/>
              <a:gd name="connsiteY29-1404" fmla="*/ 7124972 h 7134208"/>
              <a:gd name="connsiteX30-1405" fmla="*/ 8567691 w 9397013"/>
              <a:gd name="connsiteY30-1406" fmla="*/ 7124971 h 7134208"/>
              <a:gd name="connsiteX31-1407" fmla="*/ 8159389 w 9397013"/>
              <a:gd name="connsiteY31-1408" fmla="*/ 7134208 h 7134208"/>
              <a:gd name="connsiteX32-1409" fmla="*/ 4650570 w 9397013"/>
              <a:gd name="connsiteY32-1410" fmla="*/ 2548084 h 7134208"/>
              <a:gd name="connsiteX33-1411" fmla="*/ 4869244 w 9397013"/>
              <a:gd name="connsiteY33-1412" fmla="*/ 2261689 h 7134208"/>
              <a:gd name="connsiteX34-1413" fmla="*/ 8567691 w 9397013"/>
              <a:gd name="connsiteY34-1414" fmla="*/ 7124971 h 7134208"/>
              <a:gd name="connsiteX35-1415" fmla="*/ 9397013 w 9397013"/>
              <a:gd name="connsiteY35-1416" fmla="*/ 7134207 h 7134208"/>
              <a:gd name="connsiteX36-1417" fmla="*/ 8921338 w 9397013"/>
              <a:gd name="connsiteY36-1418" fmla="*/ 7115735 h 7134208"/>
              <a:gd name="connsiteX37-1419" fmla="*/ 5045299 w 9397013"/>
              <a:gd name="connsiteY37-1420" fmla="*/ 2031113 h 7134208"/>
              <a:gd name="connsiteX38-1421" fmla="*/ 5273037 w 9397013"/>
              <a:gd name="connsiteY38-1422" fmla="*/ 1732846 h 7134208"/>
              <a:gd name="connsiteX39-1423" fmla="*/ 9397013 w 9397013"/>
              <a:gd name="connsiteY39-1424" fmla="*/ 7134207 h 7134208"/>
              <a:gd name="connsiteX0-1425" fmla="*/ 168369 w 9397013"/>
              <a:gd name="connsiteY0-1426" fmla="*/ 4779933 h 7134208"/>
              <a:gd name="connsiteX1-1427" fmla="*/ 0 w 9397013"/>
              <a:gd name="connsiteY1-1428" fmla="*/ 4409146 h 7134208"/>
              <a:gd name="connsiteX2-1429" fmla="*/ 3332806 w 9397013"/>
              <a:gd name="connsiteY2-1430" fmla="*/ 0 h 7134208"/>
              <a:gd name="connsiteX3-1431" fmla="*/ 3794560 w 9397013"/>
              <a:gd name="connsiteY3-1432" fmla="*/ 32861 h 7134208"/>
              <a:gd name="connsiteX4-1433" fmla="*/ 168369 w 9397013"/>
              <a:gd name="connsiteY4-1434" fmla="*/ 4779933 h 7134208"/>
              <a:gd name="connsiteX5-1435" fmla="*/ 488220 w 9397013"/>
              <a:gd name="connsiteY5-1436" fmla="*/ 5484315 h 7134208"/>
              <a:gd name="connsiteX6-1437" fmla="*/ 299082 w 9397013"/>
              <a:gd name="connsiteY6-1438" fmla="*/ 5067791 h 7134208"/>
              <a:gd name="connsiteX7-1439" fmla="*/ 4106456 w 9397013"/>
              <a:gd name="connsiteY7-1440" fmla="*/ 55057 h 7134208"/>
              <a:gd name="connsiteX8-1441" fmla="*/ 4585079 w 9397013"/>
              <a:gd name="connsiteY8-1442" fmla="*/ 89119 h 7134208"/>
              <a:gd name="connsiteX9-1443" fmla="*/ 488220 w 9397013"/>
              <a:gd name="connsiteY9-1444" fmla="*/ 5484315 h 7134208"/>
              <a:gd name="connsiteX10-1445" fmla="*/ 779421 w 9397013"/>
              <a:gd name="connsiteY10-1446" fmla="*/ 6125606 h 7134208"/>
              <a:gd name="connsiteX11-1447" fmla="*/ 618065 w 9397013"/>
              <a:gd name="connsiteY11-1448" fmla="*/ 5770263 h 7134208"/>
              <a:gd name="connsiteX12-1449" fmla="*/ 4805164 w 9397013"/>
              <a:gd name="connsiteY12-1450" fmla="*/ 212954 h 7134208"/>
              <a:gd name="connsiteX13-1451" fmla="*/ 5260238 w 9397013"/>
              <a:gd name="connsiteY13-1452" fmla="*/ 234131 h 7134208"/>
              <a:gd name="connsiteX14-1453" fmla="*/ 779421 w 9397013"/>
              <a:gd name="connsiteY14-1454" fmla="*/ 6125606 h 7134208"/>
              <a:gd name="connsiteX15-1455" fmla="*/ 1099910 w 9397013"/>
              <a:gd name="connsiteY15-1456" fmla="*/ 6831395 h 7134208"/>
              <a:gd name="connsiteX16-1457" fmla="*/ 919656 w 9397013"/>
              <a:gd name="connsiteY16-1458" fmla="*/ 6434435 h 7134208"/>
              <a:gd name="connsiteX17-1459" fmla="*/ 5641256 w 9397013"/>
              <a:gd name="connsiteY17-1460" fmla="*/ 212436 h 7134208"/>
              <a:gd name="connsiteX18-1461" fmla="*/ 6077099 w 9397013"/>
              <a:gd name="connsiteY18-1462" fmla="*/ 225638 h 7134208"/>
              <a:gd name="connsiteX19-1463" fmla="*/ 1099910 w 9397013"/>
              <a:gd name="connsiteY19-1464" fmla="*/ 6831395 h 7134208"/>
              <a:gd name="connsiteX20-1465" fmla="*/ 6958778 w 9397013"/>
              <a:gd name="connsiteY20-1466" fmla="*/ 7124971 h 7134208"/>
              <a:gd name="connsiteX21-1467" fmla="*/ 6560038 w 9397013"/>
              <a:gd name="connsiteY21-1468" fmla="*/ 7134207 h 7134208"/>
              <a:gd name="connsiteX22-1469" fmla="*/ 3849932 w 9397013"/>
              <a:gd name="connsiteY22-1470" fmla="*/ 3596670 h 7134208"/>
              <a:gd name="connsiteX23-1471" fmla="*/ 4086202 w 9397013"/>
              <a:gd name="connsiteY23-1472" fmla="*/ 3287229 h 7134208"/>
              <a:gd name="connsiteX24-1473" fmla="*/ 6958778 w 9397013"/>
              <a:gd name="connsiteY24-1474" fmla="*/ 7124971 h 7134208"/>
              <a:gd name="connsiteX25-1475" fmla="*/ 7777211 w 9397013"/>
              <a:gd name="connsiteY25-1476" fmla="*/ 7124972 h 7134208"/>
              <a:gd name="connsiteX26-1477" fmla="*/ 7324729 w 9397013"/>
              <a:gd name="connsiteY26-1478" fmla="*/ 7124972 h 7134208"/>
              <a:gd name="connsiteX27-1479" fmla="*/ 4245793 w 9397013"/>
              <a:gd name="connsiteY27-1480" fmla="*/ 3078214 h 7134208"/>
              <a:gd name="connsiteX28-1481" fmla="*/ 4490696 w 9397013"/>
              <a:gd name="connsiteY28-1482" fmla="*/ 2757469 h 7134208"/>
              <a:gd name="connsiteX29-1483" fmla="*/ 7777211 w 9397013"/>
              <a:gd name="connsiteY29-1484" fmla="*/ 7124972 h 7134208"/>
              <a:gd name="connsiteX30-1485" fmla="*/ 8567691 w 9397013"/>
              <a:gd name="connsiteY30-1486" fmla="*/ 7124971 h 7134208"/>
              <a:gd name="connsiteX31-1487" fmla="*/ 8159389 w 9397013"/>
              <a:gd name="connsiteY31-1488" fmla="*/ 7134208 h 7134208"/>
              <a:gd name="connsiteX32-1489" fmla="*/ 4650570 w 9397013"/>
              <a:gd name="connsiteY32-1490" fmla="*/ 2548084 h 7134208"/>
              <a:gd name="connsiteX33-1491" fmla="*/ 4869244 w 9397013"/>
              <a:gd name="connsiteY33-1492" fmla="*/ 2261689 h 7134208"/>
              <a:gd name="connsiteX34-1493" fmla="*/ 8567691 w 9397013"/>
              <a:gd name="connsiteY34-1494" fmla="*/ 7124971 h 7134208"/>
              <a:gd name="connsiteX35-1495" fmla="*/ 9397013 w 9397013"/>
              <a:gd name="connsiteY35-1496" fmla="*/ 7134207 h 7134208"/>
              <a:gd name="connsiteX36-1497" fmla="*/ 8921338 w 9397013"/>
              <a:gd name="connsiteY36-1498" fmla="*/ 7115735 h 7134208"/>
              <a:gd name="connsiteX37-1499" fmla="*/ 5045299 w 9397013"/>
              <a:gd name="connsiteY37-1500" fmla="*/ 2031113 h 7134208"/>
              <a:gd name="connsiteX38-1501" fmla="*/ 5273037 w 9397013"/>
              <a:gd name="connsiteY38-1502" fmla="*/ 1732846 h 7134208"/>
              <a:gd name="connsiteX39-1503" fmla="*/ 9397013 w 9397013"/>
              <a:gd name="connsiteY39-1504" fmla="*/ 7134207 h 7134208"/>
              <a:gd name="connsiteX0-1505" fmla="*/ 168369 w 9397013"/>
              <a:gd name="connsiteY0-1506" fmla="*/ 4779933 h 7134208"/>
              <a:gd name="connsiteX1-1507" fmla="*/ 0 w 9397013"/>
              <a:gd name="connsiteY1-1508" fmla="*/ 4409146 h 7134208"/>
              <a:gd name="connsiteX2-1509" fmla="*/ 3332806 w 9397013"/>
              <a:gd name="connsiteY2-1510" fmla="*/ 0 h 7134208"/>
              <a:gd name="connsiteX3-1511" fmla="*/ 3794560 w 9397013"/>
              <a:gd name="connsiteY3-1512" fmla="*/ 32861 h 7134208"/>
              <a:gd name="connsiteX4-1513" fmla="*/ 168369 w 9397013"/>
              <a:gd name="connsiteY4-1514" fmla="*/ 4779933 h 7134208"/>
              <a:gd name="connsiteX5-1515" fmla="*/ 488220 w 9397013"/>
              <a:gd name="connsiteY5-1516" fmla="*/ 5484315 h 7134208"/>
              <a:gd name="connsiteX6-1517" fmla="*/ 299082 w 9397013"/>
              <a:gd name="connsiteY6-1518" fmla="*/ 5067791 h 7134208"/>
              <a:gd name="connsiteX7-1519" fmla="*/ 4106456 w 9397013"/>
              <a:gd name="connsiteY7-1520" fmla="*/ 55057 h 7134208"/>
              <a:gd name="connsiteX8-1521" fmla="*/ 4465006 w 9397013"/>
              <a:gd name="connsiteY8-1522" fmla="*/ 209192 h 7134208"/>
              <a:gd name="connsiteX9-1523" fmla="*/ 488220 w 9397013"/>
              <a:gd name="connsiteY9-1524" fmla="*/ 5484315 h 7134208"/>
              <a:gd name="connsiteX10-1525" fmla="*/ 779421 w 9397013"/>
              <a:gd name="connsiteY10-1526" fmla="*/ 6125606 h 7134208"/>
              <a:gd name="connsiteX11-1527" fmla="*/ 618065 w 9397013"/>
              <a:gd name="connsiteY11-1528" fmla="*/ 5770263 h 7134208"/>
              <a:gd name="connsiteX12-1529" fmla="*/ 4805164 w 9397013"/>
              <a:gd name="connsiteY12-1530" fmla="*/ 212954 h 7134208"/>
              <a:gd name="connsiteX13-1531" fmla="*/ 5260238 w 9397013"/>
              <a:gd name="connsiteY13-1532" fmla="*/ 234131 h 7134208"/>
              <a:gd name="connsiteX14-1533" fmla="*/ 779421 w 9397013"/>
              <a:gd name="connsiteY14-1534" fmla="*/ 6125606 h 7134208"/>
              <a:gd name="connsiteX15-1535" fmla="*/ 1099910 w 9397013"/>
              <a:gd name="connsiteY15-1536" fmla="*/ 6831395 h 7134208"/>
              <a:gd name="connsiteX16-1537" fmla="*/ 919656 w 9397013"/>
              <a:gd name="connsiteY16-1538" fmla="*/ 6434435 h 7134208"/>
              <a:gd name="connsiteX17-1539" fmla="*/ 5641256 w 9397013"/>
              <a:gd name="connsiteY17-1540" fmla="*/ 212436 h 7134208"/>
              <a:gd name="connsiteX18-1541" fmla="*/ 6077099 w 9397013"/>
              <a:gd name="connsiteY18-1542" fmla="*/ 225638 h 7134208"/>
              <a:gd name="connsiteX19-1543" fmla="*/ 1099910 w 9397013"/>
              <a:gd name="connsiteY19-1544" fmla="*/ 6831395 h 7134208"/>
              <a:gd name="connsiteX20-1545" fmla="*/ 6958778 w 9397013"/>
              <a:gd name="connsiteY20-1546" fmla="*/ 7124971 h 7134208"/>
              <a:gd name="connsiteX21-1547" fmla="*/ 6560038 w 9397013"/>
              <a:gd name="connsiteY21-1548" fmla="*/ 7134207 h 7134208"/>
              <a:gd name="connsiteX22-1549" fmla="*/ 3849932 w 9397013"/>
              <a:gd name="connsiteY22-1550" fmla="*/ 3596670 h 7134208"/>
              <a:gd name="connsiteX23-1551" fmla="*/ 4086202 w 9397013"/>
              <a:gd name="connsiteY23-1552" fmla="*/ 3287229 h 7134208"/>
              <a:gd name="connsiteX24-1553" fmla="*/ 6958778 w 9397013"/>
              <a:gd name="connsiteY24-1554" fmla="*/ 7124971 h 7134208"/>
              <a:gd name="connsiteX25-1555" fmla="*/ 7777211 w 9397013"/>
              <a:gd name="connsiteY25-1556" fmla="*/ 7124972 h 7134208"/>
              <a:gd name="connsiteX26-1557" fmla="*/ 7324729 w 9397013"/>
              <a:gd name="connsiteY26-1558" fmla="*/ 7124972 h 7134208"/>
              <a:gd name="connsiteX27-1559" fmla="*/ 4245793 w 9397013"/>
              <a:gd name="connsiteY27-1560" fmla="*/ 3078214 h 7134208"/>
              <a:gd name="connsiteX28-1561" fmla="*/ 4490696 w 9397013"/>
              <a:gd name="connsiteY28-1562" fmla="*/ 2757469 h 7134208"/>
              <a:gd name="connsiteX29-1563" fmla="*/ 7777211 w 9397013"/>
              <a:gd name="connsiteY29-1564" fmla="*/ 7124972 h 7134208"/>
              <a:gd name="connsiteX30-1565" fmla="*/ 8567691 w 9397013"/>
              <a:gd name="connsiteY30-1566" fmla="*/ 7124971 h 7134208"/>
              <a:gd name="connsiteX31-1567" fmla="*/ 8159389 w 9397013"/>
              <a:gd name="connsiteY31-1568" fmla="*/ 7134208 h 7134208"/>
              <a:gd name="connsiteX32-1569" fmla="*/ 4650570 w 9397013"/>
              <a:gd name="connsiteY32-1570" fmla="*/ 2548084 h 7134208"/>
              <a:gd name="connsiteX33-1571" fmla="*/ 4869244 w 9397013"/>
              <a:gd name="connsiteY33-1572" fmla="*/ 2261689 h 7134208"/>
              <a:gd name="connsiteX34-1573" fmla="*/ 8567691 w 9397013"/>
              <a:gd name="connsiteY34-1574" fmla="*/ 7124971 h 7134208"/>
              <a:gd name="connsiteX35-1575" fmla="*/ 9397013 w 9397013"/>
              <a:gd name="connsiteY35-1576" fmla="*/ 7134207 h 7134208"/>
              <a:gd name="connsiteX36-1577" fmla="*/ 8921338 w 9397013"/>
              <a:gd name="connsiteY36-1578" fmla="*/ 7115735 h 7134208"/>
              <a:gd name="connsiteX37-1579" fmla="*/ 5045299 w 9397013"/>
              <a:gd name="connsiteY37-1580" fmla="*/ 2031113 h 7134208"/>
              <a:gd name="connsiteX38-1581" fmla="*/ 5273037 w 9397013"/>
              <a:gd name="connsiteY38-1582" fmla="*/ 1732846 h 7134208"/>
              <a:gd name="connsiteX39-1583" fmla="*/ 9397013 w 9397013"/>
              <a:gd name="connsiteY39-1584" fmla="*/ 7134207 h 7134208"/>
              <a:gd name="connsiteX0-1585" fmla="*/ 168369 w 9397013"/>
              <a:gd name="connsiteY0-1586" fmla="*/ 4779933 h 7134208"/>
              <a:gd name="connsiteX1-1587" fmla="*/ 0 w 9397013"/>
              <a:gd name="connsiteY1-1588" fmla="*/ 4409146 h 7134208"/>
              <a:gd name="connsiteX2-1589" fmla="*/ 3332806 w 9397013"/>
              <a:gd name="connsiteY2-1590" fmla="*/ 0 h 7134208"/>
              <a:gd name="connsiteX3-1591" fmla="*/ 3794560 w 9397013"/>
              <a:gd name="connsiteY3-1592" fmla="*/ 32861 h 7134208"/>
              <a:gd name="connsiteX4-1593" fmla="*/ 168369 w 9397013"/>
              <a:gd name="connsiteY4-1594" fmla="*/ 4779933 h 7134208"/>
              <a:gd name="connsiteX5-1595" fmla="*/ 488220 w 9397013"/>
              <a:gd name="connsiteY5-1596" fmla="*/ 5484315 h 7134208"/>
              <a:gd name="connsiteX6-1597" fmla="*/ 299082 w 9397013"/>
              <a:gd name="connsiteY6-1598" fmla="*/ 5067791 h 7134208"/>
              <a:gd name="connsiteX7-1599" fmla="*/ 3977147 w 9397013"/>
              <a:gd name="connsiteY7-1600" fmla="*/ 212075 h 7134208"/>
              <a:gd name="connsiteX8-1601" fmla="*/ 4465006 w 9397013"/>
              <a:gd name="connsiteY8-1602" fmla="*/ 209192 h 7134208"/>
              <a:gd name="connsiteX9-1603" fmla="*/ 488220 w 9397013"/>
              <a:gd name="connsiteY9-1604" fmla="*/ 5484315 h 7134208"/>
              <a:gd name="connsiteX10-1605" fmla="*/ 779421 w 9397013"/>
              <a:gd name="connsiteY10-1606" fmla="*/ 6125606 h 7134208"/>
              <a:gd name="connsiteX11-1607" fmla="*/ 618065 w 9397013"/>
              <a:gd name="connsiteY11-1608" fmla="*/ 5770263 h 7134208"/>
              <a:gd name="connsiteX12-1609" fmla="*/ 4805164 w 9397013"/>
              <a:gd name="connsiteY12-1610" fmla="*/ 212954 h 7134208"/>
              <a:gd name="connsiteX13-1611" fmla="*/ 5260238 w 9397013"/>
              <a:gd name="connsiteY13-1612" fmla="*/ 234131 h 7134208"/>
              <a:gd name="connsiteX14-1613" fmla="*/ 779421 w 9397013"/>
              <a:gd name="connsiteY14-1614" fmla="*/ 6125606 h 7134208"/>
              <a:gd name="connsiteX15-1615" fmla="*/ 1099910 w 9397013"/>
              <a:gd name="connsiteY15-1616" fmla="*/ 6831395 h 7134208"/>
              <a:gd name="connsiteX16-1617" fmla="*/ 919656 w 9397013"/>
              <a:gd name="connsiteY16-1618" fmla="*/ 6434435 h 7134208"/>
              <a:gd name="connsiteX17-1619" fmla="*/ 5641256 w 9397013"/>
              <a:gd name="connsiteY17-1620" fmla="*/ 212436 h 7134208"/>
              <a:gd name="connsiteX18-1621" fmla="*/ 6077099 w 9397013"/>
              <a:gd name="connsiteY18-1622" fmla="*/ 225638 h 7134208"/>
              <a:gd name="connsiteX19-1623" fmla="*/ 1099910 w 9397013"/>
              <a:gd name="connsiteY19-1624" fmla="*/ 6831395 h 7134208"/>
              <a:gd name="connsiteX20-1625" fmla="*/ 6958778 w 9397013"/>
              <a:gd name="connsiteY20-1626" fmla="*/ 7124971 h 7134208"/>
              <a:gd name="connsiteX21-1627" fmla="*/ 6560038 w 9397013"/>
              <a:gd name="connsiteY21-1628" fmla="*/ 7134207 h 7134208"/>
              <a:gd name="connsiteX22-1629" fmla="*/ 3849932 w 9397013"/>
              <a:gd name="connsiteY22-1630" fmla="*/ 3596670 h 7134208"/>
              <a:gd name="connsiteX23-1631" fmla="*/ 4086202 w 9397013"/>
              <a:gd name="connsiteY23-1632" fmla="*/ 3287229 h 7134208"/>
              <a:gd name="connsiteX24-1633" fmla="*/ 6958778 w 9397013"/>
              <a:gd name="connsiteY24-1634" fmla="*/ 7124971 h 7134208"/>
              <a:gd name="connsiteX25-1635" fmla="*/ 7777211 w 9397013"/>
              <a:gd name="connsiteY25-1636" fmla="*/ 7124972 h 7134208"/>
              <a:gd name="connsiteX26-1637" fmla="*/ 7324729 w 9397013"/>
              <a:gd name="connsiteY26-1638" fmla="*/ 7124972 h 7134208"/>
              <a:gd name="connsiteX27-1639" fmla="*/ 4245793 w 9397013"/>
              <a:gd name="connsiteY27-1640" fmla="*/ 3078214 h 7134208"/>
              <a:gd name="connsiteX28-1641" fmla="*/ 4490696 w 9397013"/>
              <a:gd name="connsiteY28-1642" fmla="*/ 2757469 h 7134208"/>
              <a:gd name="connsiteX29-1643" fmla="*/ 7777211 w 9397013"/>
              <a:gd name="connsiteY29-1644" fmla="*/ 7124972 h 7134208"/>
              <a:gd name="connsiteX30-1645" fmla="*/ 8567691 w 9397013"/>
              <a:gd name="connsiteY30-1646" fmla="*/ 7124971 h 7134208"/>
              <a:gd name="connsiteX31-1647" fmla="*/ 8159389 w 9397013"/>
              <a:gd name="connsiteY31-1648" fmla="*/ 7134208 h 7134208"/>
              <a:gd name="connsiteX32-1649" fmla="*/ 4650570 w 9397013"/>
              <a:gd name="connsiteY32-1650" fmla="*/ 2548084 h 7134208"/>
              <a:gd name="connsiteX33-1651" fmla="*/ 4869244 w 9397013"/>
              <a:gd name="connsiteY33-1652" fmla="*/ 2261689 h 7134208"/>
              <a:gd name="connsiteX34-1653" fmla="*/ 8567691 w 9397013"/>
              <a:gd name="connsiteY34-1654" fmla="*/ 7124971 h 7134208"/>
              <a:gd name="connsiteX35-1655" fmla="*/ 9397013 w 9397013"/>
              <a:gd name="connsiteY35-1656" fmla="*/ 7134207 h 7134208"/>
              <a:gd name="connsiteX36-1657" fmla="*/ 8921338 w 9397013"/>
              <a:gd name="connsiteY36-1658" fmla="*/ 7115735 h 7134208"/>
              <a:gd name="connsiteX37-1659" fmla="*/ 5045299 w 9397013"/>
              <a:gd name="connsiteY37-1660" fmla="*/ 2031113 h 7134208"/>
              <a:gd name="connsiteX38-1661" fmla="*/ 5273037 w 9397013"/>
              <a:gd name="connsiteY38-1662" fmla="*/ 1732846 h 7134208"/>
              <a:gd name="connsiteX39-1663" fmla="*/ 9397013 w 9397013"/>
              <a:gd name="connsiteY39-1664" fmla="*/ 7134207 h 7134208"/>
              <a:gd name="connsiteX0-1665" fmla="*/ 168369 w 9397013"/>
              <a:gd name="connsiteY0-1666" fmla="*/ 4779933 h 7134208"/>
              <a:gd name="connsiteX1-1667" fmla="*/ 0 w 9397013"/>
              <a:gd name="connsiteY1-1668" fmla="*/ 4409146 h 7134208"/>
              <a:gd name="connsiteX2-1669" fmla="*/ 3332806 w 9397013"/>
              <a:gd name="connsiteY2-1670" fmla="*/ 0 h 7134208"/>
              <a:gd name="connsiteX3-1671" fmla="*/ 3628305 w 9397013"/>
              <a:gd name="connsiteY3-1672" fmla="*/ 208352 h 7134208"/>
              <a:gd name="connsiteX4-1673" fmla="*/ 168369 w 9397013"/>
              <a:gd name="connsiteY4-1674" fmla="*/ 4779933 h 7134208"/>
              <a:gd name="connsiteX5-1675" fmla="*/ 488220 w 9397013"/>
              <a:gd name="connsiteY5-1676" fmla="*/ 5484315 h 7134208"/>
              <a:gd name="connsiteX6-1677" fmla="*/ 299082 w 9397013"/>
              <a:gd name="connsiteY6-1678" fmla="*/ 5067791 h 7134208"/>
              <a:gd name="connsiteX7-1679" fmla="*/ 3977147 w 9397013"/>
              <a:gd name="connsiteY7-1680" fmla="*/ 212075 h 7134208"/>
              <a:gd name="connsiteX8-1681" fmla="*/ 4465006 w 9397013"/>
              <a:gd name="connsiteY8-1682" fmla="*/ 209192 h 7134208"/>
              <a:gd name="connsiteX9-1683" fmla="*/ 488220 w 9397013"/>
              <a:gd name="connsiteY9-1684" fmla="*/ 5484315 h 7134208"/>
              <a:gd name="connsiteX10-1685" fmla="*/ 779421 w 9397013"/>
              <a:gd name="connsiteY10-1686" fmla="*/ 6125606 h 7134208"/>
              <a:gd name="connsiteX11-1687" fmla="*/ 618065 w 9397013"/>
              <a:gd name="connsiteY11-1688" fmla="*/ 5770263 h 7134208"/>
              <a:gd name="connsiteX12-1689" fmla="*/ 4805164 w 9397013"/>
              <a:gd name="connsiteY12-1690" fmla="*/ 212954 h 7134208"/>
              <a:gd name="connsiteX13-1691" fmla="*/ 5260238 w 9397013"/>
              <a:gd name="connsiteY13-1692" fmla="*/ 234131 h 7134208"/>
              <a:gd name="connsiteX14-1693" fmla="*/ 779421 w 9397013"/>
              <a:gd name="connsiteY14-1694" fmla="*/ 6125606 h 7134208"/>
              <a:gd name="connsiteX15-1695" fmla="*/ 1099910 w 9397013"/>
              <a:gd name="connsiteY15-1696" fmla="*/ 6831395 h 7134208"/>
              <a:gd name="connsiteX16-1697" fmla="*/ 919656 w 9397013"/>
              <a:gd name="connsiteY16-1698" fmla="*/ 6434435 h 7134208"/>
              <a:gd name="connsiteX17-1699" fmla="*/ 5641256 w 9397013"/>
              <a:gd name="connsiteY17-1700" fmla="*/ 212436 h 7134208"/>
              <a:gd name="connsiteX18-1701" fmla="*/ 6077099 w 9397013"/>
              <a:gd name="connsiteY18-1702" fmla="*/ 225638 h 7134208"/>
              <a:gd name="connsiteX19-1703" fmla="*/ 1099910 w 9397013"/>
              <a:gd name="connsiteY19-1704" fmla="*/ 6831395 h 7134208"/>
              <a:gd name="connsiteX20-1705" fmla="*/ 6958778 w 9397013"/>
              <a:gd name="connsiteY20-1706" fmla="*/ 7124971 h 7134208"/>
              <a:gd name="connsiteX21-1707" fmla="*/ 6560038 w 9397013"/>
              <a:gd name="connsiteY21-1708" fmla="*/ 7134207 h 7134208"/>
              <a:gd name="connsiteX22-1709" fmla="*/ 3849932 w 9397013"/>
              <a:gd name="connsiteY22-1710" fmla="*/ 3596670 h 7134208"/>
              <a:gd name="connsiteX23-1711" fmla="*/ 4086202 w 9397013"/>
              <a:gd name="connsiteY23-1712" fmla="*/ 3287229 h 7134208"/>
              <a:gd name="connsiteX24-1713" fmla="*/ 6958778 w 9397013"/>
              <a:gd name="connsiteY24-1714" fmla="*/ 7124971 h 7134208"/>
              <a:gd name="connsiteX25-1715" fmla="*/ 7777211 w 9397013"/>
              <a:gd name="connsiteY25-1716" fmla="*/ 7124972 h 7134208"/>
              <a:gd name="connsiteX26-1717" fmla="*/ 7324729 w 9397013"/>
              <a:gd name="connsiteY26-1718" fmla="*/ 7124972 h 7134208"/>
              <a:gd name="connsiteX27-1719" fmla="*/ 4245793 w 9397013"/>
              <a:gd name="connsiteY27-1720" fmla="*/ 3078214 h 7134208"/>
              <a:gd name="connsiteX28-1721" fmla="*/ 4490696 w 9397013"/>
              <a:gd name="connsiteY28-1722" fmla="*/ 2757469 h 7134208"/>
              <a:gd name="connsiteX29-1723" fmla="*/ 7777211 w 9397013"/>
              <a:gd name="connsiteY29-1724" fmla="*/ 7124972 h 7134208"/>
              <a:gd name="connsiteX30-1725" fmla="*/ 8567691 w 9397013"/>
              <a:gd name="connsiteY30-1726" fmla="*/ 7124971 h 7134208"/>
              <a:gd name="connsiteX31-1727" fmla="*/ 8159389 w 9397013"/>
              <a:gd name="connsiteY31-1728" fmla="*/ 7134208 h 7134208"/>
              <a:gd name="connsiteX32-1729" fmla="*/ 4650570 w 9397013"/>
              <a:gd name="connsiteY32-1730" fmla="*/ 2548084 h 7134208"/>
              <a:gd name="connsiteX33-1731" fmla="*/ 4869244 w 9397013"/>
              <a:gd name="connsiteY33-1732" fmla="*/ 2261689 h 7134208"/>
              <a:gd name="connsiteX34-1733" fmla="*/ 8567691 w 9397013"/>
              <a:gd name="connsiteY34-1734" fmla="*/ 7124971 h 7134208"/>
              <a:gd name="connsiteX35-1735" fmla="*/ 9397013 w 9397013"/>
              <a:gd name="connsiteY35-1736" fmla="*/ 7134207 h 7134208"/>
              <a:gd name="connsiteX36-1737" fmla="*/ 8921338 w 9397013"/>
              <a:gd name="connsiteY36-1738" fmla="*/ 7115735 h 7134208"/>
              <a:gd name="connsiteX37-1739" fmla="*/ 5045299 w 9397013"/>
              <a:gd name="connsiteY37-1740" fmla="*/ 2031113 h 7134208"/>
              <a:gd name="connsiteX38-1741" fmla="*/ 5273037 w 9397013"/>
              <a:gd name="connsiteY38-1742" fmla="*/ 1732846 h 7134208"/>
              <a:gd name="connsiteX39-1743" fmla="*/ 9397013 w 9397013"/>
              <a:gd name="connsiteY39-1744" fmla="*/ 7134207 h 7134208"/>
              <a:gd name="connsiteX0-1745" fmla="*/ 168369 w 9397013"/>
              <a:gd name="connsiteY0-1746" fmla="*/ 4571581 h 6925856"/>
              <a:gd name="connsiteX1-1747" fmla="*/ 0 w 9397013"/>
              <a:gd name="connsiteY1-1748" fmla="*/ 4200794 h 6925856"/>
              <a:gd name="connsiteX2-1749" fmla="*/ 3175788 w 9397013"/>
              <a:gd name="connsiteY2-1750" fmla="*/ 4084 h 6925856"/>
              <a:gd name="connsiteX3-1751" fmla="*/ 3628305 w 9397013"/>
              <a:gd name="connsiteY3-1752" fmla="*/ 0 h 6925856"/>
              <a:gd name="connsiteX4-1753" fmla="*/ 168369 w 9397013"/>
              <a:gd name="connsiteY4-1754" fmla="*/ 4571581 h 6925856"/>
              <a:gd name="connsiteX5-1755" fmla="*/ 488220 w 9397013"/>
              <a:gd name="connsiteY5-1756" fmla="*/ 5275963 h 6925856"/>
              <a:gd name="connsiteX6-1757" fmla="*/ 299082 w 9397013"/>
              <a:gd name="connsiteY6-1758" fmla="*/ 4859439 h 6925856"/>
              <a:gd name="connsiteX7-1759" fmla="*/ 3977147 w 9397013"/>
              <a:gd name="connsiteY7-1760" fmla="*/ 3723 h 6925856"/>
              <a:gd name="connsiteX8-1761" fmla="*/ 4465006 w 9397013"/>
              <a:gd name="connsiteY8-1762" fmla="*/ 840 h 6925856"/>
              <a:gd name="connsiteX9-1763" fmla="*/ 488220 w 9397013"/>
              <a:gd name="connsiteY9-1764" fmla="*/ 5275963 h 6925856"/>
              <a:gd name="connsiteX10-1765" fmla="*/ 779421 w 9397013"/>
              <a:gd name="connsiteY10-1766" fmla="*/ 5917254 h 6925856"/>
              <a:gd name="connsiteX11-1767" fmla="*/ 618065 w 9397013"/>
              <a:gd name="connsiteY11-1768" fmla="*/ 5561911 h 6925856"/>
              <a:gd name="connsiteX12-1769" fmla="*/ 4805164 w 9397013"/>
              <a:gd name="connsiteY12-1770" fmla="*/ 4602 h 6925856"/>
              <a:gd name="connsiteX13-1771" fmla="*/ 5260238 w 9397013"/>
              <a:gd name="connsiteY13-1772" fmla="*/ 25779 h 6925856"/>
              <a:gd name="connsiteX14-1773" fmla="*/ 779421 w 9397013"/>
              <a:gd name="connsiteY14-1774" fmla="*/ 5917254 h 6925856"/>
              <a:gd name="connsiteX15-1775" fmla="*/ 1099910 w 9397013"/>
              <a:gd name="connsiteY15-1776" fmla="*/ 6623043 h 6925856"/>
              <a:gd name="connsiteX16-1777" fmla="*/ 919656 w 9397013"/>
              <a:gd name="connsiteY16-1778" fmla="*/ 6226083 h 6925856"/>
              <a:gd name="connsiteX17-1779" fmla="*/ 5641256 w 9397013"/>
              <a:gd name="connsiteY17-1780" fmla="*/ 4084 h 6925856"/>
              <a:gd name="connsiteX18-1781" fmla="*/ 6077099 w 9397013"/>
              <a:gd name="connsiteY18-1782" fmla="*/ 17286 h 6925856"/>
              <a:gd name="connsiteX19-1783" fmla="*/ 1099910 w 9397013"/>
              <a:gd name="connsiteY19-1784" fmla="*/ 6623043 h 6925856"/>
              <a:gd name="connsiteX20-1785" fmla="*/ 6958778 w 9397013"/>
              <a:gd name="connsiteY20-1786" fmla="*/ 6916619 h 6925856"/>
              <a:gd name="connsiteX21-1787" fmla="*/ 6560038 w 9397013"/>
              <a:gd name="connsiteY21-1788" fmla="*/ 6925855 h 6925856"/>
              <a:gd name="connsiteX22-1789" fmla="*/ 3849932 w 9397013"/>
              <a:gd name="connsiteY22-1790" fmla="*/ 3388318 h 6925856"/>
              <a:gd name="connsiteX23-1791" fmla="*/ 4086202 w 9397013"/>
              <a:gd name="connsiteY23-1792" fmla="*/ 3078877 h 6925856"/>
              <a:gd name="connsiteX24-1793" fmla="*/ 6958778 w 9397013"/>
              <a:gd name="connsiteY24-1794" fmla="*/ 6916619 h 6925856"/>
              <a:gd name="connsiteX25-1795" fmla="*/ 7777211 w 9397013"/>
              <a:gd name="connsiteY25-1796" fmla="*/ 6916620 h 6925856"/>
              <a:gd name="connsiteX26-1797" fmla="*/ 7324729 w 9397013"/>
              <a:gd name="connsiteY26-1798" fmla="*/ 6916620 h 6925856"/>
              <a:gd name="connsiteX27-1799" fmla="*/ 4245793 w 9397013"/>
              <a:gd name="connsiteY27-1800" fmla="*/ 2869862 h 6925856"/>
              <a:gd name="connsiteX28-1801" fmla="*/ 4490696 w 9397013"/>
              <a:gd name="connsiteY28-1802" fmla="*/ 2549117 h 6925856"/>
              <a:gd name="connsiteX29-1803" fmla="*/ 7777211 w 9397013"/>
              <a:gd name="connsiteY29-1804" fmla="*/ 6916620 h 6925856"/>
              <a:gd name="connsiteX30-1805" fmla="*/ 8567691 w 9397013"/>
              <a:gd name="connsiteY30-1806" fmla="*/ 6916619 h 6925856"/>
              <a:gd name="connsiteX31-1807" fmla="*/ 8159389 w 9397013"/>
              <a:gd name="connsiteY31-1808" fmla="*/ 6925856 h 6925856"/>
              <a:gd name="connsiteX32-1809" fmla="*/ 4650570 w 9397013"/>
              <a:gd name="connsiteY32-1810" fmla="*/ 2339732 h 6925856"/>
              <a:gd name="connsiteX33-1811" fmla="*/ 4869244 w 9397013"/>
              <a:gd name="connsiteY33-1812" fmla="*/ 2053337 h 6925856"/>
              <a:gd name="connsiteX34-1813" fmla="*/ 8567691 w 9397013"/>
              <a:gd name="connsiteY34-1814" fmla="*/ 6916619 h 6925856"/>
              <a:gd name="connsiteX35-1815" fmla="*/ 9397013 w 9397013"/>
              <a:gd name="connsiteY35-1816" fmla="*/ 6925855 h 6925856"/>
              <a:gd name="connsiteX36-1817" fmla="*/ 8921338 w 9397013"/>
              <a:gd name="connsiteY36-1818" fmla="*/ 6907383 h 6925856"/>
              <a:gd name="connsiteX37-1819" fmla="*/ 5045299 w 9397013"/>
              <a:gd name="connsiteY37-1820" fmla="*/ 1822761 h 6925856"/>
              <a:gd name="connsiteX38-1821" fmla="*/ 5273037 w 9397013"/>
              <a:gd name="connsiteY38-1822" fmla="*/ 1524494 h 6925856"/>
              <a:gd name="connsiteX39-1823" fmla="*/ 9397013 w 9397013"/>
              <a:gd name="connsiteY39-1824" fmla="*/ 6925855 h 6925856"/>
              <a:gd name="connsiteX0-1825" fmla="*/ 168369 w 9397013"/>
              <a:gd name="connsiteY0-1826" fmla="*/ 4571581 h 6925856"/>
              <a:gd name="connsiteX1-1827" fmla="*/ 0 w 9397013"/>
              <a:gd name="connsiteY1-1828" fmla="*/ 4200794 h 6925856"/>
              <a:gd name="connsiteX2-1829" fmla="*/ 3175788 w 9397013"/>
              <a:gd name="connsiteY2-1830" fmla="*/ 4084 h 6925856"/>
              <a:gd name="connsiteX3-1831" fmla="*/ 3628305 w 9397013"/>
              <a:gd name="connsiteY3-1832" fmla="*/ 0 h 6925856"/>
              <a:gd name="connsiteX4-1833" fmla="*/ 168369 w 9397013"/>
              <a:gd name="connsiteY4-1834" fmla="*/ 4571581 h 6925856"/>
              <a:gd name="connsiteX5-1835" fmla="*/ 488220 w 9397013"/>
              <a:gd name="connsiteY5-1836" fmla="*/ 5275963 h 6925856"/>
              <a:gd name="connsiteX6-1837" fmla="*/ 299082 w 9397013"/>
              <a:gd name="connsiteY6-1838" fmla="*/ 4859439 h 6925856"/>
              <a:gd name="connsiteX7-1839" fmla="*/ 3977147 w 9397013"/>
              <a:gd name="connsiteY7-1840" fmla="*/ 3723 h 6925856"/>
              <a:gd name="connsiteX8-1841" fmla="*/ 4465006 w 9397013"/>
              <a:gd name="connsiteY8-1842" fmla="*/ 840 h 6925856"/>
              <a:gd name="connsiteX9-1843" fmla="*/ 488220 w 9397013"/>
              <a:gd name="connsiteY9-1844" fmla="*/ 5275963 h 6925856"/>
              <a:gd name="connsiteX10-1845" fmla="*/ 779421 w 9397013"/>
              <a:gd name="connsiteY10-1846" fmla="*/ 5917254 h 6925856"/>
              <a:gd name="connsiteX11-1847" fmla="*/ 618065 w 9397013"/>
              <a:gd name="connsiteY11-1848" fmla="*/ 5561911 h 6925856"/>
              <a:gd name="connsiteX12-1849" fmla="*/ 4805164 w 9397013"/>
              <a:gd name="connsiteY12-1850" fmla="*/ 4602 h 6925856"/>
              <a:gd name="connsiteX13-1851" fmla="*/ 5260238 w 9397013"/>
              <a:gd name="connsiteY13-1852" fmla="*/ 25779 h 6925856"/>
              <a:gd name="connsiteX14-1853" fmla="*/ 779421 w 9397013"/>
              <a:gd name="connsiteY14-1854" fmla="*/ 5917254 h 6925856"/>
              <a:gd name="connsiteX15-1855" fmla="*/ 1598673 w 9397013"/>
              <a:gd name="connsiteY15-1856" fmla="*/ 5976498 h 6925856"/>
              <a:gd name="connsiteX16-1857" fmla="*/ 919656 w 9397013"/>
              <a:gd name="connsiteY16-1858" fmla="*/ 6226083 h 6925856"/>
              <a:gd name="connsiteX17-1859" fmla="*/ 5641256 w 9397013"/>
              <a:gd name="connsiteY17-1860" fmla="*/ 4084 h 6925856"/>
              <a:gd name="connsiteX18-1861" fmla="*/ 6077099 w 9397013"/>
              <a:gd name="connsiteY18-1862" fmla="*/ 17286 h 6925856"/>
              <a:gd name="connsiteX19-1863" fmla="*/ 1598673 w 9397013"/>
              <a:gd name="connsiteY19-1864" fmla="*/ 5976498 h 6925856"/>
              <a:gd name="connsiteX20-1865" fmla="*/ 6958778 w 9397013"/>
              <a:gd name="connsiteY20-1866" fmla="*/ 6916619 h 6925856"/>
              <a:gd name="connsiteX21-1867" fmla="*/ 6560038 w 9397013"/>
              <a:gd name="connsiteY21-1868" fmla="*/ 6925855 h 6925856"/>
              <a:gd name="connsiteX22-1869" fmla="*/ 3849932 w 9397013"/>
              <a:gd name="connsiteY22-1870" fmla="*/ 3388318 h 6925856"/>
              <a:gd name="connsiteX23-1871" fmla="*/ 4086202 w 9397013"/>
              <a:gd name="connsiteY23-1872" fmla="*/ 3078877 h 6925856"/>
              <a:gd name="connsiteX24-1873" fmla="*/ 6958778 w 9397013"/>
              <a:gd name="connsiteY24-1874" fmla="*/ 6916619 h 6925856"/>
              <a:gd name="connsiteX25-1875" fmla="*/ 7777211 w 9397013"/>
              <a:gd name="connsiteY25-1876" fmla="*/ 6916620 h 6925856"/>
              <a:gd name="connsiteX26-1877" fmla="*/ 7324729 w 9397013"/>
              <a:gd name="connsiteY26-1878" fmla="*/ 6916620 h 6925856"/>
              <a:gd name="connsiteX27-1879" fmla="*/ 4245793 w 9397013"/>
              <a:gd name="connsiteY27-1880" fmla="*/ 2869862 h 6925856"/>
              <a:gd name="connsiteX28-1881" fmla="*/ 4490696 w 9397013"/>
              <a:gd name="connsiteY28-1882" fmla="*/ 2549117 h 6925856"/>
              <a:gd name="connsiteX29-1883" fmla="*/ 7777211 w 9397013"/>
              <a:gd name="connsiteY29-1884" fmla="*/ 6916620 h 6925856"/>
              <a:gd name="connsiteX30-1885" fmla="*/ 8567691 w 9397013"/>
              <a:gd name="connsiteY30-1886" fmla="*/ 6916619 h 6925856"/>
              <a:gd name="connsiteX31-1887" fmla="*/ 8159389 w 9397013"/>
              <a:gd name="connsiteY31-1888" fmla="*/ 6925856 h 6925856"/>
              <a:gd name="connsiteX32-1889" fmla="*/ 4650570 w 9397013"/>
              <a:gd name="connsiteY32-1890" fmla="*/ 2339732 h 6925856"/>
              <a:gd name="connsiteX33-1891" fmla="*/ 4869244 w 9397013"/>
              <a:gd name="connsiteY33-1892" fmla="*/ 2053337 h 6925856"/>
              <a:gd name="connsiteX34-1893" fmla="*/ 8567691 w 9397013"/>
              <a:gd name="connsiteY34-1894" fmla="*/ 6916619 h 6925856"/>
              <a:gd name="connsiteX35-1895" fmla="*/ 9397013 w 9397013"/>
              <a:gd name="connsiteY35-1896" fmla="*/ 6925855 h 6925856"/>
              <a:gd name="connsiteX36-1897" fmla="*/ 8921338 w 9397013"/>
              <a:gd name="connsiteY36-1898" fmla="*/ 6907383 h 6925856"/>
              <a:gd name="connsiteX37-1899" fmla="*/ 5045299 w 9397013"/>
              <a:gd name="connsiteY37-1900" fmla="*/ 1822761 h 6925856"/>
              <a:gd name="connsiteX38-1901" fmla="*/ 5273037 w 9397013"/>
              <a:gd name="connsiteY38-1902" fmla="*/ 1524494 h 6925856"/>
              <a:gd name="connsiteX39-1903" fmla="*/ 9397013 w 9397013"/>
              <a:gd name="connsiteY39-1904" fmla="*/ 6925855 h 6925856"/>
              <a:gd name="connsiteX0-1905" fmla="*/ 168369 w 9397013"/>
              <a:gd name="connsiteY0-1906" fmla="*/ 4571581 h 6925856"/>
              <a:gd name="connsiteX1-1907" fmla="*/ 0 w 9397013"/>
              <a:gd name="connsiteY1-1908" fmla="*/ 4200794 h 6925856"/>
              <a:gd name="connsiteX2-1909" fmla="*/ 3175788 w 9397013"/>
              <a:gd name="connsiteY2-1910" fmla="*/ 4084 h 6925856"/>
              <a:gd name="connsiteX3-1911" fmla="*/ 3628305 w 9397013"/>
              <a:gd name="connsiteY3-1912" fmla="*/ 0 h 6925856"/>
              <a:gd name="connsiteX4-1913" fmla="*/ 168369 w 9397013"/>
              <a:gd name="connsiteY4-1914" fmla="*/ 4571581 h 6925856"/>
              <a:gd name="connsiteX5-1915" fmla="*/ 488220 w 9397013"/>
              <a:gd name="connsiteY5-1916" fmla="*/ 5275963 h 6925856"/>
              <a:gd name="connsiteX6-1917" fmla="*/ 299082 w 9397013"/>
              <a:gd name="connsiteY6-1918" fmla="*/ 4859439 h 6925856"/>
              <a:gd name="connsiteX7-1919" fmla="*/ 3977147 w 9397013"/>
              <a:gd name="connsiteY7-1920" fmla="*/ 3723 h 6925856"/>
              <a:gd name="connsiteX8-1921" fmla="*/ 4465006 w 9397013"/>
              <a:gd name="connsiteY8-1922" fmla="*/ 840 h 6925856"/>
              <a:gd name="connsiteX9-1923" fmla="*/ 488220 w 9397013"/>
              <a:gd name="connsiteY9-1924" fmla="*/ 5275963 h 6925856"/>
              <a:gd name="connsiteX10-1925" fmla="*/ 779421 w 9397013"/>
              <a:gd name="connsiteY10-1926" fmla="*/ 5917254 h 6925856"/>
              <a:gd name="connsiteX11-1927" fmla="*/ 618065 w 9397013"/>
              <a:gd name="connsiteY11-1928" fmla="*/ 5561911 h 6925856"/>
              <a:gd name="connsiteX12-1929" fmla="*/ 4805164 w 9397013"/>
              <a:gd name="connsiteY12-1930" fmla="*/ 4602 h 6925856"/>
              <a:gd name="connsiteX13-1931" fmla="*/ 5260238 w 9397013"/>
              <a:gd name="connsiteY13-1932" fmla="*/ 25779 h 6925856"/>
              <a:gd name="connsiteX14-1933" fmla="*/ 779421 w 9397013"/>
              <a:gd name="connsiteY14-1934" fmla="*/ 5917254 h 6925856"/>
              <a:gd name="connsiteX15-1935" fmla="*/ 1598673 w 9397013"/>
              <a:gd name="connsiteY15-1936" fmla="*/ 5976498 h 6925856"/>
              <a:gd name="connsiteX16-1937" fmla="*/ 1566201 w 9397013"/>
              <a:gd name="connsiteY16-1938" fmla="*/ 5394811 h 6925856"/>
              <a:gd name="connsiteX17-1939" fmla="*/ 5641256 w 9397013"/>
              <a:gd name="connsiteY17-1940" fmla="*/ 4084 h 6925856"/>
              <a:gd name="connsiteX18-1941" fmla="*/ 6077099 w 9397013"/>
              <a:gd name="connsiteY18-1942" fmla="*/ 17286 h 6925856"/>
              <a:gd name="connsiteX19-1943" fmla="*/ 1598673 w 9397013"/>
              <a:gd name="connsiteY19-1944" fmla="*/ 5976498 h 6925856"/>
              <a:gd name="connsiteX20-1945" fmla="*/ 6958778 w 9397013"/>
              <a:gd name="connsiteY20-1946" fmla="*/ 6916619 h 6925856"/>
              <a:gd name="connsiteX21-1947" fmla="*/ 6560038 w 9397013"/>
              <a:gd name="connsiteY21-1948" fmla="*/ 6925855 h 6925856"/>
              <a:gd name="connsiteX22-1949" fmla="*/ 3849932 w 9397013"/>
              <a:gd name="connsiteY22-1950" fmla="*/ 3388318 h 6925856"/>
              <a:gd name="connsiteX23-1951" fmla="*/ 4086202 w 9397013"/>
              <a:gd name="connsiteY23-1952" fmla="*/ 3078877 h 6925856"/>
              <a:gd name="connsiteX24-1953" fmla="*/ 6958778 w 9397013"/>
              <a:gd name="connsiteY24-1954" fmla="*/ 6916619 h 6925856"/>
              <a:gd name="connsiteX25-1955" fmla="*/ 7777211 w 9397013"/>
              <a:gd name="connsiteY25-1956" fmla="*/ 6916620 h 6925856"/>
              <a:gd name="connsiteX26-1957" fmla="*/ 7324729 w 9397013"/>
              <a:gd name="connsiteY26-1958" fmla="*/ 6916620 h 6925856"/>
              <a:gd name="connsiteX27-1959" fmla="*/ 4245793 w 9397013"/>
              <a:gd name="connsiteY27-1960" fmla="*/ 2869862 h 6925856"/>
              <a:gd name="connsiteX28-1961" fmla="*/ 4490696 w 9397013"/>
              <a:gd name="connsiteY28-1962" fmla="*/ 2549117 h 6925856"/>
              <a:gd name="connsiteX29-1963" fmla="*/ 7777211 w 9397013"/>
              <a:gd name="connsiteY29-1964" fmla="*/ 6916620 h 6925856"/>
              <a:gd name="connsiteX30-1965" fmla="*/ 8567691 w 9397013"/>
              <a:gd name="connsiteY30-1966" fmla="*/ 6916619 h 6925856"/>
              <a:gd name="connsiteX31-1967" fmla="*/ 8159389 w 9397013"/>
              <a:gd name="connsiteY31-1968" fmla="*/ 6925856 h 6925856"/>
              <a:gd name="connsiteX32-1969" fmla="*/ 4650570 w 9397013"/>
              <a:gd name="connsiteY32-1970" fmla="*/ 2339732 h 6925856"/>
              <a:gd name="connsiteX33-1971" fmla="*/ 4869244 w 9397013"/>
              <a:gd name="connsiteY33-1972" fmla="*/ 2053337 h 6925856"/>
              <a:gd name="connsiteX34-1973" fmla="*/ 8567691 w 9397013"/>
              <a:gd name="connsiteY34-1974" fmla="*/ 6916619 h 6925856"/>
              <a:gd name="connsiteX35-1975" fmla="*/ 9397013 w 9397013"/>
              <a:gd name="connsiteY35-1976" fmla="*/ 6925855 h 6925856"/>
              <a:gd name="connsiteX36-1977" fmla="*/ 8921338 w 9397013"/>
              <a:gd name="connsiteY36-1978" fmla="*/ 6907383 h 6925856"/>
              <a:gd name="connsiteX37-1979" fmla="*/ 5045299 w 9397013"/>
              <a:gd name="connsiteY37-1980" fmla="*/ 1822761 h 6925856"/>
              <a:gd name="connsiteX38-1981" fmla="*/ 5273037 w 9397013"/>
              <a:gd name="connsiteY38-1982" fmla="*/ 1524494 h 6925856"/>
              <a:gd name="connsiteX39-1983" fmla="*/ 9397013 w 9397013"/>
              <a:gd name="connsiteY39-1984" fmla="*/ 6925855 h 6925856"/>
              <a:gd name="connsiteX0-1985" fmla="*/ 168369 w 9397013"/>
              <a:gd name="connsiteY0-1986" fmla="*/ 4571581 h 6925856"/>
              <a:gd name="connsiteX1-1987" fmla="*/ 0 w 9397013"/>
              <a:gd name="connsiteY1-1988" fmla="*/ 4200794 h 6925856"/>
              <a:gd name="connsiteX2-1989" fmla="*/ 3175788 w 9397013"/>
              <a:gd name="connsiteY2-1990" fmla="*/ 4084 h 6925856"/>
              <a:gd name="connsiteX3-1991" fmla="*/ 3628305 w 9397013"/>
              <a:gd name="connsiteY3-1992" fmla="*/ 0 h 6925856"/>
              <a:gd name="connsiteX4-1993" fmla="*/ 168369 w 9397013"/>
              <a:gd name="connsiteY4-1994" fmla="*/ 4571581 h 6925856"/>
              <a:gd name="connsiteX5-1995" fmla="*/ 488220 w 9397013"/>
              <a:gd name="connsiteY5-1996" fmla="*/ 5275963 h 6925856"/>
              <a:gd name="connsiteX6-1997" fmla="*/ 299082 w 9397013"/>
              <a:gd name="connsiteY6-1998" fmla="*/ 4859439 h 6925856"/>
              <a:gd name="connsiteX7-1999" fmla="*/ 3977147 w 9397013"/>
              <a:gd name="connsiteY7-2000" fmla="*/ 3723 h 6925856"/>
              <a:gd name="connsiteX8-2001" fmla="*/ 4465006 w 9397013"/>
              <a:gd name="connsiteY8-2002" fmla="*/ 840 h 6925856"/>
              <a:gd name="connsiteX9-2003" fmla="*/ 488220 w 9397013"/>
              <a:gd name="connsiteY9-2004" fmla="*/ 5275963 h 6925856"/>
              <a:gd name="connsiteX10-2005" fmla="*/ 779421 w 9397013"/>
              <a:gd name="connsiteY10-2006" fmla="*/ 5917254 h 6925856"/>
              <a:gd name="connsiteX11-2007" fmla="*/ 618065 w 9397013"/>
              <a:gd name="connsiteY11-2008" fmla="*/ 5561911 h 6925856"/>
              <a:gd name="connsiteX12-2009" fmla="*/ 4805164 w 9397013"/>
              <a:gd name="connsiteY12-2010" fmla="*/ 4602 h 6925856"/>
              <a:gd name="connsiteX13-2011" fmla="*/ 5260238 w 9397013"/>
              <a:gd name="connsiteY13-2012" fmla="*/ 25779 h 6925856"/>
              <a:gd name="connsiteX14-2013" fmla="*/ 779421 w 9397013"/>
              <a:gd name="connsiteY14-2014" fmla="*/ 5917254 h 6925856"/>
              <a:gd name="connsiteX15-2015" fmla="*/ 1580200 w 9397013"/>
              <a:gd name="connsiteY15-2016" fmla="*/ 5985735 h 6925856"/>
              <a:gd name="connsiteX16-2017" fmla="*/ 1566201 w 9397013"/>
              <a:gd name="connsiteY16-2018" fmla="*/ 5394811 h 6925856"/>
              <a:gd name="connsiteX17-2019" fmla="*/ 5641256 w 9397013"/>
              <a:gd name="connsiteY17-2020" fmla="*/ 4084 h 6925856"/>
              <a:gd name="connsiteX18-2021" fmla="*/ 6077099 w 9397013"/>
              <a:gd name="connsiteY18-2022" fmla="*/ 17286 h 6925856"/>
              <a:gd name="connsiteX19-2023" fmla="*/ 1580200 w 9397013"/>
              <a:gd name="connsiteY19-2024" fmla="*/ 5985735 h 6925856"/>
              <a:gd name="connsiteX20-2025" fmla="*/ 6958778 w 9397013"/>
              <a:gd name="connsiteY20-2026" fmla="*/ 6916619 h 6925856"/>
              <a:gd name="connsiteX21-2027" fmla="*/ 6560038 w 9397013"/>
              <a:gd name="connsiteY21-2028" fmla="*/ 6925855 h 6925856"/>
              <a:gd name="connsiteX22-2029" fmla="*/ 3849932 w 9397013"/>
              <a:gd name="connsiteY22-2030" fmla="*/ 3388318 h 6925856"/>
              <a:gd name="connsiteX23-2031" fmla="*/ 4086202 w 9397013"/>
              <a:gd name="connsiteY23-2032" fmla="*/ 3078877 h 6925856"/>
              <a:gd name="connsiteX24-2033" fmla="*/ 6958778 w 9397013"/>
              <a:gd name="connsiteY24-2034" fmla="*/ 6916619 h 6925856"/>
              <a:gd name="connsiteX25-2035" fmla="*/ 7777211 w 9397013"/>
              <a:gd name="connsiteY25-2036" fmla="*/ 6916620 h 6925856"/>
              <a:gd name="connsiteX26-2037" fmla="*/ 7324729 w 9397013"/>
              <a:gd name="connsiteY26-2038" fmla="*/ 6916620 h 6925856"/>
              <a:gd name="connsiteX27-2039" fmla="*/ 4245793 w 9397013"/>
              <a:gd name="connsiteY27-2040" fmla="*/ 2869862 h 6925856"/>
              <a:gd name="connsiteX28-2041" fmla="*/ 4490696 w 9397013"/>
              <a:gd name="connsiteY28-2042" fmla="*/ 2549117 h 6925856"/>
              <a:gd name="connsiteX29-2043" fmla="*/ 7777211 w 9397013"/>
              <a:gd name="connsiteY29-2044" fmla="*/ 6916620 h 6925856"/>
              <a:gd name="connsiteX30-2045" fmla="*/ 8567691 w 9397013"/>
              <a:gd name="connsiteY30-2046" fmla="*/ 6916619 h 6925856"/>
              <a:gd name="connsiteX31-2047" fmla="*/ 8159389 w 9397013"/>
              <a:gd name="connsiteY31-2048" fmla="*/ 6925856 h 6925856"/>
              <a:gd name="connsiteX32-2049" fmla="*/ 4650570 w 9397013"/>
              <a:gd name="connsiteY32-2050" fmla="*/ 2339732 h 6925856"/>
              <a:gd name="connsiteX33-2051" fmla="*/ 4869244 w 9397013"/>
              <a:gd name="connsiteY33-2052" fmla="*/ 2053337 h 6925856"/>
              <a:gd name="connsiteX34-2053" fmla="*/ 8567691 w 9397013"/>
              <a:gd name="connsiteY34-2054" fmla="*/ 6916619 h 6925856"/>
              <a:gd name="connsiteX35-2055" fmla="*/ 9397013 w 9397013"/>
              <a:gd name="connsiteY35-2056" fmla="*/ 6925855 h 6925856"/>
              <a:gd name="connsiteX36-2057" fmla="*/ 8921338 w 9397013"/>
              <a:gd name="connsiteY36-2058" fmla="*/ 6907383 h 6925856"/>
              <a:gd name="connsiteX37-2059" fmla="*/ 5045299 w 9397013"/>
              <a:gd name="connsiteY37-2060" fmla="*/ 1822761 h 6925856"/>
              <a:gd name="connsiteX38-2061" fmla="*/ 5273037 w 9397013"/>
              <a:gd name="connsiteY38-2062" fmla="*/ 1524494 h 6925856"/>
              <a:gd name="connsiteX39-2063" fmla="*/ 9397013 w 9397013"/>
              <a:gd name="connsiteY39-2064" fmla="*/ 6925855 h 6925856"/>
              <a:gd name="connsiteX0-2065" fmla="*/ 168369 w 9397013"/>
              <a:gd name="connsiteY0-2066" fmla="*/ 4571581 h 6925856"/>
              <a:gd name="connsiteX1-2067" fmla="*/ 0 w 9397013"/>
              <a:gd name="connsiteY1-2068" fmla="*/ 4200794 h 6925856"/>
              <a:gd name="connsiteX2-2069" fmla="*/ 3175788 w 9397013"/>
              <a:gd name="connsiteY2-2070" fmla="*/ 4084 h 6925856"/>
              <a:gd name="connsiteX3-2071" fmla="*/ 3628305 w 9397013"/>
              <a:gd name="connsiteY3-2072" fmla="*/ 0 h 6925856"/>
              <a:gd name="connsiteX4-2073" fmla="*/ 168369 w 9397013"/>
              <a:gd name="connsiteY4-2074" fmla="*/ 4571581 h 6925856"/>
              <a:gd name="connsiteX5-2075" fmla="*/ 488220 w 9397013"/>
              <a:gd name="connsiteY5-2076" fmla="*/ 5275963 h 6925856"/>
              <a:gd name="connsiteX6-2077" fmla="*/ 299082 w 9397013"/>
              <a:gd name="connsiteY6-2078" fmla="*/ 4859439 h 6925856"/>
              <a:gd name="connsiteX7-2079" fmla="*/ 3977147 w 9397013"/>
              <a:gd name="connsiteY7-2080" fmla="*/ 3723 h 6925856"/>
              <a:gd name="connsiteX8-2081" fmla="*/ 4465006 w 9397013"/>
              <a:gd name="connsiteY8-2082" fmla="*/ 840 h 6925856"/>
              <a:gd name="connsiteX9-2083" fmla="*/ 488220 w 9397013"/>
              <a:gd name="connsiteY9-2084" fmla="*/ 5275963 h 6925856"/>
              <a:gd name="connsiteX10-2085" fmla="*/ 1601458 w 9397013"/>
              <a:gd name="connsiteY10-2086" fmla="*/ 4845836 h 6925856"/>
              <a:gd name="connsiteX11-2087" fmla="*/ 618065 w 9397013"/>
              <a:gd name="connsiteY11-2088" fmla="*/ 5561911 h 6925856"/>
              <a:gd name="connsiteX12-2089" fmla="*/ 4805164 w 9397013"/>
              <a:gd name="connsiteY12-2090" fmla="*/ 4602 h 6925856"/>
              <a:gd name="connsiteX13-2091" fmla="*/ 5260238 w 9397013"/>
              <a:gd name="connsiteY13-2092" fmla="*/ 25779 h 6925856"/>
              <a:gd name="connsiteX14-2093" fmla="*/ 1601458 w 9397013"/>
              <a:gd name="connsiteY14-2094" fmla="*/ 4845836 h 6925856"/>
              <a:gd name="connsiteX15-2095" fmla="*/ 1580200 w 9397013"/>
              <a:gd name="connsiteY15-2096" fmla="*/ 5985735 h 6925856"/>
              <a:gd name="connsiteX16-2097" fmla="*/ 1566201 w 9397013"/>
              <a:gd name="connsiteY16-2098" fmla="*/ 5394811 h 6925856"/>
              <a:gd name="connsiteX17-2099" fmla="*/ 5641256 w 9397013"/>
              <a:gd name="connsiteY17-2100" fmla="*/ 4084 h 6925856"/>
              <a:gd name="connsiteX18-2101" fmla="*/ 6077099 w 9397013"/>
              <a:gd name="connsiteY18-2102" fmla="*/ 17286 h 6925856"/>
              <a:gd name="connsiteX19-2103" fmla="*/ 1580200 w 9397013"/>
              <a:gd name="connsiteY19-2104" fmla="*/ 5985735 h 6925856"/>
              <a:gd name="connsiteX20-2105" fmla="*/ 6958778 w 9397013"/>
              <a:gd name="connsiteY20-2106" fmla="*/ 6916619 h 6925856"/>
              <a:gd name="connsiteX21-2107" fmla="*/ 6560038 w 9397013"/>
              <a:gd name="connsiteY21-2108" fmla="*/ 6925855 h 6925856"/>
              <a:gd name="connsiteX22-2109" fmla="*/ 3849932 w 9397013"/>
              <a:gd name="connsiteY22-2110" fmla="*/ 3388318 h 6925856"/>
              <a:gd name="connsiteX23-2111" fmla="*/ 4086202 w 9397013"/>
              <a:gd name="connsiteY23-2112" fmla="*/ 3078877 h 6925856"/>
              <a:gd name="connsiteX24-2113" fmla="*/ 6958778 w 9397013"/>
              <a:gd name="connsiteY24-2114" fmla="*/ 6916619 h 6925856"/>
              <a:gd name="connsiteX25-2115" fmla="*/ 7777211 w 9397013"/>
              <a:gd name="connsiteY25-2116" fmla="*/ 6916620 h 6925856"/>
              <a:gd name="connsiteX26-2117" fmla="*/ 7324729 w 9397013"/>
              <a:gd name="connsiteY26-2118" fmla="*/ 6916620 h 6925856"/>
              <a:gd name="connsiteX27-2119" fmla="*/ 4245793 w 9397013"/>
              <a:gd name="connsiteY27-2120" fmla="*/ 2869862 h 6925856"/>
              <a:gd name="connsiteX28-2121" fmla="*/ 4490696 w 9397013"/>
              <a:gd name="connsiteY28-2122" fmla="*/ 2549117 h 6925856"/>
              <a:gd name="connsiteX29-2123" fmla="*/ 7777211 w 9397013"/>
              <a:gd name="connsiteY29-2124" fmla="*/ 6916620 h 6925856"/>
              <a:gd name="connsiteX30-2125" fmla="*/ 8567691 w 9397013"/>
              <a:gd name="connsiteY30-2126" fmla="*/ 6916619 h 6925856"/>
              <a:gd name="connsiteX31-2127" fmla="*/ 8159389 w 9397013"/>
              <a:gd name="connsiteY31-2128" fmla="*/ 6925856 h 6925856"/>
              <a:gd name="connsiteX32-2129" fmla="*/ 4650570 w 9397013"/>
              <a:gd name="connsiteY32-2130" fmla="*/ 2339732 h 6925856"/>
              <a:gd name="connsiteX33-2131" fmla="*/ 4869244 w 9397013"/>
              <a:gd name="connsiteY33-2132" fmla="*/ 2053337 h 6925856"/>
              <a:gd name="connsiteX34-2133" fmla="*/ 8567691 w 9397013"/>
              <a:gd name="connsiteY34-2134" fmla="*/ 6916619 h 6925856"/>
              <a:gd name="connsiteX35-2135" fmla="*/ 9397013 w 9397013"/>
              <a:gd name="connsiteY35-2136" fmla="*/ 6925855 h 6925856"/>
              <a:gd name="connsiteX36-2137" fmla="*/ 8921338 w 9397013"/>
              <a:gd name="connsiteY36-2138" fmla="*/ 6907383 h 6925856"/>
              <a:gd name="connsiteX37-2139" fmla="*/ 5045299 w 9397013"/>
              <a:gd name="connsiteY37-2140" fmla="*/ 1822761 h 6925856"/>
              <a:gd name="connsiteX38-2141" fmla="*/ 5273037 w 9397013"/>
              <a:gd name="connsiteY38-2142" fmla="*/ 1524494 h 6925856"/>
              <a:gd name="connsiteX39-2143" fmla="*/ 9397013 w 9397013"/>
              <a:gd name="connsiteY39-2144" fmla="*/ 6925855 h 6925856"/>
              <a:gd name="connsiteX0-2145" fmla="*/ 168369 w 9397013"/>
              <a:gd name="connsiteY0-2146" fmla="*/ 4571581 h 6925856"/>
              <a:gd name="connsiteX1-2147" fmla="*/ 0 w 9397013"/>
              <a:gd name="connsiteY1-2148" fmla="*/ 4200794 h 6925856"/>
              <a:gd name="connsiteX2-2149" fmla="*/ 3175788 w 9397013"/>
              <a:gd name="connsiteY2-2150" fmla="*/ 4084 h 6925856"/>
              <a:gd name="connsiteX3-2151" fmla="*/ 3628305 w 9397013"/>
              <a:gd name="connsiteY3-2152" fmla="*/ 0 h 6925856"/>
              <a:gd name="connsiteX4-2153" fmla="*/ 168369 w 9397013"/>
              <a:gd name="connsiteY4-2154" fmla="*/ 4571581 h 6925856"/>
              <a:gd name="connsiteX5-2155" fmla="*/ 488220 w 9397013"/>
              <a:gd name="connsiteY5-2156" fmla="*/ 5275963 h 6925856"/>
              <a:gd name="connsiteX6-2157" fmla="*/ 299082 w 9397013"/>
              <a:gd name="connsiteY6-2158" fmla="*/ 4859439 h 6925856"/>
              <a:gd name="connsiteX7-2159" fmla="*/ 3977147 w 9397013"/>
              <a:gd name="connsiteY7-2160" fmla="*/ 3723 h 6925856"/>
              <a:gd name="connsiteX8-2161" fmla="*/ 4465006 w 9397013"/>
              <a:gd name="connsiteY8-2162" fmla="*/ 840 h 6925856"/>
              <a:gd name="connsiteX9-2163" fmla="*/ 488220 w 9397013"/>
              <a:gd name="connsiteY9-2164" fmla="*/ 5275963 h 6925856"/>
              <a:gd name="connsiteX10-2165" fmla="*/ 1601458 w 9397013"/>
              <a:gd name="connsiteY10-2166" fmla="*/ 4845836 h 6925856"/>
              <a:gd name="connsiteX11-2167" fmla="*/ 1550937 w 9397013"/>
              <a:gd name="connsiteY11-2168" fmla="*/ 4315002 h 6925856"/>
              <a:gd name="connsiteX12-2169" fmla="*/ 4805164 w 9397013"/>
              <a:gd name="connsiteY12-2170" fmla="*/ 4602 h 6925856"/>
              <a:gd name="connsiteX13-2171" fmla="*/ 5260238 w 9397013"/>
              <a:gd name="connsiteY13-2172" fmla="*/ 25779 h 6925856"/>
              <a:gd name="connsiteX14-2173" fmla="*/ 1601458 w 9397013"/>
              <a:gd name="connsiteY14-2174" fmla="*/ 4845836 h 6925856"/>
              <a:gd name="connsiteX15-2175" fmla="*/ 1580200 w 9397013"/>
              <a:gd name="connsiteY15-2176" fmla="*/ 5985735 h 6925856"/>
              <a:gd name="connsiteX16-2177" fmla="*/ 1566201 w 9397013"/>
              <a:gd name="connsiteY16-2178" fmla="*/ 5394811 h 6925856"/>
              <a:gd name="connsiteX17-2179" fmla="*/ 5641256 w 9397013"/>
              <a:gd name="connsiteY17-2180" fmla="*/ 4084 h 6925856"/>
              <a:gd name="connsiteX18-2181" fmla="*/ 6077099 w 9397013"/>
              <a:gd name="connsiteY18-2182" fmla="*/ 17286 h 6925856"/>
              <a:gd name="connsiteX19-2183" fmla="*/ 1580200 w 9397013"/>
              <a:gd name="connsiteY19-2184" fmla="*/ 5985735 h 6925856"/>
              <a:gd name="connsiteX20-2185" fmla="*/ 6958778 w 9397013"/>
              <a:gd name="connsiteY20-2186" fmla="*/ 6916619 h 6925856"/>
              <a:gd name="connsiteX21-2187" fmla="*/ 6560038 w 9397013"/>
              <a:gd name="connsiteY21-2188" fmla="*/ 6925855 h 6925856"/>
              <a:gd name="connsiteX22-2189" fmla="*/ 3849932 w 9397013"/>
              <a:gd name="connsiteY22-2190" fmla="*/ 3388318 h 6925856"/>
              <a:gd name="connsiteX23-2191" fmla="*/ 4086202 w 9397013"/>
              <a:gd name="connsiteY23-2192" fmla="*/ 3078877 h 6925856"/>
              <a:gd name="connsiteX24-2193" fmla="*/ 6958778 w 9397013"/>
              <a:gd name="connsiteY24-2194" fmla="*/ 6916619 h 6925856"/>
              <a:gd name="connsiteX25-2195" fmla="*/ 7777211 w 9397013"/>
              <a:gd name="connsiteY25-2196" fmla="*/ 6916620 h 6925856"/>
              <a:gd name="connsiteX26-2197" fmla="*/ 7324729 w 9397013"/>
              <a:gd name="connsiteY26-2198" fmla="*/ 6916620 h 6925856"/>
              <a:gd name="connsiteX27-2199" fmla="*/ 4245793 w 9397013"/>
              <a:gd name="connsiteY27-2200" fmla="*/ 2869862 h 6925856"/>
              <a:gd name="connsiteX28-2201" fmla="*/ 4490696 w 9397013"/>
              <a:gd name="connsiteY28-2202" fmla="*/ 2549117 h 6925856"/>
              <a:gd name="connsiteX29-2203" fmla="*/ 7777211 w 9397013"/>
              <a:gd name="connsiteY29-2204" fmla="*/ 6916620 h 6925856"/>
              <a:gd name="connsiteX30-2205" fmla="*/ 8567691 w 9397013"/>
              <a:gd name="connsiteY30-2206" fmla="*/ 6916619 h 6925856"/>
              <a:gd name="connsiteX31-2207" fmla="*/ 8159389 w 9397013"/>
              <a:gd name="connsiteY31-2208" fmla="*/ 6925856 h 6925856"/>
              <a:gd name="connsiteX32-2209" fmla="*/ 4650570 w 9397013"/>
              <a:gd name="connsiteY32-2210" fmla="*/ 2339732 h 6925856"/>
              <a:gd name="connsiteX33-2211" fmla="*/ 4869244 w 9397013"/>
              <a:gd name="connsiteY33-2212" fmla="*/ 2053337 h 6925856"/>
              <a:gd name="connsiteX34-2213" fmla="*/ 8567691 w 9397013"/>
              <a:gd name="connsiteY34-2214" fmla="*/ 6916619 h 6925856"/>
              <a:gd name="connsiteX35-2215" fmla="*/ 9397013 w 9397013"/>
              <a:gd name="connsiteY35-2216" fmla="*/ 6925855 h 6925856"/>
              <a:gd name="connsiteX36-2217" fmla="*/ 8921338 w 9397013"/>
              <a:gd name="connsiteY36-2218" fmla="*/ 6907383 h 6925856"/>
              <a:gd name="connsiteX37-2219" fmla="*/ 5045299 w 9397013"/>
              <a:gd name="connsiteY37-2220" fmla="*/ 1822761 h 6925856"/>
              <a:gd name="connsiteX38-2221" fmla="*/ 5273037 w 9397013"/>
              <a:gd name="connsiteY38-2222" fmla="*/ 1524494 h 6925856"/>
              <a:gd name="connsiteX39-2223" fmla="*/ 9397013 w 9397013"/>
              <a:gd name="connsiteY39-2224" fmla="*/ 6925855 h 6925856"/>
              <a:gd name="connsiteX0-2225" fmla="*/ 168369 w 9397013"/>
              <a:gd name="connsiteY0-2226" fmla="*/ 4571581 h 6925856"/>
              <a:gd name="connsiteX1-2227" fmla="*/ 0 w 9397013"/>
              <a:gd name="connsiteY1-2228" fmla="*/ 4200794 h 6925856"/>
              <a:gd name="connsiteX2-2229" fmla="*/ 3175788 w 9397013"/>
              <a:gd name="connsiteY2-2230" fmla="*/ 4084 h 6925856"/>
              <a:gd name="connsiteX3-2231" fmla="*/ 3628305 w 9397013"/>
              <a:gd name="connsiteY3-2232" fmla="*/ 0 h 6925856"/>
              <a:gd name="connsiteX4-2233" fmla="*/ 168369 w 9397013"/>
              <a:gd name="connsiteY4-2234" fmla="*/ 4571581 h 6925856"/>
              <a:gd name="connsiteX5-2235" fmla="*/ 488220 w 9397013"/>
              <a:gd name="connsiteY5-2236" fmla="*/ 5275963 h 6925856"/>
              <a:gd name="connsiteX6-2237" fmla="*/ 299082 w 9397013"/>
              <a:gd name="connsiteY6-2238" fmla="*/ 4859439 h 6925856"/>
              <a:gd name="connsiteX7-2239" fmla="*/ 3977147 w 9397013"/>
              <a:gd name="connsiteY7-2240" fmla="*/ 3723 h 6925856"/>
              <a:gd name="connsiteX8-2241" fmla="*/ 4465006 w 9397013"/>
              <a:gd name="connsiteY8-2242" fmla="*/ 840 h 6925856"/>
              <a:gd name="connsiteX9-2243" fmla="*/ 488220 w 9397013"/>
              <a:gd name="connsiteY9-2244" fmla="*/ 5275963 h 6925856"/>
              <a:gd name="connsiteX10-2245" fmla="*/ 1573749 w 9397013"/>
              <a:gd name="connsiteY10-2246" fmla="*/ 4882781 h 6925856"/>
              <a:gd name="connsiteX11-2247" fmla="*/ 1550937 w 9397013"/>
              <a:gd name="connsiteY11-2248" fmla="*/ 4315002 h 6925856"/>
              <a:gd name="connsiteX12-2249" fmla="*/ 4805164 w 9397013"/>
              <a:gd name="connsiteY12-2250" fmla="*/ 4602 h 6925856"/>
              <a:gd name="connsiteX13-2251" fmla="*/ 5260238 w 9397013"/>
              <a:gd name="connsiteY13-2252" fmla="*/ 25779 h 6925856"/>
              <a:gd name="connsiteX14-2253" fmla="*/ 1573749 w 9397013"/>
              <a:gd name="connsiteY14-2254" fmla="*/ 4882781 h 6925856"/>
              <a:gd name="connsiteX15-2255" fmla="*/ 1580200 w 9397013"/>
              <a:gd name="connsiteY15-2256" fmla="*/ 5985735 h 6925856"/>
              <a:gd name="connsiteX16-2257" fmla="*/ 1566201 w 9397013"/>
              <a:gd name="connsiteY16-2258" fmla="*/ 5394811 h 6925856"/>
              <a:gd name="connsiteX17-2259" fmla="*/ 5641256 w 9397013"/>
              <a:gd name="connsiteY17-2260" fmla="*/ 4084 h 6925856"/>
              <a:gd name="connsiteX18-2261" fmla="*/ 6077099 w 9397013"/>
              <a:gd name="connsiteY18-2262" fmla="*/ 17286 h 6925856"/>
              <a:gd name="connsiteX19-2263" fmla="*/ 1580200 w 9397013"/>
              <a:gd name="connsiteY19-2264" fmla="*/ 5985735 h 6925856"/>
              <a:gd name="connsiteX20-2265" fmla="*/ 6958778 w 9397013"/>
              <a:gd name="connsiteY20-2266" fmla="*/ 6916619 h 6925856"/>
              <a:gd name="connsiteX21-2267" fmla="*/ 6560038 w 9397013"/>
              <a:gd name="connsiteY21-2268" fmla="*/ 6925855 h 6925856"/>
              <a:gd name="connsiteX22-2269" fmla="*/ 3849932 w 9397013"/>
              <a:gd name="connsiteY22-2270" fmla="*/ 3388318 h 6925856"/>
              <a:gd name="connsiteX23-2271" fmla="*/ 4086202 w 9397013"/>
              <a:gd name="connsiteY23-2272" fmla="*/ 3078877 h 6925856"/>
              <a:gd name="connsiteX24-2273" fmla="*/ 6958778 w 9397013"/>
              <a:gd name="connsiteY24-2274" fmla="*/ 6916619 h 6925856"/>
              <a:gd name="connsiteX25-2275" fmla="*/ 7777211 w 9397013"/>
              <a:gd name="connsiteY25-2276" fmla="*/ 6916620 h 6925856"/>
              <a:gd name="connsiteX26-2277" fmla="*/ 7324729 w 9397013"/>
              <a:gd name="connsiteY26-2278" fmla="*/ 6916620 h 6925856"/>
              <a:gd name="connsiteX27-2279" fmla="*/ 4245793 w 9397013"/>
              <a:gd name="connsiteY27-2280" fmla="*/ 2869862 h 6925856"/>
              <a:gd name="connsiteX28-2281" fmla="*/ 4490696 w 9397013"/>
              <a:gd name="connsiteY28-2282" fmla="*/ 2549117 h 6925856"/>
              <a:gd name="connsiteX29-2283" fmla="*/ 7777211 w 9397013"/>
              <a:gd name="connsiteY29-2284" fmla="*/ 6916620 h 6925856"/>
              <a:gd name="connsiteX30-2285" fmla="*/ 8567691 w 9397013"/>
              <a:gd name="connsiteY30-2286" fmla="*/ 6916619 h 6925856"/>
              <a:gd name="connsiteX31-2287" fmla="*/ 8159389 w 9397013"/>
              <a:gd name="connsiteY31-2288" fmla="*/ 6925856 h 6925856"/>
              <a:gd name="connsiteX32-2289" fmla="*/ 4650570 w 9397013"/>
              <a:gd name="connsiteY32-2290" fmla="*/ 2339732 h 6925856"/>
              <a:gd name="connsiteX33-2291" fmla="*/ 4869244 w 9397013"/>
              <a:gd name="connsiteY33-2292" fmla="*/ 2053337 h 6925856"/>
              <a:gd name="connsiteX34-2293" fmla="*/ 8567691 w 9397013"/>
              <a:gd name="connsiteY34-2294" fmla="*/ 6916619 h 6925856"/>
              <a:gd name="connsiteX35-2295" fmla="*/ 9397013 w 9397013"/>
              <a:gd name="connsiteY35-2296" fmla="*/ 6925855 h 6925856"/>
              <a:gd name="connsiteX36-2297" fmla="*/ 8921338 w 9397013"/>
              <a:gd name="connsiteY36-2298" fmla="*/ 6907383 h 6925856"/>
              <a:gd name="connsiteX37-2299" fmla="*/ 5045299 w 9397013"/>
              <a:gd name="connsiteY37-2300" fmla="*/ 1822761 h 6925856"/>
              <a:gd name="connsiteX38-2301" fmla="*/ 5273037 w 9397013"/>
              <a:gd name="connsiteY38-2302" fmla="*/ 1524494 h 6925856"/>
              <a:gd name="connsiteX39-2303" fmla="*/ 9397013 w 9397013"/>
              <a:gd name="connsiteY39-2304" fmla="*/ 6925855 h 6925856"/>
              <a:gd name="connsiteX0-2305" fmla="*/ 168369 w 9397013"/>
              <a:gd name="connsiteY0-2306" fmla="*/ 4571581 h 6925856"/>
              <a:gd name="connsiteX1-2307" fmla="*/ 0 w 9397013"/>
              <a:gd name="connsiteY1-2308" fmla="*/ 4200794 h 6925856"/>
              <a:gd name="connsiteX2-2309" fmla="*/ 3175788 w 9397013"/>
              <a:gd name="connsiteY2-2310" fmla="*/ 4084 h 6925856"/>
              <a:gd name="connsiteX3-2311" fmla="*/ 3628305 w 9397013"/>
              <a:gd name="connsiteY3-2312" fmla="*/ 0 h 6925856"/>
              <a:gd name="connsiteX4-2313" fmla="*/ 168369 w 9397013"/>
              <a:gd name="connsiteY4-2314" fmla="*/ 4571581 h 6925856"/>
              <a:gd name="connsiteX5-2315" fmla="*/ 1578111 w 9397013"/>
              <a:gd name="connsiteY5-2316" fmla="*/ 3835090 h 6925856"/>
              <a:gd name="connsiteX6-2317" fmla="*/ 299082 w 9397013"/>
              <a:gd name="connsiteY6-2318" fmla="*/ 4859439 h 6925856"/>
              <a:gd name="connsiteX7-2319" fmla="*/ 3977147 w 9397013"/>
              <a:gd name="connsiteY7-2320" fmla="*/ 3723 h 6925856"/>
              <a:gd name="connsiteX8-2321" fmla="*/ 4465006 w 9397013"/>
              <a:gd name="connsiteY8-2322" fmla="*/ 840 h 6925856"/>
              <a:gd name="connsiteX9-2323" fmla="*/ 1578111 w 9397013"/>
              <a:gd name="connsiteY9-2324" fmla="*/ 3835090 h 6925856"/>
              <a:gd name="connsiteX10-2325" fmla="*/ 1573749 w 9397013"/>
              <a:gd name="connsiteY10-2326" fmla="*/ 4882781 h 6925856"/>
              <a:gd name="connsiteX11-2327" fmla="*/ 1550937 w 9397013"/>
              <a:gd name="connsiteY11-2328" fmla="*/ 4315002 h 6925856"/>
              <a:gd name="connsiteX12-2329" fmla="*/ 4805164 w 9397013"/>
              <a:gd name="connsiteY12-2330" fmla="*/ 4602 h 6925856"/>
              <a:gd name="connsiteX13-2331" fmla="*/ 5260238 w 9397013"/>
              <a:gd name="connsiteY13-2332" fmla="*/ 25779 h 6925856"/>
              <a:gd name="connsiteX14-2333" fmla="*/ 1573749 w 9397013"/>
              <a:gd name="connsiteY14-2334" fmla="*/ 4882781 h 6925856"/>
              <a:gd name="connsiteX15-2335" fmla="*/ 1580200 w 9397013"/>
              <a:gd name="connsiteY15-2336" fmla="*/ 5985735 h 6925856"/>
              <a:gd name="connsiteX16-2337" fmla="*/ 1566201 w 9397013"/>
              <a:gd name="connsiteY16-2338" fmla="*/ 5394811 h 6925856"/>
              <a:gd name="connsiteX17-2339" fmla="*/ 5641256 w 9397013"/>
              <a:gd name="connsiteY17-2340" fmla="*/ 4084 h 6925856"/>
              <a:gd name="connsiteX18-2341" fmla="*/ 6077099 w 9397013"/>
              <a:gd name="connsiteY18-2342" fmla="*/ 17286 h 6925856"/>
              <a:gd name="connsiteX19-2343" fmla="*/ 1580200 w 9397013"/>
              <a:gd name="connsiteY19-2344" fmla="*/ 5985735 h 6925856"/>
              <a:gd name="connsiteX20-2345" fmla="*/ 6958778 w 9397013"/>
              <a:gd name="connsiteY20-2346" fmla="*/ 6916619 h 6925856"/>
              <a:gd name="connsiteX21-2347" fmla="*/ 6560038 w 9397013"/>
              <a:gd name="connsiteY21-2348" fmla="*/ 6925855 h 6925856"/>
              <a:gd name="connsiteX22-2349" fmla="*/ 3849932 w 9397013"/>
              <a:gd name="connsiteY22-2350" fmla="*/ 3388318 h 6925856"/>
              <a:gd name="connsiteX23-2351" fmla="*/ 4086202 w 9397013"/>
              <a:gd name="connsiteY23-2352" fmla="*/ 3078877 h 6925856"/>
              <a:gd name="connsiteX24-2353" fmla="*/ 6958778 w 9397013"/>
              <a:gd name="connsiteY24-2354" fmla="*/ 6916619 h 6925856"/>
              <a:gd name="connsiteX25-2355" fmla="*/ 7777211 w 9397013"/>
              <a:gd name="connsiteY25-2356" fmla="*/ 6916620 h 6925856"/>
              <a:gd name="connsiteX26-2357" fmla="*/ 7324729 w 9397013"/>
              <a:gd name="connsiteY26-2358" fmla="*/ 6916620 h 6925856"/>
              <a:gd name="connsiteX27-2359" fmla="*/ 4245793 w 9397013"/>
              <a:gd name="connsiteY27-2360" fmla="*/ 2869862 h 6925856"/>
              <a:gd name="connsiteX28-2361" fmla="*/ 4490696 w 9397013"/>
              <a:gd name="connsiteY28-2362" fmla="*/ 2549117 h 6925856"/>
              <a:gd name="connsiteX29-2363" fmla="*/ 7777211 w 9397013"/>
              <a:gd name="connsiteY29-2364" fmla="*/ 6916620 h 6925856"/>
              <a:gd name="connsiteX30-2365" fmla="*/ 8567691 w 9397013"/>
              <a:gd name="connsiteY30-2366" fmla="*/ 6916619 h 6925856"/>
              <a:gd name="connsiteX31-2367" fmla="*/ 8159389 w 9397013"/>
              <a:gd name="connsiteY31-2368" fmla="*/ 6925856 h 6925856"/>
              <a:gd name="connsiteX32-2369" fmla="*/ 4650570 w 9397013"/>
              <a:gd name="connsiteY32-2370" fmla="*/ 2339732 h 6925856"/>
              <a:gd name="connsiteX33-2371" fmla="*/ 4869244 w 9397013"/>
              <a:gd name="connsiteY33-2372" fmla="*/ 2053337 h 6925856"/>
              <a:gd name="connsiteX34-2373" fmla="*/ 8567691 w 9397013"/>
              <a:gd name="connsiteY34-2374" fmla="*/ 6916619 h 6925856"/>
              <a:gd name="connsiteX35-2375" fmla="*/ 9397013 w 9397013"/>
              <a:gd name="connsiteY35-2376" fmla="*/ 6925855 h 6925856"/>
              <a:gd name="connsiteX36-2377" fmla="*/ 8921338 w 9397013"/>
              <a:gd name="connsiteY36-2378" fmla="*/ 6907383 h 6925856"/>
              <a:gd name="connsiteX37-2379" fmla="*/ 5045299 w 9397013"/>
              <a:gd name="connsiteY37-2380" fmla="*/ 1822761 h 6925856"/>
              <a:gd name="connsiteX38-2381" fmla="*/ 5273037 w 9397013"/>
              <a:gd name="connsiteY38-2382" fmla="*/ 1524494 h 6925856"/>
              <a:gd name="connsiteX39-2383" fmla="*/ 9397013 w 9397013"/>
              <a:gd name="connsiteY39-2384" fmla="*/ 6925855 h 6925856"/>
              <a:gd name="connsiteX0-2385" fmla="*/ 168369 w 9397013"/>
              <a:gd name="connsiteY0-2386" fmla="*/ 4571581 h 6925856"/>
              <a:gd name="connsiteX1-2387" fmla="*/ 0 w 9397013"/>
              <a:gd name="connsiteY1-2388" fmla="*/ 4200794 h 6925856"/>
              <a:gd name="connsiteX2-2389" fmla="*/ 3175788 w 9397013"/>
              <a:gd name="connsiteY2-2390" fmla="*/ 4084 h 6925856"/>
              <a:gd name="connsiteX3-2391" fmla="*/ 3628305 w 9397013"/>
              <a:gd name="connsiteY3-2392" fmla="*/ 0 h 6925856"/>
              <a:gd name="connsiteX4-2393" fmla="*/ 168369 w 9397013"/>
              <a:gd name="connsiteY4-2394" fmla="*/ 4571581 h 6925856"/>
              <a:gd name="connsiteX5-2395" fmla="*/ 1578111 w 9397013"/>
              <a:gd name="connsiteY5-2396" fmla="*/ 3835090 h 6925856"/>
              <a:gd name="connsiteX6-2397" fmla="*/ 1564463 w 9397013"/>
              <a:gd name="connsiteY6-2398" fmla="*/ 3206130 h 6925856"/>
              <a:gd name="connsiteX7-2399" fmla="*/ 3977147 w 9397013"/>
              <a:gd name="connsiteY7-2400" fmla="*/ 3723 h 6925856"/>
              <a:gd name="connsiteX8-2401" fmla="*/ 4465006 w 9397013"/>
              <a:gd name="connsiteY8-2402" fmla="*/ 840 h 6925856"/>
              <a:gd name="connsiteX9-2403" fmla="*/ 1578111 w 9397013"/>
              <a:gd name="connsiteY9-2404" fmla="*/ 3835090 h 6925856"/>
              <a:gd name="connsiteX10-2405" fmla="*/ 1573749 w 9397013"/>
              <a:gd name="connsiteY10-2406" fmla="*/ 4882781 h 6925856"/>
              <a:gd name="connsiteX11-2407" fmla="*/ 1550937 w 9397013"/>
              <a:gd name="connsiteY11-2408" fmla="*/ 4315002 h 6925856"/>
              <a:gd name="connsiteX12-2409" fmla="*/ 4805164 w 9397013"/>
              <a:gd name="connsiteY12-2410" fmla="*/ 4602 h 6925856"/>
              <a:gd name="connsiteX13-2411" fmla="*/ 5260238 w 9397013"/>
              <a:gd name="connsiteY13-2412" fmla="*/ 25779 h 6925856"/>
              <a:gd name="connsiteX14-2413" fmla="*/ 1573749 w 9397013"/>
              <a:gd name="connsiteY14-2414" fmla="*/ 4882781 h 6925856"/>
              <a:gd name="connsiteX15-2415" fmla="*/ 1580200 w 9397013"/>
              <a:gd name="connsiteY15-2416" fmla="*/ 5985735 h 6925856"/>
              <a:gd name="connsiteX16-2417" fmla="*/ 1566201 w 9397013"/>
              <a:gd name="connsiteY16-2418" fmla="*/ 5394811 h 6925856"/>
              <a:gd name="connsiteX17-2419" fmla="*/ 5641256 w 9397013"/>
              <a:gd name="connsiteY17-2420" fmla="*/ 4084 h 6925856"/>
              <a:gd name="connsiteX18-2421" fmla="*/ 6077099 w 9397013"/>
              <a:gd name="connsiteY18-2422" fmla="*/ 17286 h 6925856"/>
              <a:gd name="connsiteX19-2423" fmla="*/ 1580200 w 9397013"/>
              <a:gd name="connsiteY19-2424" fmla="*/ 5985735 h 6925856"/>
              <a:gd name="connsiteX20-2425" fmla="*/ 6958778 w 9397013"/>
              <a:gd name="connsiteY20-2426" fmla="*/ 6916619 h 6925856"/>
              <a:gd name="connsiteX21-2427" fmla="*/ 6560038 w 9397013"/>
              <a:gd name="connsiteY21-2428" fmla="*/ 6925855 h 6925856"/>
              <a:gd name="connsiteX22-2429" fmla="*/ 3849932 w 9397013"/>
              <a:gd name="connsiteY22-2430" fmla="*/ 3388318 h 6925856"/>
              <a:gd name="connsiteX23-2431" fmla="*/ 4086202 w 9397013"/>
              <a:gd name="connsiteY23-2432" fmla="*/ 3078877 h 6925856"/>
              <a:gd name="connsiteX24-2433" fmla="*/ 6958778 w 9397013"/>
              <a:gd name="connsiteY24-2434" fmla="*/ 6916619 h 6925856"/>
              <a:gd name="connsiteX25-2435" fmla="*/ 7777211 w 9397013"/>
              <a:gd name="connsiteY25-2436" fmla="*/ 6916620 h 6925856"/>
              <a:gd name="connsiteX26-2437" fmla="*/ 7324729 w 9397013"/>
              <a:gd name="connsiteY26-2438" fmla="*/ 6916620 h 6925856"/>
              <a:gd name="connsiteX27-2439" fmla="*/ 4245793 w 9397013"/>
              <a:gd name="connsiteY27-2440" fmla="*/ 2869862 h 6925856"/>
              <a:gd name="connsiteX28-2441" fmla="*/ 4490696 w 9397013"/>
              <a:gd name="connsiteY28-2442" fmla="*/ 2549117 h 6925856"/>
              <a:gd name="connsiteX29-2443" fmla="*/ 7777211 w 9397013"/>
              <a:gd name="connsiteY29-2444" fmla="*/ 6916620 h 6925856"/>
              <a:gd name="connsiteX30-2445" fmla="*/ 8567691 w 9397013"/>
              <a:gd name="connsiteY30-2446" fmla="*/ 6916619 h 6925856"/>
              <a:gd name="connsiteX31-2447" fmla="*/ 8159389 w 9397013"/>
              <a:gd name="connsiteY31-2448" fmla="*/ 6925856 h 6925856"/>
              <a:gd name="connsiteX32-2449" fmla="*/ 4650570 w 9397013"/>
              <a:gd name="connsiteY32-2450" fmla="*/ 2339732 h 6925856"/>
              <a:gd name="connsiteX33-2451" fmla="*/ 4869244 w 9397013"/>
              <a:gd name="connsiteY33-2452" fmla="*/ 2053337 h 6925856"/>
              <a:gd name="connsiteX34-2453" fmla="*/ 8567691 w 9397013"/>
              <a:gd name="connsiteY34-2454" fmla="*/ 6916619 h 6925856"/>
              <a:gd name="connsiteX35-2455" fmla="*/ 9397013 w 9397013"/>
              <a:gd name="connsiteY35-2456" fmla="*/ 6925855 h 6925856"/>
              <a:gd name="connsiteX36-2457" fmla="*/ 8921338 w 9397013"/>
              <a:gd name="connsiteY36-2458" fmla="*/ 6907383 h 6925856"/>
              <a:gd name="connsiteX37-2459" fmla="*/ 5045299 w 9397013"/>
              <a:gd name="connsiteY37-2460" fmla="*/ 1822761 h 6925856"/>
              <a:gd name="connsiteX38-2461" fmla="*/ 5273037 w 9397013"/>
              <a:gd name="connsiteY38-2462" fmla="*/ 1524494 h 6925856"/>
              <a:gd name="connsiteX39-2463" fmla="*/ 9397013 w 9397013"/>
              <a:gd name="connsiteY39-2464" fmla="*/ 6925855 h 6925856"/>
              <a:gd name="connsiteX0-2465" fmla="*/ 1572296 w 9397013"/>
              <a:gd name="connsiteY0-2466" fmla="*/ 2715072 h 6925856"/>
              <a:gd name="connsiteX1-2467" fmla="*/ 0 w 9397013"/>
              <a:gd name="connsiteY1-2468" fmla="*/ 4200794 h 6925856"/>
              <a:gd name="connsiteX2-2469" fmla="*/ 3175788 w 9397013"/>
              <a:gd name="connsiteY2-2470" fmla="*/ 4084 h 6925856"/>
              <a:gd name="connsiteX3-2471" fmla="*/ 3628305 w 9397013"/>
              <a:gd name="connsiteY3-2472" fmla="*/ 0 h 6925856"/>
              <a:gd name="connsiteX4-2473" fmla="*/ 1572296 w 9397013"/>
              <a:gd name="connsiteY4-2474" fmla="*/ 2715072 h 6925856"/>
              <a:gd name="connsiteX5-2475" fmla="*/ 1578111 w 9397013"/>
              <a:gd name="connsiteY5-2476" fmla="*/ 3835090 h 6925856"/>
              <a:gd name="connsiteX6-2477" fmla="*/ 1564463 w 9397013"/>
              <a:gd name="connsiteY6-2478" fmla="*/ 3206130 h 6925856"/>
              <a:gd name="connsiteX7-2479" fmla="*/ 3977147 w 9397013"/>
              <a:gd name="connsiteY7-2480" fmla="*/ 3723 h 6925856"/>
              <a:gd name="connsiteX8-2481" fmla="*/ 4465006 w 9397013"/>
              <a:gd name="connsiteY8-2482" fmla="*/ 840 h 6925856"/>
              <a:gd name="connsiteX9-2483" fmla="*/ 1578111 w 9397013"/>
              <a:gd name="connsiteY9-2484" fmla="*/ 3835090 h 6925856"/>
              <a:gd name="connsiteX10-2485" fmla="*/ 1573749 w 9397013"/>
              <a:gd name="connsiteY10-2486" fmla="*/ 4882781 h 6925856"/>
              <a:gd name="connsiteX11-2487" fmla="*/ 1550937 w 9397013"/>
              <a:gd name="connsiteY11-2488" fmla="*/ 4315002 h 6925856"/>
              <a:gd name="connsiteX12-2489" fmla="*/ 4805164 w 9397013"/>
              <a:gd name="connsiteY12-2490" fmla="*/ 4602 h 6925856"/>
              <a:gd name="connsiteX13-2491" fmla="*/ 5260238 w 9397013"/>
              <a:gd name="connsiteY13-2492" fmla="*/ 25779 h 6925856"/>
              <a:gd name="connsiteX14-2493" fmla="*/ 1573749 w 9397013"/>
              <a:gd name="connsiteY14-2494" fmla="*/ 4882781 h 6925856"/>
              <a:gd name="connsiteX15-2495" fmla="*/ 1580200 w 9397013"/>
              <a:gd name="connsiteY15-2496" fmla="*/ 5985735 h 6925856"/>
              <a:gd name="connsiteX16-2497" fmla="*/ 1566201 w 9397013"/>
              <a:gd name="connsiteY16-2498" fmla="*/ 5394811 h 6925856"/>
              <a:gd name="connsiteX17-2499" fmla="*/ 5641256 w 9397013"/>
              <a:gd name="connsiteY17-2500" fmla="*/ 4084 h 6925856"/>
              <a:gd name="connsiteX18-2501" fmla="*/ 6077099 w 9397013"/>
              <a:gd name="connsiteY18-2502" fmla="*/ 17286 h 6925856"/>
              <a:gd name="connsiteX19-2503" fmla="*/ 1580200 w 9397013"/>
              <a:gd name="connsiteY19-2504" fmla="*/ 5985735 h 6925856"/>
              <a:gd name="connsiteX20-2505" fmla="*/ 6958778 w 9397013"/>
              <a:gd name="connsiteY20-2506" fmla="*/ 6916619 h 6925856"/>
              <a:gd name="connsiteX21-2507" fmla="*/ 6560038 w 9397013"/>
              <a:gd name="connsiteY21-2508" fmla="*/ 6925855 h 6925856"/>
              <a:gd name="connsiteX22-2509" fmla="*/ 3849932 w 9397013"/>
              <a:gd name="connsiteY22-2510" fmla="*/ 3388318 h 6925856"/>
              <a:gd name="connsiteX23-2511" fmla="*/ 4086202 w 9397013"/>
              <a:gd name="connsiteY23-2512" fmla="*/ 3078877 h 6925856"/>
              <a:gd name="connsiteX24-2513" fmla="*/ 6958778 w 9397013"/>
              <a:gd name="connsiteY24-2514" fmla="*/ 6916619 h 6925856"/>
              <a:gd name="connsiteX25-2515" fmla="*/ 7777211 w 9397013"/>
              <a:gd name="connsiteY25-2516" fmla="*/ 6916620 h 6925856"/>
              <a:gd name="connsiteX26-2517" fmla="*/ 7324729 w 9397013"/>
              <a:gd name="connsiteY26-2518" fmla="*/ 6916620 h 6925856"/>
              <a:gd name="connsiteX27-2519" fmla="*/ 4245793 w 9397013"/>
              <a:gd name="connsiteY27-2520" fmla="*/ 2869862 h 6925856"/>
              <a:gd name="connsiteX28-2521" fmla="*/ 4490696 w 9397013"/>
              <a:gd name="connsiteY28-2522" fmla="*/ 2549117 h 6925856"/>
              <a:gd name="connsiteX29-2523" fmla="*/ 7777211 w 9397013"/>
              <a:gd name="connsiteY29-2524" fmla="*/ 6916620 h 6925856"/>
              <a:gd name="connsiteX30-2525" fmla="*/ 8567691 w 9397013"/>
              <a:gd name="connsiteY30-2526" fmla="*/ 6916619 h 6925856"/>
              <a:gd name="connsiteX31-2527" fmla="*/ 8159389 w 9397013"/>
              <a:gd name="connsiteY31-2528" fmla="*/ 6925856 h 6925856"/>
              <a:gd name="connsiteX32-2529" fmla="*/ 4650570 w 9397013"/>
              <a:gd name="connsiteY32-2530" fmla="*/ 2339732 h 6925856"/>
              <a:gd name="connsiteX33-2531" fmla="*/ 4869244 w 9397013"/>
              <a:gd name="connsiteY33-2532" fmla="*/ 2053337 h 6925856"/>
              <a:gd name="connsiteX34-2533" fmla="*/ 8567691 w 9397013"/>
              <a:gd name="connsiteY34-2534" fmla="*/ 6916619 h 6925856"/>
              <a:gd name="connsiteX35-2535" fmla="*/ 9397013 w 9397013"/>
              <a:gd name="connsiteY35-2536" fmla="*/ 6925855 h 6925856"/>
              <a:gd name="connsiteX36-2537" fmla="*/ 8921338 w 9397013"/>
              <a:gd name="connsiteY36-2538" fmla="*/ 6907383 h 6925856"/>
              <a:gd name="connsiteX37-2539" fmla="*/ 5045299 w 9397013"/>
              <a:gd name="connsiteY37-2540" fmla="*/ 1822761 h 6925856"/>
              <a:gd name="connsiteX38-2541" fmla="*/ 5273037 w 9397013"/>
              <a:gd name="connsiteY38-2542" fmla="*/ 1524494 h 6925856"/>
              <a:gd name="connsiteX39-2543" fmla="*/ 9397013 w 9397013"/>
              <a:gd name="connsiteY39-2544" fmla="*/ 6925855 h 6925856"/>
              <a:gd name="connsiteX0-2545" fmla="*/ 21359 w 7846076"/>
              <a:gd name="connsiteY0-2546" fmla="*/ 2715072 h 6925856"/>
              <a:gd name="connsiteX1-2547" fmla="*/ 28481 w 7846076"/>
              <a:gd name="connsiteY1-2548" fmla="*/ 2104139 h 6925856"/>
              <a:gd name="connsiteX2-2549" fmla="*/ 1624851 w 7846076"/>
              <a:gd name="connsiteY2-2550" fmla="*/ 4084 h 6925856"/>
              <a:gd name="connsiteX3-2551" fmla="*/ 2077368 w 7846076"/>
              <a:gd name="connsiteY3-2552" fmla="*/ 0 h 6925856"/>
              <a:gd name="connsiteX4-2553" fmla="*/ 21359 w 7846076"/>
              <a:gd name="connsiteY4-2554" fmla="*/ 2715072 h 6925856"/>
              <a:gd name="connsiteX5-2555" fmla="*/ 27174 w 7846076"/>
              <a:gd name="connsiteY5-2556" fmla="*/ 3835090 h 6925856"/>
              <a:gd name="connsiteX6-2557" fmla="*/ 13526 w 7846076"/>
              <a:gd name="connsiteY6-2558" fmla="*/ 3206130 h 6925856"/>
              <a:gd name="connsiteX7-2559" fmla="*/ 2426210 w 7846076"/>
              <a:gd name="connsiteY7-2560" fmla="*/ 3723 h 6925856"/>
              <a:gd name="connsiteX8-2561" fmla="*/ 2914069 w 7846076"/>
              <a:gd name="connsiteY8-2562" fmla="*/ 840 h 6925856"/>
              <a:gd name="connsiteX9-2563" fmla="*/ 27174 w 7846076"/>
              <a:gd name="connsiteY9-2564" fmla="*/ 3835090 h 6925856"/>
              <a:gd name="connsiteX10-2565" fmla="*/ 22812 w 7846076"/>
              <a:gd name="connsiteY10-2566" fmla="*/ 4882781 h 6925856"/>
              <a:gd name="connsiteX11-2567" fmla="*/ 0 w 7846076"/>
              <a:gd name="connsiteY11-2568" fmla="*/ 4315002 h 6925856"/>
              <a:gd name="connsiteX12-2569" fmla="*/ 3254227 w 7846076"/>
              <a:gd name="connsiteY12-2570" fmla="*/ 4602 h 6925856"/>
              <a:gd name="connsiteX13-2571" fmla="*/ 3709301 w 7846076"/>
              <a:gd name="connsiteY13-2572" fmla="*/ 25779 h 6925856"/>
              <a:gd name="connsiteX14-2573" fmla="*/ 22812 w 7846076"/>
              <a:gd name="connsiteY14-2574" fmla="*/ 4882781 h 6925856"/>
              <a:gd name="connsiteX15-2575" fmla="*/ 29263 w 7846076"/>
              <a:gd name="connsiteY15-2576" fmla="*/ 5985735 h 6925856"/>
              <a:gd name="connsiteX16-2577" fmla="*/ 15264 w 7846076"/>
              <a:gd name="connsiteY16-2578" fmla="*/ 5394811 h 6925856"/>
              <a:gd name="connsiteX17-2579" fmla="*/ 4090319 w 7846076"/>
              <a:gd name="connsiteY17-2580" fmla="*/ 4084 h 6925856"/>
              <a:gd name="connsiteX18-2581" fmla="*/ 4526162 w 7846076"/>
              <a:gd name="connsiteY18-2582" fmla="*/ 17286 h 6925856"/>
              <a:gd name="connsiteX19-2583" fmla="*/ 29263 w 7846076"/>
              <a:gd name="connsiteY19-2584" fmla="*/ 5985735 h 6925856"/>
              <a:gd name="connsiteX20-2585" fmla="*/ 5407841 w 7846076"/>
              <a:gd name="connsiteY20-2586" fmla="*/ 6916619 h 6925856"/>
              <a:gd name="connsiteX21-2587" fmla="*/ 5009101 w 7846076"/>
              <a:gd name="connsiteY21-2588" fmla="*/ 6925855 h 6925856"/>
              <a:gd name="connsiteX22-2589" fmla="*/ 2298995 w 7846076"/>
              <a:gd name="connsiteY22-2590" fmla="*/ 3388318 h 6925856"/>
              <a:gd name="connsiteX23-2591" fmla="*/ 2535265 w 7846076"/>
              <a:gd name="connsiteY23-2592" fmla="*/ 3078877 h 6925856"/>
              <a:gd name="connsiteX24-2593" fmla="*/ 5407841 w 7846076"/>
              <a:gd name="connsiteY24-2594" fmla="*/ 6916619 h 6925856"/>
              <a:gd name="connsiteX25-2595" fmla="*/ 6226274 w 7846076"/>
              <a:gd name="connsiteY25-2596" fmla="*/ 6916620 h 6925856"/>
              <a:gd name="connsiteX26-2597" fmla="*/ 5773792 w 7846076"/>
              <a:gd name="connsiteY26-2598" fmla="*/ 6916620 h 6925856"/>
              <a:gd name="connsiteX27-2599" fmla="*/ 2694856 w 7846076"/>
              <a:gd name="connsiteY27-2600" fmla="*/ 2869862 h 6925856"/>
              <a:gd name="connsiteX28-2601" fmla="*/ 2939759 w 7846076"/>
              <a:gd name="connsiteY28-2602" fmla="*/ 2549117 h 6925856"/>
              <a:gd name="connsiteX29-2603" fmla="*/ 6226274 w 7846076"/>
              <a:gd name="connsiteY29-2604" fmla="*/ 6916620 h 6925856"/>
              <a:gd name="connsiteX30-2605" fmla="*/ 7016754 w 7846076"/>
              <a:gd name="connsiteY30-2606" fmla="*/ 6916619 h 6925856"/>
              <a:gd name="connsiteX31-2607" fmla="*/ 6608452 w 7846076"/>
              <a:gd name="connsiteY31-2608" fmla="*/ 6925856 h 6925856"/>
              <a:gd name="connsiteX32-2609" fmla="*/ 3099633 w 7846076"/>
              <a:gd name="connsiteY32-2610" fmla="*/ 2339732 h 6925856"/>
              <a:gd name="connsiteX33-2611" fmla="*/ 3318307 w 7846076"/>
              <a:gd name="connsiteY33-2612" fmla="*/ 2053337 h 6925856"/>
              <a:gd name="connsiteX34-2613" fmla="*/ 7016754 w 7846076"/>
              <a:gd name="connsiteY34-2614" fmla="*/ 6916619 h 6925856"/>
              <a:gd name="connsiteX35-2615" fmla="*/ 7846076 w 7846076"/>
              <a:gd name="connsiteY35-2616" fmla="*/ 6925855 h 6925856"/>
              <a:gd name="connsiteX36-2617" fmla="*/ 7370401 w 7846076"/>
              <a:gd name="connsiteY36-2618" fmla="*/ 6907383 h 6925856"/>
              <a:gd name="connsiteX37-2619" fmla="*/ 3494362 w 7846076"/>
              <a:gd name="connsiteY37-2620" fmla="*/ 1822761 h 6925856"/>
              <a:gd name="connsiteX38-2621" fmla="*/ 3722100 w 7846076"/>
              <a:gd name="connsiteY38-2622" fmla="*/ 1524494 h 6925856"/>
              <a:gd name="connsiteX39-2623" fmla="*/ 7846076 w 7846076"/>
              <a:gd name="connsiteY39-2624" fmla="*/ 6925855 h 692585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129" y="connsiteY32-130"/>
              </a:cxn>
              <a:cxn ang="0">
                <a:pos x="connsiteX33-131" y="connsiteY33-132"/>
              </a:cxn>
              <a:cxn ang="0">
                <a:pos x="connsiteX34-133" y="connsiteY34-134"/>
              </a:cxn>
              <a:cxn ang="0">
                <a:pos x="connsiteX35-135" y="connsiteY35-136"/>
              </a:cxn>
              <a:cxn ang="0">
                <a:pos x="connsiteX36-137" y="connsiteY36-138"/>
              </a:cxn>
              <a:cxn ang="0">
                <a:pos x="connsiteX37-139" y="connsiteY37-140"/>
              </a:cxn>
              <a:cxn ang="0">
                <a:pos x="connsiteX38-141" y="connsiteY38-142"/>
              </a:cxn>
              <a:cxn ang="0">
                <a:pos x="connsiteX39-143" y="connsiteY39-144"/>
              </a:cxn>
            </a:cxnLst>
            <a:rect l="l" t="t" r="r" b="b"/>
            <a:pathLst>
              <a:path w="7846076" h="6925856">
                <a:moveTo>
                  <a:pt x="21359" y="2715072"/>
                </a:moveTo>
                <a:lnTo>
                  <a:pt x="28481" y="2104139"/>
                </a:lnTo>
                <a:lnTo>
                  <a:pt x="1624851" y="4084"/>
                </a:lnTo>
                <a:lnTo>
                  <a:pt x="2077368" y="0"/>
                </a:lnTo>
                <a:lnTo>
                  <a:pt x="21359" y="2715072"/>
                </a:lnTo>
                <a:close/>
                <a:moveTo>
                  <a:pt x="27174" y="3835090"/>
                </a:moveTo>
                <a:lnTo>
                  <a:pt x="13526" y="3206130"/>
                </a:lnTo>
                <a:lnTo>
                  <a:pt x="2426210" y="3723"/>
                </a:lnTo>
                <a:lnTo>
                  <a:pt x="2914069" y="840"/>
                </a:lnTo>
                <a:lnTo>
                  <a:pt x="27174" y="3835090"/>
                </a:lnTo>
                <a:close/>
                <a:moveTo>
                  <a:pt x="22812" y="4882781"/>
                </a:moveTo>
                <a:lnTo>
                  <a:pt x="0" y="4315002"/>
                </a:lnTo>
                <a:lnTo>
                  <a:pt x="3254227" y="4602"/>
                </a:lnTo>
                <a:lnTo>
                  <a:pt x="3709301" y="25779"/>
                </a:lnTo>
                <a:lnTo>
                  <a:pt x="22812" y="4882781"/>
                </a:lnTo>
                <a:close/>
                <a:moveTo>
                  <a:pt x="29263" y="5985735"/>
                </a:moveTo>
                <a:lnTo>
                  <a:pt x="15264" y="5394811"/>
                </a:lnTo>
                <a:lnTo>
                  <a:pt x="4090319" y="4084"/>
                </a:lnTo>
                <a:lnTo>
                  <a:pt x="4526162" y="17286"/>
                </a:lnTo>
                <a:lnTo>
                  <a:pt x="29263" y="5985735"/>
                </a:lnTo>
                <a:close/>
                <a:moveTo>
                  <a:pt x="5407841" y="6916619"/>
                </a:moveTo>
                <a:lnTo>
                  <a:pt x="5009101" y="6925855"/>
                </a:lnTo>
                <a:lnTo>
                  <a:pt x="2298995" y="3388318"/>
                </a:lnTo>
                <a:lnTo>
                  <a:pt x="2535265" y="3078877"/>
                </a:lnTo>
                <a:lnTo>
                  <a:pt x="5407841" y="6916619"/>
                </a:lnTo>
                <a:close/>
                <a:moveTo>
                  <a:pt x="6226274" y="6916620"/>
                </a:moveTo>
                <a:lnTo>
                  <a:pt x="5773792" y="6916620"/>
                </a:lnTo>
                <a:lnTo>
                  <a:pt x="2694856" y="2869862"/>
                </a:lnTo>
                <a:lnTo>
                  <a:pt x="2939759" y="2549117"/>
                </a:lnTo>
                <a:lnTo>
                  <a:pt x="6226274" y="6916620"/>
                </a:lnTo>
                <a:close/>
                <a:moveTo>
                  <a:pt x="7016754" y="6916619"/>
                </a:moveTo>
                <a:lnTo>
                  <a:pt x="6608452" y="6925856"/>
                </a:lnTo>
                <a:lnTo>
                  <a:pt x="3099633" y="2339732"/>
                </a:lnTo>
                <a:lnTo>
                  <a:pt x="3318307" y="2053337"/>
                </a:lnTo>
                <a:lnTo>
                  <a:pt x="7016754" y="6916619"/>
                </a:lnTo>
                <a:close/>
                <a:moveTo>
                  <a:pt x="7846076" y="6925855"/>
                </a:moveTo>
                <a:lnTo>
                  <a:pt x="7370401" y="6907383"/>
                </a:lnTo>
                <a:lnTo>
                  <a:pt x="3494362" y="1822761"/>
                </a:lnTo>
                <a:lnTo>
                  <a:pt x="3722100" y="1524494"/>
                </a:lnTo>
                <a:lnTo>
                  <a:pt x="7846076" y="6925855"/>
                </a:lnTo>
                <a:close/>
              </a:path>
            </a:pathLst>
          </a:custGeom>
          <a:solidFill>
            <a:schemeClr val="bg1">
              <a:lumMod val="9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5" name="文本框 4"/>
          <p:cNvSpPr txBox="1"/>
          <p:nvPr/>
        </p:nvSpPr>
        <p:spPr>
          <a:xfrm>
            <a:off x="641380" y="1304455"/>
            <a:ext cx="10243956" cy="3904402"/>
          </a:xfrm>
          <a:prstGeom prst="rect">
            <a:avLst/>
          </a:prstGeom>
          <a:noFill/>
        </p:spPr>
        <p:txBody>
          <a:bodyPr wrap="square" rtlCol="0">
            <a:spAutoFit/>
          </a:bodyPr>
          <a:lstStyle/>
          <a:p>
            <a:pPr>
              <a:lnSpc>
                <a:spcPct val="150000"/>
              </a:lnSpc>
            </a:pPr>
            <a:r>
              <a:rPr lang="zh-CN" altLang="en-US" dirty="0"/>
              <a:t>数据集：</a:t>
            </a:r>
            <a:endParaRPr lang="en-US" altLang="zh-CN" dirty="0"/>
          </a:p>
          <a:p>
            <a:pPr marL="285750" indent="-285750">
              <a:lnSpc>
                <a:spcPct val="150000"/>
              </a:lnSpc>
              <a:buFont typeface="Arial" panose="020B0604020202020204" pitchFamily="34" charset="0"/>
              <a:buChar char="•"/>
            </a:pPr>
            <a:r>
              <a:rPr lang="en-US" altLang="zh-CN" dirty="0"/>
              <a:t>PubMed Baseline 2020</a:t>
            </a:r>
            <a:r>
              <a:rPr lang="zh-CN" altLang="en-US" dirty="0"/>
              <a:t>版本，包含截至</a:t>
            </a:r>
            <a:r>
              <a:rPr lang="en-US" altLang="zh-CN" dirty="0"/>
              <a:t>2019</a:t>
            </a:r>
            <a:r>
              <a:rPr lang="zh-CN" altLang="en-US" dirty="0"/>
              <a:t>年的</a:t>
            </a:r>
            <a:r>
              <a:rPr lang="en-US" altLang="zh-CN" dirty="0"/>
              <a:t>3042</a:t>
            </a:r>
            <a:r>
              <a:rPr lang="zh-CN" altLang="en-US" dirty="0"/>
              <a:t>万篇生物医学和生命科学领域的论文，其中</a:t>
            </a:r>
            <a:r>
              <a:rPr lang="en-US" altLang="zh-CN" dirty="0"/>
              <a:t>616</a:t>
            </a:r>
            <a:r>
              <a:rPr lang="zh-CN" altLang="en-US" dirty="0"/>
              <a:t>万篇论文具有完整的投录时间字段</a:t>
            </a:r>
            <a:endParaRPr lang="en-US" altLang="zh-CN" dirty="0"/>
          </a:p>
          <a:p>
            <a:pPr marL="285750" indent="-285750">
              <a:lnSpc>
                <a:spcPct val="150000"/>
              </a:lnSpc>
              <a:buFont typeface="Arial" panose="020B0604020202020204" pitchFamily="34" charset="0"/>
              <a:buChar char="•"/>
            </a:pPr>
            <a:r>
              <a:rPr lang="zh-CN" altLang="en-US" dirty="0"/>
              <a:t>保留其中</a:t>
            </a:r>
            <a:r>
              <a:rPr lang="en-US" altLang="zh-CN" dirty="0"/>
              <a:t>432</a:t>
            </a:r>
            <a:r>
              <a:rPr lang="zh-CN" altLang="en-US" dirty="0"/>
              <a:t>万篇期刊论文作为原创性科学成果的代表</a:t>
            </a:r>
            <a:endParaRPr lang="en-US" altLang="zh-CN" dirty="0"/>
          </a:p>
          <a:p>
            <a:pPr marL="285750" indent="-285750">
              <a:lnSpc>
                <a:spcPct val="150000"/>
              </a:lnSpc>
              <a:buFont typeface="Arial" panose="020B0604020202020204" pitchFamily="34" charset="0"/>
              <a:buChar char="•"/>
            </a:pPr>
            <a:r>
              <a:rPr lang="zh-CN" altLang="en-US" dirty="0"/>
              <a:t>限定论文发表年份为</a:t>
            </a:r>
            <a:r>
              <a:rPr lang="en-US" altLang="zh-CN" dirty="0"/>
              <a:t>2000-2014</a:t>
            </a:r>
            <a:r>
              <a:rPr lang="zh-CN" altLang="en-US" dirty="0"/>
              <a:t>年，以留出</a:t>
            </a:r>
            <a:r>
              <a:rPr lang="en-US" altLang="zh-CN" dirty="0"/>
              <a:t>5</a:t>
            </a:r>
            <a:r>
              <a:rPr lang="zh-CN" altLang="en-US" dirty="0"/>
              <a:t>年引文积累窗口</a:t>
            </a:r>
            <a:endParaRPr lang="en-US" altLang="zh-CN" dirty="0"/>
          </a:p>
          <a:p>
            <a:pPr marL="285750" indent="-285750">
              <a:lnSpc>
                <a:spcPct val="150000"/>
              </a:lnSpc>
              <a:buFont typeface="Arial" panose="020B0604020202020204" pitchFamily="34" charset="0"/>
              <a:buChar char="•"/>
            </a:pPr>
            <a:r>
              <a:rPr lang="zh-CN" altLang="en-US" dirty="0"/>
              <a:t>去除投录时间小于</a:t>
            </a:r>
            <a:r>
              <a:rPr lang="en-US" altLang="zh-CN" dirty="0"/>
              <a:t>5%</a:t>
            </a:r>
            <a:r>
              <a:rPr lang="zh-CN" altLang="en-US" dirty="0"/>
              <a:t>分位数（</a:t>
            </a:r>
            <a:r>
              <a:rPr lang="en-US" altLang="zh-CN" dirty="0"/>
              <a:t>25</a:t>
            </a:r>
            <a:r>
              <a:rPr lang="zh-CN" altLang="en-US" dirty="0"/>
              <a:t>天）和大于</a:t>
            </a:r>
            <a:r>
              <a:rPr lang="en-US" altLang="zh-CN" dirty="0"/>
              <a:t>95%</a:t>
            </a:r>
            <a:r>
              <a:rPr lang="zh-CN" altLang="en-US" dirty="0"/>
              <a:t>分位数（</a:t>
            </a:r>
            <a:r>
              <a:rPr lang="en-US" altLang="zh-CN" dirty="0"/>
              <a:t>291</a:t>
            </a:r>
            <a:r>
              <a:rPr lang="zh-CN" altLang="en-US" dirty="0"/>
              <a:t>天）的论文，以排除异常值</a:t>
            </a:r>
            <a:endParaRPr lang="en-US" altLang="zh-CN" dirty="0"/>
          </a:p>
          <a:p>
            <a:pPr marL="285750" indent="-285750">
              <a:lnSpc>
                <a:spcPct val="150000"/>
              </a:lnSpc>
              <a:buFont typeface="Arial" panose="020B0604020202020204" pitchFamily="34" charset="0"/>
              <a:buChar char="•"/>
            </a:pPr>
            <a:r>
              <a:rPr lang="zh-CN" altLang="en-US" dirty="0"/>
              <a:t>去除参考文献或施引文献少于</a:t>
            </a:r>
            <a:r>
              <a:rPr lang="en-US" altLang="zh-CN" dirty="0"/>
              <a:t>10</a:t>
            </a:r>
            <a:r>
              <a:rPr lang="zh-CN" altLang="en-US" dirty="0"/>
              <a:t>篇的论文，以提高创新性指标计算的稳定性（见后文）</a:t>
            </a:r>
            <a:endParaRPr lang="en-US" altLang="zh-CN" dirty="0"/>
          </a:p>
          <a:p>
            <a:pPr marL="285750" indent="-285750">
              <a:lnSpc>
                <a:spcPct val="150000"/>
              </a:lnSpc>
              <a:buFont typeface="Arial" panose="020B0604020202020204" pitchFamily="34" charset="0"/>
              <a:buChar char="•"/>
            </a:pPr>
            <a:endParaRPr lang="en-US" altLang="zh-CN" dirty="0"/>
          </a:p>
          <a:p>
            <a:pPr marL="285750" indent="-285750">
              <a:lnSpc>
                <a:spcPct val="150000"/>
              </a:lnSpc>
              <a:buFont typeface="Arial" panose="020B0604020202020204" pitchFamily="34" charset="0"/>
              <a:buChar char="•"/>
            </a:pPr>
            <a:r>
              <a:rPr lang="zh-CN" altLang="en-US" dirty="0"/>
              <a:t>最后，共</a:t>
            </a:r>
            <a:r>
              <a:rPr lang="en-US" altLang="zh-CN" sz="2400" b="1" dirty="0"/>
              <a:t>778,345</a:t>
            </a:r>
            <a:r>
              <a:rPr lang="zh-CN" altLang="en-US" sz="2400" b="1" dirty="0"/>
              <a:t>篇</a:t>
            </a:r>
            <a:r>
              <a:rPr lang="zh-CN" altLang="en-US" dirty="0"/>
              <a:t>符合条件的期刊论文纳入后续的计量分析，分布于</a:t>
            </a:r>
            <a:r>
              <a:rPr lang="en-US" altLang="zh-CN" dirty="0"/>
              <a:t>1159</a:t>
            </a:r>
            <a:r>
              <a:rPr lang="zh-CN" altLang="en-US" dirty="0"/>
              <a:t>本期刊</a:t>
            </a:r>
            <a:endParaRPr lang="en-US" altLang="zh-CN" dirty="0"/>
          </a:p>
        </p:txBody>
      </p:sp>
    </p:spTree>
    <p:custDataLst>
      <p:tags r:id="rId1"/>
    </p:custData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iṣlide"/>
        <p:cNvGrpSpPr/>
        <p:nvPr/>
      </p:nvGrpSpPr>
      <p:grpSpPr>
        <a:xfrm>
          <a:off x="0" y="0"/>
          <a:ext cx="0" cy="0"/>
          <a:chOff x="0" y="0"/>
          <a:chExt cx="0" cy="0"/>
        </a:xfrm>
      </p:grpSpPr>
      <p:sp>
        <p:nvSpPr>
          <p:cNvPr id="2" name="íšľîḓê"/>
          <p:cNvSpPr>
            <a:spLocks noGrp="1"/>
          </p:cNvSpPr>
          <p:nvPr>
            <p:ph type="title"/>
          </p:nvPr>
        </p:nvSpPr>
        <p:spPr/>
        <p:txBody>
          <a:bodyPr/>
          <a:lstStyle/>
          <a:p>
            <a:r>
              <a:rPr lang="en-US" altLang="zh-CN" dirty="0"/>
              <a:t>3. </a:t>
            </a:r>
            <a:r>
              <a:rPr lang="zh-CN" altLang="en-US" dirty="0"/>
              <a:t>研究方法</a:t>
            </a:r>
            <a:endParaRPr lang="zh-CN" altLang="en-US" dirty="0"/>
          </a:p>
        </p:txBody>
      </p:sp>
      <p:sp>
        <p:nvSpPr>
          <p:cNvPr id="4" name="ïṣḷide"/>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110" name="íṥļîďè"/>
          <p:cNvSpPr/>
          <p:nvPr/>
        </p:nvSpPr>
        <p:spPr>
          <a:xfrm rot="10800000">
            <a:off x="4396104" y="0"/>
            <a:ext cx="7846076" cy="6857999"/>
          </a:xfrm>
          <a:custGeom>
            <a:avLst/>
            <a:gdLst>
              <a:gd name="connsiteX0" fmla="*/ 168369 w 9517086"/>
              <a:gd name="connsiteY0" fmla="*/ 4779933 h 7291226"/>
              <a:gd name="connsiteX1" fmla="*/ 0 w 9517086"/>
              <a:gd name="connsiteY1" fmla="*/ 4409146 h 7291226"/>
              <a:gd name="connsiteX2" fmla="*/ 3332806 w 9517086"/>
              <a:gd name="connsiteY2" fmla="*/ 0 h 7291226"/>
              <a:gd name="connsiteX3" fmla="*/ 3794560 w 9517086"/>
              <a:gd name="connsiteY3" fmla="*/ 32861 h 7291226"/>
              <a:gd name="connsiteX4" fmla="*/ 488220 w 9517086"/>
              <a:gd name="connsiteY4" fmla="*/ 5484315 h 7291226"/>
              <a:gd name="connsiteX5" fmla="*/ 299082 w 9517086"/>
              <a:gd name="connsiteY5" fmla="*/ 5067791 h 7291226"/>
              <a:gd name="connsiteX6" fmla="*/ 4106456 w 9517086"/>
              <a:gd name="connsiteY6" fmla="*/ 55057 h 7291226"/>
              <a:gd name="connsiteX7" fmla="*/ 4585079 w 9517086"/>
              <a:gd name="connsiteY7" fmla="*/ 89119 h 7291226"/>
              <a:gd name="connsiteX8" fmla="*/ 779421 w 9517086"/>
              <a:gd name="connsiteY8" fmla="*/ 6125606 h 7291226"/>
              <a:gd name="connsiteX9" fmla="*/ 618065 w 9517086"/>
              <a:gd name="connsiteY9" fmla="*/ 5770263 h 7291226"/>
              <a:gd name="connsiteX10" fmla="*/ 4897528 w 9517086"/>
              <a:gd name="connsiteY10" fmla="*/ 111354 h 7291226"/>
              <a:gd name="connsiteX11" fmla="*/ 5324893 w 9517086"/>
              <a:gd name="connsiteY11" fmla="*/ 141768 h 7291226"/>
              <a:gd name="connsiteX12" fmla="*/ 1099910 w 9517086"/>
              <a:gd name="connsiteY12" fmla="*/ 6831395 h 7291226"/>
              <a:gd name="connsiteX13" fmla="*/ 919656 w 9517086"/>
              <a:gd name="connsiteY13" fmla="*/ 6434435 h 7291226"/>
              <a:gd name="connsiteX14" fmla="*/ 5668965 w 9517086"/>
              <a:gd name="connsiteY14" fmla="*/ 166254 h 7291226"/>
              <a:gd name="connsiteX15" fmla="*/ 6114044 w 9517086"/>
              <a:gd name="connsiteY15" fmla="*/ 197929 h 7291226"/>
              <a:gd name="connsiteX16" fmla="*/ 7106560 w 9517086"/>
              <a:gd name="connsiteY16" fmla="*/ 7291226 h 7291226"/>
              <a:gd name="connsiteX17" fmla="*/ 6670875 w 9517086"/>
              <a:gd name="connsiteY17" fmla="*/ 7291226 h 7291226"/>
              <a:gd name="connsiteX18" fmla="*/ 3849932 w 9517086"/>
              <a:gd name="connsiteY18" fmla="*/ 3596670 h 7291226"/>
              <a:gd name="connsiteX19" fmla="*/ 4086202 w 9517086"/>
              <a:gd name="connsiteY19" fmla="*/ 3287229 h 7291226"/>
              <a:gd name="connsiteX20" fmla="*/ 7934229 w 9517086"/>
              <a:gd name="connsiteY20" fmla="*/ 7291226 h 7291226"/>
              <a:gd name="connsiteX21" fmla="*/ 7444802 w 9517086"/>
              <a:gd name="connsiteY21" fmla="*/ 7291226 h 7291226"/>
              <a:gd name="connsiteX22" fmla="*/ 4245793 w 9517086"/>
              <a:gd name="connsiteY22" fmla="*/ 3078214 h 7291226"/>
              <a:gd name="connsiteX23" fmla="*/ 4490696 w 9517086"/>
              <a:gd name="connsiteY23" fmla="*/ 2757469 h 7291226"/>
              <a:gd name="connsiteX24" fmla="*/ 8687764 w 9517086"/>
              <a:gd name="connsiteY24" fmla="*/ 7291226 h 7291226"/>
              <a:gd name="connsiteX25" fmla="*/ 8270226 w 9517086"/>
              <a:gd name="connsiteY25" fmla="*/ 7291226 h 7291226"/>
              <a:gd name="connsiteX26" fmla="*/ 4650570 w 9517086"/>
              <a:gd name="connsiteY26" fmla="*/ 2548084 h 7291226"/>
              <a:gd name="connsiteX27" fmla="*/ 4869244 w 9517086"/>
              <a:gd name="connsiteY27" fmla="*/ 2261689 h 7291226"/>
              <a:gd name="connsiteX28" fmla="*/ 9517086 w 9517086"/>
              <a:gd name="connsiteY28" fmla="*/ 7291226 h 7291226"/>
              <a:gd name="connsiteX29" fmla="*/ 9050647 w 9517086"/>
              <a:gd name="connsiteY29" fmla="*/ 7291226 h 7291226"/>
              <a:gd name="connsiteX30" fmla="*/ 5045299 w 9517086"/>
              <a:gd name="connsiteY30" fmla="*/ 2031113 h 7291226"/>
              <a:gd name="connsiteX31" fmla="*/ 5273037 w 9517086"/>
              <a:gd name="connsiteY31" fmla="*/ 1732846 h 7291226"/>
              <a:gd name="connsiteX0-1" fmla="*/ 168369 w 9378540"/>
              <a:gd name="connsiteY0-2" fmla="*/ 4779933 h 7291226"/>
              <a:gd name="connsiteX1-3" fmla="*/ 0 w 9378540"/>
              <a:gd name="connsiteY1-4" fmla="*/ 4409146 h 7291226"/>
              <a:gd name="connsiteX2-5" fmla="*/ 3332806 w 9378540"/>
              <a:gd name="connsiteY2-6" fmla="*/ 0 h 7291226"/>
              <a:gd name="connsiteX3-7" fmla="*/ 3794560 w 9378540"/>
              <a:gd name="connsiteY3-8" fmla="*/ 32861 h 7291226"/>
              <a:gd name="connsiteX4-9" fmla="*/ 168369 w 9378540"/>
              <a:gd name="connsiteY4-10" fmla="*/ 4779933 h 7291226"/>
              <a:gd name="connsiteX5-11" fmla="*/ 488220 w 9378540"/>
              <a:gd name="connsiteY5-12" fmla="*/ 5484315 h 7291226"/>
              <a:gd name="connsiteX6-13" fmla="*/ 299082 w 9378540"/>
              <a:gd name="connsiteY6-14" fmla="*/ 5067791 h 7291226"/>
              <a:gd name="connsiteX7-15" fmla="*/ 4106456 w 9378540"/>
              <a:gd name="connsiteY7-16" fmla="*/ 55057 h 7291226"/>
              <a:gd name="connsiteX8-17" fmla="*/ 4585079 w 9378540"/>
              <a:gd name="connsiteY8-18" fmla="*/ 89119 h 7291226"/>
              <a:gd name="connsiteX9-19" fmla="*/ 488220 w 9378540"/>
              <a:gd name="connsiteY9-20" fmla="*/ 5484315 h 7291226"/>
              <a:gd name="connsiteX10-21" fmla="*/ 779421 w 9378540"/>
              <a:gd name="connsiteY10-22" fmla="*/ 6125606 h 7291226"/>
              <a:gd name="connsiteX11-23" fmla="*/ 618065 w 9378540"/>
              <a:gd name="connsiteY11-24" fmla="*/ 5770263 h 7291226"/>
              <a:gd name="connsiteX12-25" fmla="*/ 4897528 w 9378540"/>
              <a:gd name="connsiteY12-26" fmla="*/ 111354 h 7291226"/>
              <a:gd name="connsiteX13-27" fmla="*/ 5324893 w 9378540"/>
              <a:gd name="connsiteY13-28" fmla="*/ 141768 h 7291226"/>
              <a:gd name="connsiteX14-29" fmla="*/ 779421 w 9378540"/>
              <a:gd name="connsiteY14-30" fmla="*/ 6125606 h 7291226"/>
              <a:gd name="connsiteX15-31" fmla="*/ 1099910 w 9378540"/>
              <a:gd name="connsiteY15-32" fmla="*/ 6831395 h 7291226"/>
              <a:gd name="connsiteX16-33" fmla="*/ 919656 w 9378540"/>
              <a:gd name="connsiteY16-34" fmla="*/ 6434435 h 7291226"/>
              <a:gd name="connsiteX17-35" fmla="*/ 5668965 w 9378540"/>
              <a:gd name="connsiteY17-36" fmla="*/ 166254 h 7291226"/>
              <a:gd name="connsiteX18-37" fmla="*/ 6114044 w 9378540"/>
              <a:gd name="connsiteY18-38" fmla="*/ 197929 h 7291226"/>
              <a:gd name="connsiteX19-39" fmla="*/ 1099910 w 9378540"/>
              <a:gd name="connsiteY19-40" fmla="*/ 6831395 h 7291226"/>
              <a:gd name="connsiteX20-41" fmla="*/ 7106560 w 9378540"/>
              <a:gd name="connsiteY20-42" fmla="*/ 7291226 h 7291226"/>
              <a:gd name="connsiteX21-43" fmla="*/ 6670875 w 9378540"/>
              <a:gd name="connsiteY21-44" fmla="*/ 7291226 h 7291226"/>
              <a:gd name="connsiteX22-45" fmla="*/ 3849932 w 9378540"/>
              <a:gd name="connsiteY22-46" fmla="*/ 3596670 h 7291226"/>
              <a:gd name="connsiteX23-47" fmla="*/ 4086202 w 9378540"/>
              <a:gd name="connsiteY23-48" fmla="*/ 3287229 h 7291226"/>
              <a:gd name="connsiteX24-49" fmla="*/ 7106560 w 9378540"/>
              <a:gd name="connsiteY24-50" fmla="*/ 7291226 h 7291226"/>
              <a:gd name="connsiteX25-51" fmla="*/ 7934229 w 9378540"/>
              <a:gd name="connsiteY25-52" fmla="*/ 7291226 h 7291226"/>
              <a:gd name="connsiteX26-53" fmla="*/ 7444802 w 9378540"/>
              <a:gd name="connsiteY26-54" fmla="*/ 7291226 h 7291226"/>
              <a:gd name="connsiteX27-55" fmla="*/ 4245793 w 9378540"/>
              <a:gd name="connsiteY27-56" fmla="*/ 3078214 h 7291226"/>
              <a:gd name="connsiteX28-57" fmla="*/ 4490696 w 9378540"/>
              <a:gd name="connsiteY28-58" fmla="*/ 2757469 h 7291226"/>
              <a:gd name="connsiteX29-59" fmla="*/ 7934229 w 9378540"/>
              <a:gd name="connsiteY29-60" fmla="*/ 7291226 h 7291226"/>
              <a:gd name="connsiteX30-61" fmla="*/ 8687764 w 9378540"/>
              <a:gd name="connsiteY30-62" fmla="*/ 7291226 h 7291226"/>
              <a:gd name="connsiteX31-63" fmla="*/ 8270226 w 9378540"/>
              <a:gd name="connsiteY31-64" fmla="*/ 7291226 h 7291226"/>
              <a:gd name="connsiteX32" fmla="*/ 4650570 w 9378540"/>
              <a:gd name="connsiteY32" fmla="*/ 2548084 h 7291226"/>
              <a:gd name="connsiteX33" fmla="*/ 4869244 w 9378540"/>
              <a:gd name="connsiteY33" fmla="*/ 2261689 h 7291226"/>
              <a:gd name="connsiteX34" fmla="*/ 8687764 w 9378540"/>
              <a:gd name="connsiteY34" fmla="*/ 7291226 h 7291226"/>
              <a:gd name="connsiteX35" fmla="*/ 9378540 w 9378540"/>
              <a:gd name="connsiteY35" fmla="*/ 7097262 h 7291226"/>
              <a:gd name="connsiteX36" fmla="*/ 9050647 w 9378540"/>
              <a:gd name="connsiteY36" fmla="*/ 7291226 h 7291226"/>
              <a:gd name="connsiteX37" fmla="*/ 5045299 w 9378540"/>
              <a:gd name="connsiteY37" fmla="*/ 2031113 h 7291226"/>
              <a:gd name="connsiteX38" fmla="*/ 5273037 w 9378540"/>
              <a:gd name="connsiteY38" fmla="*/ 1732846 h 7291226"/>
              <a:gd name="connsiteX39" fmla="*/ 9378540 w 9378540"/>
              <a:gd name="connsiteY39" fmla="*/ 7097262 h 7291226"/>
              <a:gd name="connsiteX0-65" fmla="*/ 168369 w 9378540"/>
              <a:gd name="connsiteY0-66" fmla="*/ 4779933 h 7291226"/>
              <a:gd name="connsiteX1-67" fmla="*/ 0 w 9378540"/>
              <a:gd name="connsiteY1-68" fmla="*/ 4409146 h 7291226"/>
              <a:gd name="connsiteX2-69" fmla="*/ 3332806 w 9378540"/>
              <a:gd name="connsiteY2-70" fmla="*/ 0 h 7291226"/>
              <a:gd name="connsiteX3-71" fmla="*/ 3794560 w 9378540"/>
              <a:gd name="connsiteY3-72" fmla="*/ 32861 h 7291226"/>
              <a:gd name="connsiteX4-73" fmla="*/ 168369 w 9378540"/>
              <a:gd name="connsiteY4-74" fmla="*/ 4779933 h 7291226"/>
              <a:gd name="connsiteX5-75" fmla="*/ 488220 w 9378540"/>
              <a:gd name="connsiteY5-76" fmla="*/ 5484315 h 7291226"/>
              <a:gd name="connsiteX6-77" fmla="*/ 299082 w 9378540"/>
              <a:gd name="connsiteY6-78" fmla="*/ 5067791 h 7291226"/>
              <a:gd name="connsiteX7-79" fmla="*/ 4106456 w 9378540"/>
              <a:gd name="connsiteY7-80" fmla="*/ 55057 h 7291226"/>
              <a:gd name="connsiteX8-81" fmla="*/ 4585079 w 9378540"/>
              <a:gd name="connsiteY8-82" fmla="*/ 89119 h 7291226"/>
              <a:gd name="connsiteX9-83" fmla="*/ 488220 w 9378540"/>
              <a:gd name="connsiteY9-84" fmla="*/ 5484315 h 7291226"/>
              <a:gd name="connsiteX10-85" fmla="*/ 779421 w 9378540"/>
              <a:gd name="connsiteY10-86" fmla="*/ 6125606 h 7291226"/>
              <a:gd name="connsiteX11-87" fmla="*/ 618065 w 9378540"/>
              <a:gd name="connsiteY11-88" fmla="*/ 5770263 h 7291226"/>
              <a:gd name="connsiteX12-89" fmla="*/ 4897528 w 9378540"/>
              <a:gd name="connsiteY12-90" fmla="*/ 111354 h 7291226"/>
              <a:gd name="connsiteX13-91" fmla="*/ 5324893 w 9378540"/>
              <a:gd name="connsiteY13-92" fmla="*/ 141768 h 7291226"/>
              <a:gd name="connsiteX14-93" fmla="*/ 779421 w 9378540"/>
              <a:gd name="connsiteY14-94" fmla="*/ 6125606 h 7291226"/>
              <a:gd name="connsiteX15-95" fmla="*/ 1099910 w 9378540"/>
              <a:gd name="connsiteY15-96" fmla="*/ 6831395 h 7291226"/>
              <a:gd name="connsiteX16-97" fmla="*/ 919656 w 9378540"/>
              <a:gd name="connsiteY16-98" fmla="*/ 6434435 h 7291226"/>
              <a:gd name="connsiteX17-99" fmla="*/ 5668965 w 9378540"/>
              <a:gd name="connsiteY17-100" fmla="*/ 166254 h 7291226"/>
              <a:gd name="connsiteX18-101" fmla="*/ 6114044 w 9378540"/>
              <a:gd name="connsiteY18-102" fmla="*/ 197929 h 7291226"/>
              <a:gd name="connsiteX19-103" fmla="*/ 1099910 w 9378540"/>
              <a:gd name="connsiteY19-104" fmla="*/ 6831395 h 7291226"/>
              <a:gd name="connsiteX20-105" fmla="*/ 7106560 w 9378540"/>
              <a:gd name="connsiteY20-106" fmla="*/ 7291226 h 7291226"/>
              <a:gd name="connsiteX21-107" fmla="*/ 6670875 w 9378540"/>
              <a:gd name="connsiteY21-108" fmla="*/ 7291226 h 7291226"/>
              <a:gd name="connsiteX22-109" fmla="*/ 3849932 w 9378540"/>
              <a:gd name="connsiteY22-110" fmla="*/ 3596670 h 7291226"/>
              <a:gd name="connsiteX23-111" fmla="*/ 4086202 w 9378540"/>
              <a:gd name="connsiteY23-112" fmla="*/ 3287229 h 7291226"/>
              <a:gd name="connsiteX24-113" fmla="*/ 7106560 w 9378540"/>
              <a:gd name="connsiteY24-114" fmla="*/ 7291226 h 7291226"/>
              <a:gd name="connsiteX25-115" fmla="*/ 7934229 w 9378540"/>
              <a:gd name="connsiteY25-116" fmla="*/ 7291226 h 7291226"/>
              <a:gd name="connsiteX26-117" fmla="*/ 7444802 w 9378540"/>
              <a:gd name="connsiteY26-118" fmla="*/ 7291226 h 7291226"/>
              <a:gd name="connsiteX27-119" fmla="*/ 4245793 w 9378540"/>
              <a:gd name="connsiteY27-120" fmla="*/ 3078214 h 7291226"/>
              <a:gd name="connsiteX28-121" fmla="*/ 4490696 w 9378540"/>
              <a:gd name="connsiteY28-122" fmla="*/ 2757469 h 7291226"/>
              <a:gd name="connsiteX29-123" fmla="*/ 7934229 w 9378540"/>
              <a:gd name="connsiteY29-124" fmla="*/ 7291226 h 7291226"/>
              <a:gd name="connsiteX30-125" fmla="*/ 8687764 w 9378540"/>
              <a:gd name="connsiteY30-126" fmla="*/ 7291226 h 7291226"/>
              <a:gd name="connsiteX31-127" fmla="*/ 8270226 w 9378540"/>
              <a:gd name="connsiteY31-128" fmla="*/ 7291226 h 7291226"/>
              <a:gd name="connsiteX32-129" fmla="*/ 4650570 w 9378540"/>
              <a:gd name="connsiteY32-130" fmla="*/ 2548084 h 7291226"/>
              <a:gd name="connsiteX33-131" fmla="*/ 4869244 w 9378540"/>
              <a:gd name="connsiteY33-132" fmla="*/ 2261689 h 7291226"/>
              <a:gd name="connsiteX34-133" fmla="*/ 8687764 w 9378540"/>
              <a:gd name="connsiteY34-134" fmla="*/ 7291226 h 7291226"/>
              <a:gd name="connsiteX35-135" fmla="*/ 9378540 w 9378540"/>
              <a:gd name="connsiteY35-136" fmla="*/ 7097262 h 7291226"/>
              <a:gd name="connsiteX36-137" fmla="*/ 8921338 w 9378540"/>
              <a:gd name="connsiteY36-138" fmla="*/ 7115735 h 7291226"/>
              <a:gd name="connsiteX37-139" fmla="*/ 5045299 w 9378540"/>
              <a:gd name="connsiteY37-140" fmla="*/ 2031113 h 7291226"/>
              <a:gd name="connsiteX38-141" fmla="*/ 5273037 w 9378540"/>
              <a:gd name="connsiteY38-142" fmla="*/ 1732846 h 7291226"/>
              <a:gd name="connsiteX39-143" fmla="*/ 9378540 w 9378540"/>
              <a:gd name="connsiteY39-144" fmla="*/ 7097262 h 7291226"/>
              <a:gd name="connsiteX0-145" fmla="*/ 168369 w 9397013"/>
              <a:gd name="connsiteY0-146" fmla="*/ 4779933 h 7291226"/>
              <a:gd name="connsiteX1-147" fmla="*/ 0 w 9397013"/>
              <a:gd name="connsiteY1-148" fmla="*/ 4409146 h 7291226"/>
              <a:gd name="connsiteX2-149" fmla="*/ 3332806 w 9397013"/>
              <a:gd name="connsiteY2-150" fmla="*/ 0 h 7291226"/>
              <a:gd name="connsiteX3-151" fmla="*/ 3794560 w 9397013"/>
              <a:gd name="connsiteY3-152" fmla="*/ 32861 h 7291226"/>
              <a:gd name="connsiteX4-153" fmla="*/ 168369 w 9397013"/>
              <a:gd name="connsiteY4-154" fmla="*/ 4779933 h 7291226"/>
              <a:gd name="connsiteX5-155" fmla="*/ 488220 w 9397013"/>
              <a:gd name="connsiteY5-156" fmla="*/ 5484315 h 7291226"/>
              <a:gd name="connsiteX6-157" fmla="*/ 299082 w 9397013"/>
              <a:gd name="connsiteY6-158" fmla="*/ 5067791 h 7291226"/>
              <a:gd name="connsiteX7-159" fmla="*/ 4106456 w 9397013"/>
              <a:gd name="connsiteY7-160" fmla="*/ 55057 h 7291226"/>
              <a:gd name="connsiteX8-161" fmla="*/ 4585079 w 9397013"/>
              <a:gd name="connsiteY8-162" fmla="*/ 89119 h 7291226"/>
              <a:gd name="connsiteX9-163" fmla="*/ 488220 w 9397013"/>
              <a:gd name="connsiteY9-164" fmla="*/ 5484315 h 7291226"/>
              <a:gd name="connsiteX10-165" fmla="*/ 779421 w 9397013"/>
              <a:gd name="connsiteY10-166" fmla="*/ 6125606 h 7291226"/>
              <a:gd name="connsiteX11-167" fmla="*/ 618065 w 9397013"/>
              <a:gd name="connsiteY11-168" fmla="*/ 5770263 h 7291226"/>
              <a:gd name="connsiteX12-169" fmla="*/ 4897528 w 9397013"/>
              <a:gd name="connsiteY12-170" fmla="*/ 111354 h 7291226"/>
              <a:gd name="connsiteX13-171" fmla="*/ 5324893 w 9397013"/>
              <a:gd name="connsiteY13-172" fmla="*/ 141768 h 7291226"/>
              <a:gd name="connsiteX14-173" fmla="*/ 779421 w 9397013"/>
              <a:gd name="connsiteY14-174" fmla="*/ 6125606 h 7291226"/>
              <a:gd name="connsiteX15-175" fmla="*/ 1099910 w 9397013"/>
              <a:gd name="connsiteY15-176" fmla="*/ 6831395 h 7291226"/>
              <a:gd name="connsiteX16-177" fmla="*/ 919656 w 9397013"/>
              <a:gd name="connsiteY16-178" fmla="*/ 6434435 h 7291226"/>
              <a:gd name="connsiteX17-179" fmla="*/ 5668965 w 9397013"/>
              <a:gd name="connsiteY17-180" fmla="*/ 166254 h 7291226"/>
              <a:gd name="connsiteX18-181" fmla="*/ 6114044 w 9397013"/>
              <a:gd name="connsiteY18-182" fmla="*/ 197929 h 7291226"/>
              <a:gd name="connsiteX19-183" fmla="*/ 1099910 w 9397013"/>
              <a:gd name="connsiteY19-184" fmla="*/ 6831395 h 7291226"/>
              <a:gd name="connsiteX20-185" fmla="*/ 7106560 w 9397013"/>
              <a:gd name="connsiteY20-186" fmla="*/ 7291226 h 7291226"/>
              <a:gd name="connsiteX21-187" fmla="*/ 6670875 w 9397013"/>
              <a:gd name="connsiteY21-188" fmla="*/ 7291226 h 7291226"/>
              <a:gd name="connsiteX22-189" fmla="*/ 3849932 w 9397013"/>
              <a:gd name="connsiteY22-190" fmla="*/ 3596670 h 7291226"/>
              <a:gd name="connsiteX23-191" fmla="*/ 4086202 w 9397013"/>
              <a:gd name="connsiteY23-192" fmla="*/ 3287229 h 7291226"/>
              <a:gd name="connsiteX24-193" fmla="*/ 7106560 w 9397013"/>
              <a:gd name="connsiteY24-194" fmla="*/ 7291226 h 7291226"/>
              <a:gd name="connsiteX25-195" fmla="*/ 7934229 w 9397013"/>
              <a:gd name="connsiteY25-196" fmla="*/ 7291226 h 7291226"/>
              <a:gd name="connsiteX26-197" fmla="*/ 7444802 w 9397013"/>
              <a:gd name="connsiteY26-198" fmla="*/ 7291226 h 7291226"/>
              <a:gd name="connsiteX27-199" fmla="*/ 4245793 w 9397013"/>
              <a:gd name="connsiteY27-200" fmla="*/ 3078214 h 7291226"/>
              <a:gd name="connsiteX28-201" fmla="*/ 4490696 w 9397013"/>
              <a:gd name="connsiteY28-202" fmla="*/ 2757469 h 7291226"/>
              <a:gd name="connsiteX29-203" fmla="*/ 7934229 w 9397013"/>
              <a:gd name="connsiteY29-204" fmla="*/ 7291226 h 7291226"/>
              <a:gd name="connsiteX30-205" fmla="*/ 8687764 w 9397013"/>
              <a:gd name="connsiteY30-206" fmla="*/ 7291226 h 7291226"/>
              <a:gd name="connsiteX31-207" fmla="*/ 8270226 w 9397013"/>
              <a:gd name="connsiteY31-208" fmla="*/ 7291226 h 7291226"/>
              <a:gd name="connsiteX32-209" fmla="*/ 4650570 w 9397013"/>
              <a:gd name="connsiteY32-210" fmla="*/ 2548084 h 7291226"/>
              <a:gd name="connsiteX33-211" fmla="*/ 4869244 w 9397013"/>
              <a:gd name="connsiteY33-212" fmla="*/ 2261689 h 7291226"/>
              <a:gd name="connsiteX34-213" fmla="*/ 8687764 w 9397013"/>
              <a:gd name="connsiteY34-214" fmla="*/ 7291226 h 7291226"/>
              <a:gd name="connsiteX35-215" fmla="*/ 9397013 w 9397013"/>
              <a:gd name="connsiteY35-216" fmla="*/ 7134207 h 7291226"/>
              <a:gd name="connsiteX36-217" fmla="*/ 8921338 w 9397013"/>
              <a:gd name="connsiteY36-218" fmla="*/ 7115735 h 7291226"/>
              <a:gd name="connsiteX37-219" fmla="*/ 5045299 w 9397013"/>
              <a:gd name="connsiteY37-220" fmla="*/ 2031113 h 7291226"/>
              <a:gd name="connsiteX38-221" fmla="*/ 5273037 w 9397013"/>
              <a:gd name="connsiteY38-222" fmla="*/ 1732846 h 7291226"/>
              <a:gd name="connsiteX39-223" fmla="*/ 9397013 w 9397013"/>
              <a:gd name="connsiteY39-224" fmla="*/ 7134207 h 7291226"/>
              <a:gd name="connsiteX0-225" fmla="*/ 168369 w 9397013"/>
              <a:gd name="connsiteY0-226" fmla="*/ 4779933 h 7291226"/>
              <a:gd name="connsiteX1-227" fmla="*/ 0 w 9397013"/>
              <a:gd name="connsiteY1-228" fmla="*/ 4409146 h 7291226"/>
              <a:gd name="connsiteX2-229" fmla="*/ 3332806 w 9397013"/>
              <a:gd name="connsiteY2-230" fmla="*/ 0 h 7291226"/>
              <a:gd name="connsiteX3-231" fmla="*/ 3794560 w 9397013"/>
              <a:gd name="connsiteY3-232" fmla="*/ 32861 h 7291226"/>
              <a:gd name="connsiteX4-233" fmla="*/ 168369 w 9397013"/>
              <a:gd name="connsiteY4-234" fmla="*/ 4779933 h 7291226"/>
              <a:gd name="connsiteX5-235" fmla="*/ 488220 w 9397013"/>
              <a:gd name="connsiteY5-236" fmla="*/ 5484315 h 7291226"/>
              <a:gd name="connsiteX6-237" fmla="*/ 299082 w 9397013"/>
              <a:gd name="connsiteY6-238" fmla="*/ 5067791 h 7291226"/>
              <a:gd name="connsiteX7-239" fmla="*/ 4106456 w 9397013"/>
              <a:gd name="connsiteY7-240" fmla="*/ 55057 h 7291226"/>
              <a:gd name="connsiteX8-241" fmla="*/ 4585079 w 9397013"/>
              <a:gd name="connsiteY8-242" fmla="*/ 89119 h 7291226"/>
              <a:gd name="connsiteX9-243" fmla="*/ 488220 w 9397013"/>
              <a:gd name="connsiteY9-244" fmla="*/ 5484315 h 7291226"/>
              <a:gd name="connsiteX10-245" fmla="*/ 779421 w 9397013"/>
              <a:gd name="connsiteY10-246" fmla="*/ 6125606 h 7291226"/>
              <a:gd name="connsiteX11-247" fmla="*/ 618065 w 9397013"/>
              <a:gd name="connsiteY11-248" fmla="*/ 5770263 h 7291226"/>
              <a:gd name="connsiteX12-249" fmla="*/ 4897528 w 9397013"/>
              <a:gd name="connsiteY12-250" fmla="*/ 111354 h 7291226"/>
              <a:gd name="connsiteX13-251" fmla="*/ 5324893 w 9397013"/>
              <a:gd name="connsiteY13-252" fmla="*/ 141768 h 7291226"/>
              <a:gd name="connsiteX14-253" fmla="*/ 779421 w 9397013"/>
              <a:gd name="connsiteY14-254" fmla="*/ 6125606 h 7291226"/>
              <a:gd name="connsiteX15-255" fmla="*/ 1099910 w 9397013"/>
              <a:gd name="connsiteY15-256" fmla="*/ 6831395 h 7291226"/>
              <a:gd name="connsiteX16-257" fmla="*/ 919656 w 9397013"/>
              <a:gd name="connsiteY16-258" fmla="*/ 6434435 h 7291226"/>
              <a:gd name="connsiteX17-259" fmla="*/ 5668965 w 9397013"/>
              <a:gd name="connsiteY17-260" fmla="*/ 166254 h 7291226"/>
              <a:gd name="connsiteX18-261" fmla="*/ 6114044 w 9397013"/>
              <a:gd name="connsiteY18-262" fmla="*/ 197929 h 7291226"/>
              <a:gd name="connsiteX19-263" fmla="*/ 1099910 w 9397013"/>
              <a:gd name="connsiteY19-264" fmla="*/ 6831395 h 7291226"/>
              <a:gd name="connsiteX20-265" fmla="*/ 7106560 w 9397013"/>
              <a:gd name="connsiteY20-266" fmla="*/ 7291226 h 7291226"/>
              <a:gd name="connsiteX21-267" fmla="*/ 6670875 w 9397013"/>
              <a:gd name="connsiteY21-268" fmla="*/ 7291226 h 7291226"/>
              <a:gd name="connsiteX22-269" fmla="*/ 3849932 w 9397013"/>
              <a:gd name="connsiteY22-270" fmla="*/ 3596670 h 7291226"/>
              <a:gd name="connsiteX23-271" fmla="*/ 4086202 w 9397013"/>
              <a:gd name="connsiteY23-272" fmla="*/ 3287229 h 7291226"/>
              <a:gd name="connsiteX24-273" fmla="*/ 7106560 w 9397013"/>
              <a:gd name="connsiteY24-274" fmla="*/ 7291226 h 7291226"/>
              <a:gd name="connsiteX25-275" fmla="*/ 7934229 w 9397013"/>
              <a:gd name="connsiteY25-276" fmla="*/ 7291226 h 7291226"/>
              <a:gd name="connsiteX26-277" fmla="*/ 7444802 w 9397013"/>
              <a:gd name="connsiteY26-278" fmla="*/ 7291226 h 7291226"/>
              <a:gd name="connsiteX27-279" fmla="*/ 4245793 w 9397013"/>
              <a:gd name="connsiteY27-280" fmla="*/ 3078214 h 7291226"/>
              <a:gd name="connsiteX28-281" fmla="*/ 4490696 w 9397013"/>
              <a:gd name="connsiteY28-282" fmla="*/ 2757469 h 7291226"/>
              <a:gd name="connsiteX29-283" fmla="*/ 7934229 w 9397013"/>
              <a:gd name="connsiteY29-284" fmla="*/ 7291226 h 7291226"/>
              <a:gd name="connsiteX30-285" fmla="*/ 8530746 w 9397013"/>
              <a:gd name="connsiteY30-286" fmla="*/ 7088026 h 7291226"/>
              <a:gd name="connsiteX31-287" fmla="*/ 8270226 w 9397013"/>
              <a:gd name="connsiteY31-288" fmla="*/ 7291226 h 7291226"/>
              <a:gd name="connsiteX32-289" fmla="*/ 4650570 w 9397013"/>
              <a:gd name="connsiteY32-290" fmla="*/ 2548084 h 7291226"/>
              <a:gd name="connsiteX33-291" fmla="*/ 4869244 w 9397013"/>
              <a:gd name="connsiteY33-292" fmla="*/ 2261689 h 7291226"/>
              <a:gd name="connsiteX34-293" fmla="*/ 8530746 w 9397013"/>
              <a:gd name="connsiteY34-294" fmla="*/ 7088026 h 7291226"/>
              <a:gd name="connsiteX35-295" fmla="*/ 9397013 w 9397013"/>
              <a:gd name="connsiteY35-296" fmla="*/ 7134207 h 7291226"/>
              <a:gd name="connsiteX36-297" fmla="*/ 8921338 w 9397013"/>
              <a:gd name="connsiteY36-298" fmla="*/ 7115735 h 7291226"/>
              <a:gd name="connsiteX37-299" fmla="*/ 5045299 w 9397013"/>
              <a:gd name="connsiteY37-300" fmla="*/ 2031113 h 7291226"/>
              <a:gd name="connsiteX38-301" fmla="*/ 5273037 w 9397013"/>
              <a:gd name="connsiteY38-302" fmla="*/ 1732846 h 7291226"/>
              <a:gd name="connsiteX39-303" fmla="*/ 9397013 w 9397013"/>
              <a:gd name="connsiteY39-304" fmla="*/ 7134207 h 7291226"/>
              <a:gd name="connsiteX0-305" fmla="*/ 168369 w 9397013"/>
              <a:gd name="connsiteY0-306" fmla="*/ 4779933 h 7291226"/>
              <a:gd name="connsiteX1-307" fmla="*/ 0 w 9397013"/>
              <a:gd name="connsiteY1-308" fmla="*/ 4409146 h 7291226"/>
              <a:gd name="connsiteX2-309" fmla="*/ 3332806 w 9397013"/>
              <a:gd name="connsiteY2-310" fmla="*/ 0 h 7291226"/>
              <a:gd name="connsiteX3-311" fmla="*/ 3794560 w 9397013"/>
              <a:gd name="connsiteY3-312" fmla="*/ 32861 h 7291226"/>
              <a:gd name="connsiteX4-313" fmla="*/ 168369 w 9397013"/>
              <a:gd name="connsiteY4-314" fmla="*/ 4779933 h 7291226"/>
              <a:gd name="connsiteX5-315" fmla="*/ 488220 w 9397013"/>
              <a:gd name="connsiteY5-316" fmla="*/ 5484315 h 7291226"/>
              <a:gd name="connsiteX6-317" fmla="*/ 299082 w 9397013"/>
              <a:gd name="connsiteY6-318" fmla="*/ 5067791 h 7291226"/>
              <a:gd name="connsiteX7-319" fmla="*/ 4106456 w 9397013"/>
              <a:gd name="connsiteY7-320" fmla="*/ 55057 h 7291226"/>
              <a:gd name="connsiteX8-321" fmla="*/ 4585079 w 9397013"/>
              <a:gd name="connsiteY8-322" fmla="*/ 89119 h 7291226"/>
              <a:gd name="connsiteX9-323" fmla="*/ 488220 w 9397013"/>
              <a:gd name="connsiteY9-324" fmla="*/ 5484315 h 7291226"/>
              <a:gd name="connsiteX10-325" fmla="*/ 779421 w 9397013"/>
              <a:gd name="connsiteY10-326" fmla="*/ 6125606 h 7291226"/>
              <a:gd name="connsiteX11-327" fmla="*/ 618065 w 9397013"/>
              <a:gd name="connsiteY11-328" fmla="*/ 5770263 h 7291226"/>
              <a:gd name="connsiteX12-329" fmla="*/ 4897528 w 9397013"/>
              <a:gd name="connsiteY12-330" fmla="*/ 111354 h 7291226"/>
              <a:gd name="connsiteX13-331" fmla="*/ 5324893 w 9397013"/>
              <a:gd name="connsiteY13-332" fmla="*/ 141768 h 7291226"/>
              <a:gd name="connsiteX14-333" fmla="*/ 779421 w 9397013"/>
              <a:gd name="connsiteY14-334" fmla="*/ 6125606 h 7291226"/>
              <a:gd name="connsiteX15-335" fmla="*/ 1099910 w 9397013"/>
              <a:gd name="connsiteY15-336" fmla="*/ 6831395 h 7291226"/>
              <a:gd name="connsiteX16-337" fmla="*/ 919656 w 9397013"/>
              <a:gd name="connsiteY16-338" fmla="*/ 6434435 h 7291226"/>
              <a:gd name="connsiteX17-339" fmla="*/ 5668965 w 9397013"/>
              <a:gd name="connsiteY17-340" fmla="*/ 166254 h 7291226"/>
              <a:gd name="connsiteX18-341" fmla="*/ 6114044 w 9397013"/>
              <a:gd name="connsiteY18-342" fmla="*/ 197929 h 7291226"/>
              <a:gd name="connsiteX19-343" fmla="*/ 1099910 w 9397013"/>
              <a:gd name="connsiteY19-344" fmla="*/ 6831395 h 7291226"/>
              <a:gd name="connsiteX20-345" fmla="*/ 7106560 w 9397013"/>
              <a:gd name="connsiteY20-346" fmla="*/ 7291226 h 7291226"/>
              <a:gd name="connsiteX21-347" fmla="*/ 6670875 w 9397013"/>
              <a:gd name="connsiteY21-348" fmla="*/ 7291226 h 7291226"/>
              <a:gd name="connsiteX22-349" fmla="*/ 3849932 w 9397013"/>
              <a:gd name="connsiteY22-350" fmla="*/ 3596670 h 7291226"/>
              <a:gd name="connsiteX23-351" fmla="*/ 4086202 w 9397013"/>
              <a:gd name="connsiteY23-352" fmla="*/ 3287229 h 7291226"/>
              <a:gd name="connsiteX24-353" fmla="*/ 7106560 w 9397013"/>
              <a:gd name="connsiteY24-354" fmla="*/ 7291226 h 7291226"/>
              <a:gd name="connsiteX25-355" fmla="*/ 7934229 w 9397013"/>
              <a:gd name="connsiteY25-356" fmla="*/ 7291226 h 7291226"/>
              <a:gd name="connsiteX26-357" fmla="*/ 7444802 w 9397013"/>
              <a:gd name="connsiteY26-358" fmla="*/ 7291226 h 7291226"/>
              <a:gd name="connsiteX27-359" fmla="*/ 4245793 w 9397013"/>
              <a:gd name="connsiteY27-360" fmla="*/ 3078214 h 7291226"/>
              <a:gd name="connsiteX28-361" fmla="*/ 4490696 w 9397013"/>
              <a:gd name="connsiteY28-362" fmla="*/ 2757469 h 7291226"/>
              <a:gd name="connsiteX29-363" fmla="*/ 7934229 w 9397013"/>
              <a:gd name="connsiteY29-364" fmla="*/ 7291226 h 7291226"/>
              <a:gd name="connsiteX30-365" fmla="*/ 8530746 w 9397013"/>
              <a:gd name="connsiteY30-366" fmla="*/ 7088026 h 7291226"/>
              <a:gd name="connsiteX31-367" fmla="*/ 8150153 w 9397013"/>
              <a:gd name="connsiteY31-368" fmla="*/ 7097262 h 7291226"/>
              <a:gd name="connsiteX32-369" fmla="*/ 4650570 w 9397013"/>
              <a:gd name="connsiteY32-370" fmla="*/ 2548084 h 7291226"/>
              <a:gd name="connsiteX33-371" fmla="*/ 4869244 w 9397013"/>
              <a:gd name="connsiteY33-372" fmla="*/ 2261689 h 7291226"/>
              <a:gd name="connsiteX34-373" fmla="*/ 8530746 w 9397013"/>
              <a:gd name="connsiteY34-374" fmla="*/ 7088026 h 7291226"/>
              <a:gd name="connsiteX35-375" fmla="*/ 9397013 w 9397013"/>
              <a:gd name="connsiteY35-376" fmla="*/ 7134207 h 7291226"/>
              <a:gd name="connsiteX36-377" fmla="*/ 8921338 w 9397013"/>
              <a:gd name="connsiteY36-378" fmla="*/ 7115735 h 7291226"/>
              <a:gd name="connsiteX37-379" fmla="*/ 5045299 w 9397013"/>
              <a:gd name="connsiteY37-380" fmla="*/ 2031113 h 7291226"/>
              <a:gd name="connsiteX38-381" fmla="*/ 5273037 w 9397013"/>
              <a:gd name="connsiteY38-382" fmla="*/ 1732846 h 7291226"/>
              <a:gd name="connsiteX39-383" fmla="*/ 9397013 w 9397013"/>
              <a:gd name="connsiteY39-384" fmla="*/ 7134207 h 7291226"/>
              <a:gd name="connsiteX0-385" fmla="*/ 168369 w 9397013"/>
              <a:gd name="connsiteY0-386" fmla="*/ 4779933 h 7291226"/>
              <a:gd name="connsiteX1-387" fmla="*/ 0 w 9397013"/>
              <a:gd name="connsiteY1-388" fmla="*/ 4409146 h 7291226"/>
              <a:gd name="connsiteX2-389" fmla="*/ 3332806 w 9397013"/>
              <a:gd name="connsiteY2-390" fmla="*/ 0 h 7291226"/>
              <a:gd name="connsiteX3-391" fmla="*/ 3794560 w 9397013"/>
              <a:gd name="connsiteY3-392" fmla="*/ 32861 h 7291226"/>
              <a:gd name="connsiteX4-393" fmla="*/ 168369 w 9397013"/>
              <a:gd name="connsiteY4-394" fmla="*/ 4779933 h 7291226"/>
              <a:gd name="connsiteX5-395" fmla="*/ 488220 w 9397013"/>
              <a:gd name="connsiteY5-396" fmla="*/ 5484315 h 7291226"/>
              <a:gd name="connsiteX6-397" fmla="*/ 299082 w 9397013"/>
              <a:gd name="connsiteY6-398" fmla="*/ 5067791 h 7291226"/>
              <a:gd name="connsiteX7-399" fmla="*/ 4106456 w 9397013"/>
              <a:gd name="connsiteY7-400" fmla="*/ 55057 h 7291226"/>
              <a:gd name="connsiteX8-401" fmla="*/ 4585079 w 9397013"/>
              <a:gd name="connsiteY8-402" fmla="*/ 89119 h 7291226"/>
              <a:gd name="connsiteX9-403" fmla="*/ 488220 w 9397013"/>
              <a:gd name="connsiteY9-404" fmla="*/ 5484315 h 7291226"/>
              <a:gd name="connsiteX10-405" fmla="*/ 779421 w 9397013"/>
              <a:gd name="connsiteY10-406" fmla="*/ 6125606 h 7291226"/>
              <a:gd name="connsiteX11-407" fmla="*/ 618065 w 9397013"/>
              <a:gd name="connsiteY11-408" fmla="*/ 5770263 h 7291226"/>
              <a:gd name="connsiteX12-409" fmla="*/ 4897528 w 9397013"/>
              <a:gd name="connsiteY12-410" fmla="*/ 111354 h 7291226"/>
              <a:gd name="connsiteX13-411" fmla="*/ 5324893 w 9397013"/>
              <a:gd name="connsiteY13-412" fmla="*/ 141768 h 7291226"/>
              <a:gd name="connsiteX14-413" fmla="*/ 779421 w 9397013"/>
              <a:gd name="connsiteY14-414" fmla="*/ 6125606 h 7291226"/>
              <a:gd name="connsiteX15-415" fmla="*/ 1099910 w 9397013"/>
              <a:gd name="connsiteY15-416" fmla="*/ 6831395 h 7291226"/>
              <a:gd name="connsiteX16-417" fmla="*/ 919656 w 9397013"/>
              <a:gd name="connsiteY16-418" fmla="*/ 6434435 h 7291226"/>
              <a:gd name="connsiteX17-419" fmla="*/ 5668965 w 9397013"/>
              <a:gd name="connsiteY17-420" fmla="*/ 166254 h 7291226"/>
              <a:gd name="connsiteX18-421" fmla="*/ 6114044 w 9397013"/>
              <a:gd name="connsiteY18-422" fmla="*/ 197929 h 7291226"/>
              <a:gd name="connsiteX19-423" fmla="*/ 1099910 w 9397013"/>
              <a:gd name="connsiteY19-424" fmla="*/ 6831395 h 7291226"/>
              <a:gd name="connsiteX20-425" fmla="*/ 7106560 w 9397013"/>
              <a:gd name="connsiteY20-426" fmla="*/ 7291226 h 7291226"/>
              <a:gd name="connsiteX21-427" fmla="*/ 6670875 w 9397013"/>
              <a:gd name="connsiteY21-428" fmla="*/ 7291226 h 7291226"/>
              <a:gd name="connsiteX22-429" fmla="*/ 3849932 w 9397013"/>
              <a:gd name="connsiteY22-430" fmla="*/ 3596670 h 7291226"/>
              <a:gd name="connsiteX23-431" fmla="*/ 4086202 w 9397013"/>
              <a:gd name="connsiteY23-432" fmla="*/ 3287229 h 7291226"/>
              <a:gd name="connsiteX24-433" fmla="*/ 7106560 w 9397013"/>
              <a:gd name="connsiteY24-434" fmla="*/ 7291226 h 7291226"/>
              <a:gd name="connsiteX25-435" fmla="*/ 7934229 w 9397013"/>
              <a:gd name="connsiteY25-436" fmla="*/ 7291226 h 7291226"/>
              <a:gd name="connsiteX26-437" fmla="*/ 7444802 w 9397013"/>
              <a:gd name="connsiteY26-438" fmla="*/ 7291226 h 7291226"/>
              <a:gd name="connsiteX27-439" fmla="*/ 4245793 w 9397013"/>
              <a:gd name="connsiteY27-440" fmla="*/ 3078214 h 7291226"/>
              <a:gd name="connsiteX28-441" fmla="*/ 4490696 w 9397013"/>
              <a:gd name="connsiteY28-442" fmla="*/ 2757469 h 7291226"/>
              <a:gd name="connsiteX29-443" fmla="*/ 7934229 w 9397013"/>
              <a:gd name="connsiteY29-444" fmla="*/ 7291226 h 7291226"/>
              <a:gd name="connsiteX30-445" fmla="*/ 8567691 w 9397013"/>
              <a:gd name="connsiteY30-446" fmla="*/ 7124971 h 7291226"/>
              <a:gd name="connsiteX31-447" fmla="*/ 8150153 w 9397013"/>
              <a:gd name="connsiteY31-448" fmla="*/ 7097262 h 7291226"/>
              <a:gd name="connsiteX32-449" fmla="*/ 4650570 w 9397013"/>
              <a:gd name="connsiteY32-450" fmla="*/ 2548084 h 7291226"/>
              <a:gd name="connsiteX33-451" fmla="*/ 4869244 w 9397013"/>
              <a:gd name="connsiteY33-452" fmla="*/ 2261689 h 7291226"/>
              <a:gd name="connsiteX34-453" fmla="*/ 8567691 w 9397013"/>
              <a:gd name="connsiteY34-454" fmla="*/ 7124971 h 7291226"/>
              <a:gd name="connsiteX35-455" fmla="*/ 9397013 w 9397013"/>
              <a:gd name="connsiteY35-456" fmla="*/ 7134207 h 7291226"/>
              <a:gd name="connsiteX36-457" fmla="*/ 8921338 w 9397013"/>
              <a:gd name="connsiteY36-458" fmla="*/ 7115735 h 7291226"/>
              <a:gd name="connsiteX37-459" fmla="*/ 5045299 w 9397013"/>
              <a:gd name="connsiteY37-460" fmla="*/ 2031113 h 7291226"/>
              <a:gd name="connsiteX38-461" fmla="*/ 5273037 w 9397013"/>
              <a:gd name="connsiteY38-462" fmla="*/ 1732846 h 7291226"/>
              <a:gd name="connsiteX39-463" fmla="*/ 9397013 w 9397013"/>
              <a:gd name="connsiteY39-464" fmla="*/ 7134207 h 7291226"/>
              <a:gd name="connsiteX0-465" fmla="*/ 168369 w 9397013"/>
              <a:gd name="connsiteY0-466" fmla="*/ 4779933 h 7291226"/>
              <a:gd name="connsiteX1-467" fmla="*/ 0 w 9397013"/>
              <a:gd name="connsiteY1-468" fmla="*/ 4409146 h 7291226"/>
              <a:gd name="connsiteX2-469" fmla="*/ 3332806 w 9397013"/>
              <a:gd name="connsiteY2-470" fmla="*/ 0 h 7291226"/>
              <a:gd name="connsiteX3-471" fmla="*/ 3794560 w 9397013"/>
              <a:gd name="connsiteY3-472" fmla="*/ 32861 h 7291226"/>
              <a:gd name="connsiteX4-473" fmla="*/ 168369 w 9397013"/>
              <a:gd name="connsiteY4-474" fmla="*/ 4779933 h 7291226"/>
              <a:gd name="connsiteX5-475" fmla="*/ 488220 w 9397013"/>
              <a:gd name="connsiteY5-476" fmla="*/ 5484315 h 7291226"/>
              <a:gd name="connsiteX6-477" fmla="*/ 299082 w 9397013"/>
              <a:gd name="connsiteY6-478" fmla="*/ 5067791 h 7291226"/>
              <a:gd name="connsiteX7-479" fmla="*/ 4106456 w 9397013"/>
              <a:gd name="connsiteY7-480" fmla="*/ 55057 h 7291226"/>
              <a:gd name="connsiteX8-481" fmla="*/ 4585079 w 9397013"/>
              <a:gd name="connsiteY8-482" fmla="*/ 89119 h 7291226"/>
              <a:gd name="connsiteX9-483" fmla="*/ 488220 w 9397013"/>
              <a:gd name="connsiteY9-484" fmla="*/ 5484315 h 7291226"/>
              <a:gd name="connsiteX10-485" fmla="*/ 779421 w 9397013"/>
              <a:gd name="connsiteY10-486" fmla="*/ 6125606 h 7291226"/>
              <a:gd name="connsiteX11-487" fmla="*/ 618065 w 9397013"/>
              <a:gd name="connsiteY11-488" fmla="*/ 5770263 h 7291226"/>
              <a:gd name="connsiteX12-489" fmla="*/ 4897528 w 9397013"/>
              <a:gd name="connsiteY12-490" fmla="*/ 111354 h 7291226"/>
              <a:gd name="connsiteX13-491" fmla="*/ 5324893 w 9397013"/>
              <a:gd name="connsiteY13-492" fmla="*/ 141768 h 7291226"/>
              <a:gd name="connsiteX14-493" fmla="*/ 779421 w 9397013"/>
              <a:gd name="connsiteY14-494" fmla="*/ 6125606 h 7291226"/>
              <a:gd name="connsiteX15-495" fmla="*/ 1099910 w 9397013"/>
              <a:gd name="connsiteY15-496" fmla="*/ 6831395 h 7291226"/>
              <a:gd name="connsiteX16-497" fmla="*/ 919656 w 9397013"/>
              <a:gd name="connsiteY16-498" fmla="*/ 6434435 h 7291226"/>
              <a:gd name="connsiteX17-499" fmla="*/ 5668965 w 9397013"/>
              <a:gd name="connsiteY17-500" fmla="*/ 166254 h 7291226"/>
              <a:gd name="connsiteX18-501" fmla="*/ 6114044 w 9397013"/>
              <a:gd name="connsiteY18-502" fmla="*/ 197929 h 7291226"/>
              <a:gd name="connsiteX19-503" fmla="*/ 1099910 w 9397013"/>
              <a:gd name="connsiteY19-504" fmla="*/ 6831395 h 7291226"/>
              <a:gd name="connsiteX20-505" fmla="*/ 7106560 w 9397013"/>
              <a:gd name="connsiteY20-506" fmla="*/ 7291226 h 7291226"/>
              <a:gd name="connsiteX21-507" fmla="*/ 6670875 w 9397013"/>
              <a:gd name="connsiteY21-508" fmla="*/ 7291226 h 7291226"/>
              <a:gd name="connsiteX22-509" fmla="*/ 3849932 w 9397013"/>
              <a:gd name="connsiteY22-510" fmla="*/ 3596670 h 7291226"/>
              <a:gd name="connsiteX23-511" fmla="*/ 4086202 w 9397013"/>
              <a:gd name="connsiteY23-512" fmla="*/ 3287229 h 7291226"/>
              <a:gd name="connsiteX24-513" fmla="*/ 7106560 w 9397013"/>
              <a:gd name="connsiteY24-514" fmla="*/ 7291226 h 7291226"/>
              <a:gd name="connsiteX25-515" fmla="*/ 7934229 w 9397013"/>
              <a:gd name="connsiteY25-516" fmla="*/ 7291226 h 7291226"/>
              <a:gd name="connsiteX26-517" fmla="*/ 7444802 w 9397013"/>
              <a:gd name="connsiteY26-518" fmla="*/ 7291226 h 7291226"/>
              <a:gd name="connsiteX27-519" fmla="*/ 4245793 w 9397013"/>
              <a:gd name="connsiteY27-520" fmla="*/ 3078214 h 7291226"/>
              <a:gd name="connsiteX28-521" fmla="*/ 4490696 w 9397013"/>
              <a:gd name="connsiteY28-522" fmla="*/ 2757469 h 7291226"/>
              <a:gd name="connsiteX29-523" fmla="*/ 7934229 w 9397013"/>
              <a:gd name="connsiteY29-524" fmla="*/ 7291226 h 7291226"/>
              <a:gd name="connsiteX30-525" fmla="*/ 8567691 w 9397013"/>
              <a:gd name="connsiteY30-526" fmla="*/ 7124971 h 7291226"/>
              <a:gd name="connsiteX31-527" fmla="*/ 8159389 w 9397013"/>
              <a:gd name="connsiteY31-528" fmla="*/ 7134208 h 7291226"/>
              <a:gd name="connsiteX32-529" fmla="*/ 4650570 w 9397013"/>
              <a:gd name="connsiteY32-530" fmla="*/ 2548084 h 7291226"/>
              <a:gd name="connsiteX33-531" fmla="*/ 4869244 w 9397013"/>
              <a:gd name="connsiteY33-532" fmla="*/ 2261689 h 7291226"/>
              <a:gd name="connsiteX34-533" fmla="*/ 8567691 w 9397013"/>
              <a:gd name="connsiteY34-534" fmla="*/ 7124971 h 7291226"/>
              <a:gd name="connsiteX35-535" fmla="*/ 9397013 w 9397013"/>
              <a:gd name="connsiteY35-536" fmla="*/ 7134207 h 7291226"/>
              <a:gd name="connsiteX36-537" fmla="*/ 8921338 w 9397013"/>
              <a:gd name="connsiteY36-538" fmla="*/ 7115735 h 7291226"/>
              <a:gd name="connsiteX37-539" fmla="*/ 5045299 w 9397013"/>
              <a:gd name="connsiteY37-540" fmla="*/ 2031113 h 7291226"/>
              <a:gd name="connsiteX38-541" fmla="*/ 5273037 w 9397013"/>
              <a:gd name="connsiteY38-542" fmla="*/ 1732846 h 7291226"/>
              <a:gd name="connsiteX39-543" fmla="*/ 9397013 w 9397013"/>
              <a:gd name="connsiteY39-544" fmla="*/ 7134207 h 7291226"/>
              <a:gd name="connsiteX0-545" fmla="*/ 168369 w 9397013"/>
              <a:gd name="connsiteY0-546" fmla="*/ 4779933 h 7291226"/>
              <a:gd name="connsiteX1-547" fmla="*/ 0 w 9397013"/>
              <a:gd name="connsiteY1-548" fmla="*/ 4409146 h 7291226"/>
              <a:gd name="connsiteX2-549" fmla="*/ 3332806 w 9397013"/>
              <a:gd name="connsiteY2-550" fmla="*/ 0 h 7291226"/>
              <a:gd name="connsiteX3-551" fmla="*/ 3794560 w 9397013"/>
              <a:gd name="connsiteY3-552" fmla="*/ 32861 h 7291226"/>
              <a:gd name="connsiteX4-553" fmla="*/ 168369 w 9397013"/>
              <a:gd name="connsiteY4-554" fmla="*/ 4779933 h 7291226"/>
              <a:gd name="connsiteX5-555" fmla="*/ 488220 w 9397013"/>
              <a:gd name="connsiteY5-556" fmla="*/ 5484315 h 7291226"/>
              <a:gd name="connsiteX6-557" fmla="*/ 299082 w 9397013"/>
              <a:gd name="connsiteY6-558" fmla="*/ 5067791 h 7291226"/>
              <a:gd name="connsiteX7-559" fmla="*/ 4106456 w 9397013"/>
              <a:gd name="connsiteY7-560" fmla="*/ 55057 h 7291226"/>
              <a:gd name="connsiteX8-561" fmla="*/ 4585079 w 9397013"/>
              <a:gd name="connsiteY8-562" fmla="*/ 89119 h 7291226"/>
              <a:gd name="connsiteX9-563" fmla="*/ 488220 w 9397013"/>
              <a:gd name="connsiteY9-564" fmla="*/ 5484315 h 7291226"/>
              <a:gd name="connsiteX10-565" fmla="*/ 779421 w 9397013"/>
              <a:gd name="connsiteY10-566" fmla="*/ 6125606 h 7291226"/>
              <a:gd name="connsiteX11-567" fmla="*/ 618065 w 9397013"/>
              <a:gd name="connsiteY11-568" fmla="*/ 5770263 h 7291226"/>
              <a:gd name="connsiteX12-569" fmla="*/ 4897528 w 9397013"/>
              <a:gd name="connsiteY12-570" fmla="*/ 111354 h 7291226"/>
              <a:gd name="connsiteX13-571" fmla="*/ 5324893 w 9397013"/>
              <a:gd name="connsiteY13-572" fmla="*/ 141768 h 7291226"/>
              <a:gd name="connsiteX14-573" fmla="*/ 779421 w 9397013"/>
              <a:gd name="connsiteY14-574" fmla="*/ 6125606 h 7291226"/>
              <a:gd name="connsiteX15-575" fmla="*/ 1099910 w 9397013"/>
              <a:gd name="connsiteY15-576" fmla="*/ 6831395 h 7291226"/>
              <a:gd name="connsiteX16-577" fmla="*/ 919656 w 9397013"/>
              <a:gd name="connsiteY16-578" fmla="*/ 6434435 h 7291226"/>
              <a:gd name="connsiteX17-579" fmla="*/ 5668965 w 9397013"/>
              <a:gd name="connsiteY17-580" fmla="*/ 166254 h 7291226"/>
              <a:gd name="connsiteX18-581" fmla="*/ 6114044 w 9397013"/>
              <a:gd name="connsiteY18-582" fmla="*/ 197929 h 7291226"/>
              <a:gd name="connsiteX19-583" fmla="*/ 1099910 w 9397013"/>
              <a:gd name="connsiteY19-584" fmla="*/ 6831395 h 7291226"/>
              <a:gd name="connsiteX20-585" fmla="*/ 7106560 w 9397013"/>
              <a:gd name="connsiteY20-586" fmla="*/ 7291226 h 7291226"/>
              <a:gd name="connsiteX21-587" fmla="*/ 6670875 w 9397013"/>
              <a:gd name="connsiteY21-588" fmla="*/ 7291226 h 7291226"/>
              <a:gd name="connsiteX22-589" fmla="*/ 3849932 w 9397013"/>
              <a:gd name="connsiteY22-590" fmla="*/ 3596670 h 7291226"/>
              <a:gd name="connsiteX23-591" fmla="*/ 4086202 w 9397013"/>
              <a:gd name="connsiteY23-592" fmla="*/ 3287229 h 7291226"/>
              <a:gd name="connsiteX24-593" fmla="*/ 7106560 w 9397013"/>
              <a:gd name="connsiteY24-594" fmla="*/ 7291226 h 7291226"/>
              <a:gd name="connsiteX25-595" fmla="*/ 7777211 w 9397013"/>
              <a:gd name="connsiteY25-596" fmla="*/ 7124972 h 7291226"/>
              <a:gd name="connsiteX26-597" fmla="*/ 7444802 w 9397013"/>
              <a:gd name="connsiteY26-598" fmla="*/ 7291226 h 7291226"/>
              <a:gd name="connsiteX27-599" fmla="*/ 4245793 w 9397013"/>
              <a:gd name="connsiteY27-600" fmla="*/ 3078214 h 7291226"/>
              <a:gd name="connsiteX28-601" fmla="*/ 4490696 w 9397013"/>
              <a:gd name="connsiteY28-602" fmla="*/ 2757469 h 7291226"/>
              <a:gd name="connsiteX29-603" fmla="*/ 7777211 w 9397013"/>
              <a:gd name="connsiteY29-604" fmla="*/ 7124972 h 7291226"/>
              <a:gd name="connsiteX30-605" fmla="*/ 8567691 w 9397013"/>
              <a:gd name="connsiteY30-606" fmla="*/ 7124971 h 7291226"/>
              <a:gd name="connsiteX31-607" fmla="*/ 8159389 w 9397013"/>
              <a:gd name="connsiteY31-608" fmla="*/ 7134208 h 7291226"/>
              <a:gd name="connsiteX32-609" fmla="*/ 4650570 w 9397013"/>
              <a:gd name="connsiteY32-610" fmla="*/ 2548084 h 7291226"/>
              <a:gd name="connsiteX33-611" fmla="*/ 4869244 w 9397013"/>
              <a:gd name="connsiteY33-612" fmla="*/ 2261689 h 7291226"/>
              <a:gd name="connsiteX34-613" fmla="*/ 8567691 w 9397013"/>
              <a:gd name="connsiteY34-614" fmla="*/ 7124971 h 7291226"/>
              <a:gd name="connsiteX35-615" fmla="*/ 9397013 w 9397013"/>
              <a:gd name="connsiteY35-616" fmla="*/ 7134207 h 7291226"/>
              <a:gd name="connsiteX36-617" fmla="*/ 8921338 w 9397013"/>
              <a:gd name="connsiteY36-618" fmla="*/ 7115735 h 7291226"/>
              <a:gd name="connsiteX37-619" fmla="*/ 5045299 w 9397013"/>
              <a:gd name="connsiteY37-620" fmla="*/ 2031113 h 7291226"/>
              <a:gd name="connsiteX38-621" fmla="*/ 5273037 w 9397013"/>
              <a:gd name="connsiteY38-622" fmla="*/ 1732846 h 7291226"/>
              <a:gd name="connsiteX39-623" fmla="*/ 9397013 w 9397013"/>
              <a:gd name="connsiteY39-624" fmla="*/ 7134207 h 7291226"/>
              <a:gd name="connsiteX0-625" fmla="*/ 168369 w 9397013"/>
              <a:gd name="connsiteY0-626" fmla="*/ 4779933 h 7291226"/>
              <a:gd name="connsiteX1-627" fmla="*/ 0 w 9397013"/>
              <a:gd name="connsiteY1-628" fmla="*/ 4409146 h 7291226"/>
              <a:gd name="connsiteX2-629" fmla="*/ 3332806 w 9397013"/>
              <a:gd name="connsiteY2-630" fmla="*/ 0 h 7291226"/>
              <a:gd name="connsiteX3-631" fmla="*/ 3794560 w 9397013"/>
              <a:gd name="connsiteY3-632" fmla="*/ 32861 h 7291226"/>
              <a:gd name="connsiteX4-633" fmla="*/ 168369 w 9397013"/>
              <a:gd name="connsiteY4-634" fmla="*/ 4779933 h 7291226"/>
              <a:gd name="connsiteX5-635" fmla="*/ 488220 w 9397013"/>
              <a:gd name="connsiteY5-636" fmla="*/ 5484315 h 7291226"/>
              <a:gd name="connsiteX6-637" fmla="*/ 299082 w 9397013"/>
              <a:gd name="connsiteY6-638" fmla="*/ 5067791 h 7291226"/>
              <a:gd name="connsiteX7-639" fmla="*/ 4106456 w 9397013"/>
              <a:gd name="connsiteY7-640" fmla="*/ 55057 h 7291226"/>
              <a:gd name="connsiteX8-641" fmla="*/ 4585079 w 9397013"/>
              <a:gd name="connsiteY8-642" fmla="*/ 89119 h 7291226"/>
              <a:gd name="connsiteX9-643" fmla="*/ 488220 w 9397013"/>
              <a:gd name="connsiteY9-644" fmla="*/ 5484315 h 7291226"/>
              <a:gd name="connsiteX10-645" fmla="*/ 779421 w 9397013"/>
              <a:gd name="connsiteY10-646" fmla="*/ 6125606 h 7291226"/>
              <a:gd name="connsiteX11-647" fmla="*/ 618065 w 9397013"/>
              <a:gd name="connsiteY11-648" fmla="*/ 5770263 h 7291226"/>
              <a:gd name="connsiteX12-649" fmla="*/ 4897528 w 9397013"/>
              <a:gd name="connsiteY12-650" fmla="*/ 111354 h 7291226"/>
              <a:gd name="connsiteX13-651" fmla="*/ 5324893 w 9397013"/>
              <a:gd name="connsiteY13-652" fmla="*/ 141768 h 7291226"/>
              <a:gd name="connsiteX14-653" fmla="*/ 779421 w 9397013"/>
              <a:gd name="connsiteY14-654" fmla="*/ 6125606 h 7291226"/>
              <a:gd name="connsiteX15-655" fmla="*/ 1099910 w 9397013"/>
              <a:gd name="connsiteY15-656" fmla="*/ 6831395 h 7291226"/>
              <a:gd name="connsiteX16-657" fmla="*/ 919656 w 9397013"/>
              <a:gd name="connsiteY16-658" fmla="*/ 6434435 h 7291226"/>
              <a:gd name="connsiteX17-659" fmla="*/ 5668965 w 9397013"/>
              <a:gd name="connsiteY17-660" fmla="*/ 166254 h 7291226"/>
              <a:gd name="connsiteX18-661" fmla="*/ 6114044 w 9397013"/>
              <a:gd name="connsiteY18-662" fmla="*/ 197929 h 7291226"/>
              <a:gd name="connsiteX19-663" fmla="*/ 1099910 w 9397013"/>
              <a:gd name="connsiteY19-664" fmla="*/ 6831395 h 7291226"/>
              <a:gd name="connsiteX20-665" fmla="*/ 7106560 w 9397013"/>
              <a:gd name="connsiteY20-666" fmla="*/ 7291226 h 7291226"/>
              <a:gd name="connsiteX21-667" fmla="*/ 6670875 w 9397013"/>
              <a:gd name="connsiteY21-668" fmla="*/ 7291226 h 7291226"/>
              <a:gd name="connsiteX22-669" fmla="*/ 3849932 w 9397013"/>
              <a:gd name="connsiteY22-670" fmla="*/ 3596670 h 7291226"/>
              <a:gd name="connsiteX23-671" fmla="*/ 4086202 w 9397013"/>
              <a:gd name="connsiteY23-672" fmla="*/ 3287229 h 7291226"/>
              <a:gd name="connsiteX24-673" fmla="*/ 7106560 w 9397013"/>
              <a:gd name="connsiteY24-674" fmla="*/ 7291226 h 7291226"/>
              <a:gd name="connsiteX25-675" fmla="*/ 7777211 w 9397013"/>
              <a:gd name="connsiteY25-676" fmla="*/ 7124972 h 7291226"/>
              <a:gd name="connsiteX26-677" fmla="*/ 7324729 w 9397013"/>
              <a:gd name="connsiteY26-678" fmla="*/ 7124972 h 7291226"/>
              <a:gd name="connsiteX27-679" fmla="*/ 4245793 w 9397013"/>
              <a:gd name="connsiteY27-680" fmla="*/ 3078214 h 7291226"/>
              <a:gd name="connsiteX28-681" fmla="*/ 4490696 w 9397013"/>
              <a:gd name="connsiteY28-682" fmla="*/ 2757469 h 7291226"/>
              <a:gd name="connsiteX29-683" fmla="*/ 7777211 w 9397013"/>
              <a:gd name="connsiteY29-684" fmla="*/ 7124972 h 7291226"/>
              <a:gd name="connsiteX30-685" fmla="*/ 8567691 w 9397013"/>
              <a:gd name="connsiteY30-686" fmla="*/ 7124971 h 7291226"/>
              <a:gd name="connsiteX31-687" fmla="*/ 8159389 w 9397013"/>
              <a:gd name="connsiteY31-688" fmla="*/ 7134208 h 7291226"/>
              <a:gd name="connsiteX32-689" fmla="*/ 4650570 w 9397013"/>
              <a:gd name="connsiteY32-690" fmla="*/ 2548084 h 7291226"/>
              <a:gd name="connsiteX33-691" fmla="*/ 4869244 w 9397013"/>
              <a:gd name="connsiteY33-692" fmla="*/ 2261689 h 7291226"/>
              <a:gd name="connsiteX34-693" fmla="*/ 8567691 w 9397013"/>
              <a:gd name="connsiteY34-694" fmla="*/ 7124971 h 7291226"/>
              <a:gd name="connsiteX35-695" fmla="*/ 9397013 w 9397013"/>
              <a:gd name="connsiteY35-696" fmla="*/ 7134207 h 7291226"/>
              <a:gd name="connsiteX36-697" fmla="*/ 8921338 w 9397013"/>
              <a:gd name="connsiteY36-698" fmla="*/ 7115735 h 7291226"/>
              <a:gd name="connsiteX37-699" fmla="*/ 5045299 w 9397013"/>
              <a:gd name="connsiteY37-700" fmla="*/ 2031113 h 7291226"/>
              <a:gd name="connsiteX38-701" fmla="*/ 5273037 w 9397013"/>
              <a:gd name="connsiteY38-702" fmla="*/ 1732846 h 7291226"/>
              <a:gd name="connsiteX39-703" fmla="*/ 9397013 w 9397013"/>
              <a:gd name="connsiteY39-704" fmla="*/ 7134207 h 7291226"/>
              <a:gd name="connsiteX0-705" fmla="*/ 168369 w 9397013"/>
              <a:gd name="connsiteY0-706" fmla="*/ 4779933 h 7291226"/>
              <a:gd name="connsiteX1-707" fmla="*/ 0 w 9397013"/>
              <a:gd name="connsiteY1-708" fmla="*/ 4409146 h 7291226"/>
              <a:gd name="connsiteX2-709" fmla="*/ 3332806 w 9397013"/>
              <a:gd name="connsiteY2-710" fmla="*/ 0 h 7291226"/>
              <a:gd name="connsiteX3-711" fmla="*/ 3794560 w 9397013"/>
              <a:gd name="connsiteY3-712" fmla="*/ 32861 h 7291226"/>
              <a:gd name="connsiteX4-713" fmla="*/ 168369 w 9397013"/>
              <a:gd name="connsiteY4-714" fmla="*/ 4779933 h 7291226"/>
              <a:gd name="connsiteX5-715" fmla="*/ 488220 w 9397013"/>
              <a:gd name="connsiteY5-716" fmla="*/ 5484315 h 7291226"/>
              <a:gd name="connsiteX6-717" fmla="*/ 299082 w 9397013"/>
              <a:gd name="connsiteY6-718" fmla="*/ 5067791 h 7291226"/>
              <a:gd name="connsiteX7-719" fmla="*/ 4106456 w 9397013"/>
              <a:gd name="connsiteY7-720" fmla="*/ 55057 h 7291226"/>
              <a:gd name="connsiteX8-721" fmla="*/ 4585079 w 9397013"/>
              <a:gd name="connsiteY8-722" fmla="*/ 89119 h 7291226"/>
              <a:gd name="connsiteX9-723" fmla="*/ 488220 w 9397013"/>
              <a:gd name="connsiteY9-724" fmla="*/ 5484315 h 7291226"/>
              <a:gd name="connsiteX10-725" fmla="*/ 779421 w 9397013"/>
              <a:gd name="connsiteY10-726" fmla="*/ 6125606 h 7291226"/>
              <a:gd name="connsiteX11-727" fmla="*/ 618065 w 9397013"/>
              <a:gd name="connsiteY11-728" fmla="*/ 5770263 h 7291226"/>
              <a:gd name="connsiteX12-729" fmla="*/ 4897528 w 9397013"/>
              <a:gd name="connsiteY12-730" fmla="*/ 111354 h 7291226"/>
              <a:gd name="connsiteX13-731" fmla="*/ 5324893 w 9397013"/>
              <a:gd name="connsiteY13-732" fmla="*/ 141768 h 7291226"/>
              <a:gd name="connsiteX14-733" fmla="*/ 779421 w 9397013"/>
              <a:gd name="connsiteY14-734" fmla="*/ 6125606 h 7291226"/>
              <a:gd name="connsiteX15-735" fmla="*/ 1099910 w 9397013"/>
              <a:gd name="connsiteY15-736" fmla="*/ 6831395 h 7291226"/>
              <a:gd name="connsiteX16-737" fmla="*/ 919656 w 9397013"/>
              <a:gd name="connsiteY16-738" fmla="*/ 6434435 h 7291226"/>
              <a:gd name="connsiteX17-739" fmla="*/ 5668965 w 9397013"/>
              <a:gd name="connsiteY17-740" fmla="*/ 166254 h 7291226"/>
              <a:gd name="connsiteX18-741" fmla="*/ 6114044 w 9397013"/>
              <a:gd name="connsiteY18-742" fmla="*/ 197929 h 7291226"/>
              <a:gd name="connsiteX19-743" fmla="*/ 1099910 w 9397013"/>
              <a:gd name="connsiteY19-744" fmla="*/ 6831395 h 7291226"/>
              <a:gd name="connsiteX20-745" fmla="*/ 6968015 w 9397013"/>
              <a:gd name="connsiteY20-746" fmla="*/ 7143444 h 7291226"/>
              <a:gd name="connsiteX21-747" fmla="*/ 6670875 w 9397013"/>
              <a:gd name="connsiteY21-748" fmla="*/ 7291226 h 7291226"/>
              <a:gd name="connsiteX22-749" fmla="*/ 3849932 w 9397013"/>
              <a:gd name="connsiteY22-750" fmla="*/ 3596670 h 7291226"/>
              <a:gd name="connsiteX23-751" fmla="*/ 4086202 w 9397013"/>
              <a:gd name="connsiteY23-752" fmla="*/ 3287229 h 7291226"/>
              <a:gd name="connsiteX24-753" fmla="*/ 6968015 w 9397013"/>
              <a:gd name="connsiteY24-754" fmla="*/ 7143444 h 7291226"/>
              <a:gd name="connsiteX25-755" fmla="*/ 7777211 w 9397013"/>
              <a:gd name="connsiteY25-756" fmla="*/ 7124972 h 7291226"/>
              <a:gd name="connsiteX26-757" fmla="*/ 7324729 w 9397013"/>
              <a:gd name="connsiteY26-758" fmla="*/ 7124972 h 7291226"/>
              <a:gd name="connsiteX27-759" fmla="*/ 4245793 w 9397013"/>
              <a:gd name="connsiteY27-760" fmla="*/ 3078214 h 7291226"/>
              <a:gd name="connsiteX28-761" fmla="*/ 4490696 w 9397013"/>
              <a:gd name="connsiteY28-762" fmla="*/ 2757469 h 7291226"/>
              <a:gd name="connsiteX29-763" fmla="*/ 7777211 w 9397013"/>
              <a:gd name="connsiteY29-764" fmla="*/ 7124972 h 7291226"/>
              <a:gd name="connsiteX30-765" fmla="*/ 8567691 w 9397013"/>
              <a:gd name="connsiteY30-766" fmla="*/ 7124971 h 7291226"/>
              <a:gd name="connsiteX31-767" fmla="*/ 8159389 w 9397013"/>
              <a:gd name="connsiteY31-768" fmla="*/ 7134208 h 7291226"/>
              <a:gd name="connsiteX32-769" fmla="*/ 4650570 w 9397013"/>
              <a:gd name="connsiteY32-770" fmla="*/ 2548084 h 7291226"/>
              <a:gd name="connsiteX33-771" fmla="*/ 4869244 w 9397013"/>
              <a:gd name="connsiteY33-772" fmla="*/ 2261689 h 7291226"/>
              <a:gd name="connsiteX34-773" fmla="*/ 8567691 w 9397013"/>
              <a:gd name="connsiteY34-774" fmla="*/ 7124971 h 7291226"/>
              <a:gd name="connsiteX35-775" fmla="*/ 9397013 w 9397013"/>
              <a:gd name="connsiteY35-776" fmla="*/ 7134207 h 7291226"/>
              <a:gd name="connsiteX36-777" fmla="*/ 8921338 w 9397013"/>
              <a:gd name="connsiteY36-778" fmla="*/ 7115735 h 7291226"/>
              <a:gd name="connsiteX37-779" fmla="*/ 5045299 w 9397013"/>
              <a:gd name="connsiteY37-780" fmla="*/ 2031113 h 7291226"/>
              <a:gd name="connsiteX38-781" fmla="*/ 5273037 w 9397013"/>
              <a:gd name="connsiteY38-782" fmla="*/ 1732846 h 7291226"/>
              <a:gd name="connsiteX39-783" fmla="*/ 9397013 w 9397013"/>
              <a:gd name="connsiteY39-784" fmla="*/ 7134207 h 7291226"/>
              <a:gd name="connsiteX0-785" fmla="*/ 168369 w 9397013"/>
              <a:gd name="connsiteY0-786" fmla="*/ 4779933 h 7143444"/>
              <a:gd name="connsiteX1-787" fmla="*/ 0 w 9397013"/>
              <a:gd name="connsiteY1-788" fmla="*/ 4409146 h 7143444"/>
              <a:gd name="connsiteX2-789" fmla="*/ 3332806 w 9397013"/>
              <a:gd name="connsiteY2-790" fmla="*/ 0 h 7143444"/>
              <a:gd name="connsiteX3-791" fmla="*/ 3794560 w 9397013"/>
              <a:gd name="connsiteY3-792" fmla="*/ 32861 h 7143444"/>
              <a:gd name="connsiteX4-793" fmla="*/ 168369 w 9397013"/>
              <a:gd name="connsiteY4-794" fmla="*/ 4779933 h 7143444"/>
              <a:gd name="connsiteX5-795" fmla="*/ 488220 w 9397013"/>
              <a:gd name="connsiteY5-796" fmla="*/ 5484315 h 7143444"/>
              <a:gd name="connsiteX6-797" fmla="*/ 299082 w 9397013"/>
              <a:gd name="connsiteY6-798" fmla="*/ 5067791 h 7143444"/>
              <a:gd name="connsiteX7-799" fmla="*/ 4106456 w 9397013"/>
              <a:gd name="connsiteY7-800" fmla="*/ 55057 h 7143444"/>
              <a:gd name="connsiteX8-801" fmla="*/ 4585079 w 9397013"/>
              <a:gd name="connsiteY8-802" fmla="*/ 89119 h 7143444"/>
              <a:gd name="connsiteX9-803" fmla="*/ 488220 w 9397013"/>
              <a:gd name="connsiteY9-804" fmla="*/ 5484315 h 7143444"/>
              <a:gd name="connsiteX10-805" fmla="*/ 779421 w 9397013"/>
              <a:gd name="connsiteY10-806" fmla="*/ 6125606 h 7143444"/>
              <a:gd name="connsiteX11-807" fmla="*/ 618065 w 9397013"/>
              <a:gd name="connsiteY11-808" fmla="*/ 5770263 h 7143444"/>
              <a:gd name="connsiteX12-809" fmla="*/ 4897528 w 9397013"/>
              <a:gd name="connsiteY12-810" fmla="*/ 111354 h 7143444"/>
              <a:gd name="connsiteX13-811" fmla="*/ 5324893 w 9397013"/>
              <a:gd name="connsiteY13-812" fmla="*/ 141768 h 7143444"/>
              <a:gd name="connsiteX14-813" fmla="*/ 779421 w 9397013"/>
              <a:gd name="connsiteY14-814" fmla="*/ 6125606 h 7143444"/>
              <a:gd name="connsiteX15-815" fmla="*/ 1099910 w 9397013"/>
              <a:gd name="connsiteY15-816" fmla="*/ 6831395 h 7143444"/>
              <a:gd name="connsiteX16-817" fmla="*/ 919656 w 9397013"/>
              <a:gd name="connsiteY16-818" fmla="*/ 6434435 h 7143444"/>
              <a:gd name="connsiteX17-819" fmla="*/ 5668965 w 9397013"/>
              <a:gd name="connsiteY17-820" fmla="*/ 166254 h 7143444"/>
              <a:gd name="connsiteX18-821" fmla="*/ 6114044 w 9397013"/>
              <a:gd name="connsiteY18-822" fmla="*/ 197929 h 7143444"/>
              <a:gd name="connsiteX19-823" fmla="*/ 1099910 w 9397013"/>
              <a:gd name="connsiteY19-824" fmla="*/ 6831395 h 7143444"/>
              <a:gd name="connsiteX20-825" fmla="*/ 6968015 w 9397013"/>
              <a:gd name="connsiteY20-826" fmla="*/ 7143444 h 7143444"/>
              <a:gd name="connsiteX21-827" fmla="*/ 6550802 w 9397013"/>
              <a:gd name="connsiteY21-828" fmla="*/ 7143444 h 7143444"/>
              <a:gd name="connsiteX22-829" fmla="*/ 3849932 w 9397013"/>
              <a:gd name="connsiteY22-830" fmla="*/ 3596670 h 7143444"/>
              <a:gd name="connsiteX23-831" fmla="*/ 4086202 w 9397013"/>
              <a:gd name="connsiteY23-832" fmla="*/ 3287229 h 7143444"/>
              <a:gd name="connsiteX24-833" fmla="*/ 6968015 w 9397013"/>
              <a:gd name="connsiteY24-834" fmla="*/ 7143444 h 7143444"/>
              <a:gd name="connsiteX25-835" fmla="*/ 7777211 w 9397013"/>
              <a:gd name="connsiteY25-836" fmla="*/ 7124972 h 7143444"/>
              <a:gd name="connsiteX26-837" fmla="*/ 7324729 w 9397013"/>
              <a:gd name="connsiteY26-838" fmla="*/ 7124972 h 7143444"/>
              <a:gd name="connsiteX27-839" fmla="*/ 4245793 w 9397013"/>
              <a:gd name="connsiteY27-840" fmla="*/ 3078214 h 7143444"/>
              <a:gd name="connsiteX28-841" fmla="*/ 4490696 w 9397013"/>
              <a:gd name="connsiteY28-842" fmla="*/ 2757469 h 7143444"/>
              <a:gd name="connsiteX29-843" fmla="*/ 7777211 w 9397013"/>
              <a:gd name="connsiteY29-844" fmla="*/ 7124972 h 7143444"/>
              <a:gd name="connsiteX30-845" fmla="*/ 8567691 w 9397013"/>
              <a:gd name="connsiteY30-846" fmla="*/ 7124971 h 7143444"/>
              <a:gd name="connsiteX31-847" fmla="*/ 8159389 w 9397013"/>
              <a:gd name="connsiteY31-848" fmla="*/ 7134208 h 7143444"/>
              <a:gd name="connsiteX32-849" fmla="*/ 4650570 w 9397013"/>
              <a:gd name="connsiteY32-850" fmla="*/ 2548084 h 7143444"/>
              <a:gd name="connsiteX33-851" fmla="*/ 4869244 w 9397013"/>
              <a:gd name="connsiteY33-852" fmla="*/ 2261689 h 7143444"/>
              <a:gd name="connsiteX34-853" fmla="*/ 8567691 w 9397013"/>
              <a:gd name="connsiteY34-854" fmla="*/ 7124971 h 7143444"/>
              <a:gd name="connsiteX35-855" fmla="*/ 9397013 w 9397013"/>
              <a:gd name="connsiteY35-856" fmla="*/ 7134207 h 7143444"/>
              <a:gd name="connsiteX36-857" fmla="*/ 8921338 w 9397013"/>
              <a:gd name="connsiteY36-858" fmla="*/ 7115735 h 7143444"/>
              <a:gd name="connsiteX37-859" fmla="*/ 5045299 w 9397013"/>
              <a:gd name="connsiteY37-860" fmla="*/ 2031113 h 7143444"/>
              <a:gd name="connsiteX38-861" fmla="*/ 5273037 w 9397013"/>
              <a:gd name="connsiteY38-862" fmla="*/ 1732846 h 7143444"/>
              <a:gd name="connsiteX39-863" fmla="*/ 9397013 w 9397013"/>
              <a:gd name="connsiteY39-864" fmla="*/ 7134207 h 7143444"/>
              <a:gd name="connsiteX0-865" fmla="*/ 168369 w 9397013"/>
              <a:gd name="connsiteY0-866" fmla="*/ 4779933 h 7143444"/>
              <a:gd name="connsiteX1-867" fmla="*/ 0 w 9397013"/>
              <a:gd name="connsiteY1-868" fmla="*/ 4409146 h 7143444"/>
              <a:gd name="connsiteX2-869" fmla="*/ 3332806 w 9397013"/>
              <a:gd name="connsiteY2-870" fmla="*/ 0 h 7143444"/>
              <a:gd name="connsiteX3-871" fmla="*/ 3794560 w 9397013"/>
              <a:gd name="connsiteY3-872" fmla="*/ 32861 h 7143444"/>
              <a:gd name="connsiteX4-873" fmla="*/ 168369 w 9397013"/>
              <a:gd name="connsiteY4-874" fmla="*/ 4779933 h 7143444"/>
              <a:gd name="connsiteX5-875" fmla="*/ 488220 w 9397013"/>
              <a:gd name="connsiteY5-876" fmla="*/ 5484315 h 7143444"/>
              <a:gd name="connsiteX6-877" fmla="*/ 299082 w 9397013"/>
              <a:gd name="connsiteY6-878" fmla="*/ 5067791 h 7143444"/>
              <a:gd name="connsiteX7-879" fmla="*/ 4106456 w 9397013"/>
              <a:gd name="connsiteY7-880" fmla="*/ 55057 h 7143444"/>
              <a:gd name="connsiteX8-881" fmla="*/ 4585079 w 9397013"/>
              <a:gd name="connsiteY8-882" fmla="*/ 89119 h 7143444"/>
              <a:gd name="connsiteX9-883" fmla="*/ 488220 w 9397013"/>
              <a:gd name="connsiteY9-884" fmla="*/ 5484315 h 7143444"/>
              <a:gd name="connsiteX10-885" fmla="*/ 779421 w 9397013"/>
              <a:gd name="connsiteY10-886" fmla="*/ 6125606 h 7143444"/>
              <a:gd name="connsiteX11-887" fmla="*/ 618065 w 9397013"/>
              <a:gd name="connsiteY11-888" fmla="*/ 5770263 h 7143444"/>
              <a:gd name="connsiteX12-889" fmla="*/ 4897528 w 9397013"/>
              <a:gd name="connsiteY12-890" fmla="*/ 111354 h 7143444"/>
              <a:gd name="connsiteX13-891" fmla="*/ 5324893 w 9397013"/>
              <a:gd name="connsiteY13-892" fmla="*/ 141768 h 7143444"/>
              <a:gd name="connsiteX14-893" fmla="*/ 779421 w 9397013"/>
              <a:gd name="connsiteY14-894" fmla="*/ 6125606 h 7143444"/>
              <a:gd name="connsiteX15-895" fmla="*/ 1099910 w 9397013"/>
              <a:gd name="connsiteY15-896" fmla="*/ 6831395 h 7143444"/>
              <a:gd name="connsiteX16-897" fmla="*/ 919656 w 9397013"/>
              <a:gd name="connsiteY16-898" fmla="*/ 6434435 h 7143444"/>
              <a:gd name="connsiteX17-899" fmla="*/ 5668965 w 9397013"/>
              <a:gd name="connsiteY17-900" fmla="*/ 166254 h 7143444"/>
              <a:gd name="connsiteX18-901" fmla="*/ 6114044 w 9397013"/>
              <a:gd name="connsiteY18-902" fmla="*/ 197929 h 7143444"/>
              <a:gd name="connsiteX19-903" fmla="*/ 1099910 w 9397013"/>
              <a:gd name="connsiteY19-904" fmla="*/ 6831395 h 7143444"/>
              <a:gd name="connsiteX20-905" fmla="*/ 6958778 w 9397013"/>
              <a:gd name="connsiteY20-906" fmla="*/ 7124971 h 7143444"/>
              <a:gd name="connsiteX21-907" fmla="*/ 6550802 w 9397013"/>
              <a:gd name="connsiteY21-908" fmla="*/ 7143444 h 7143444"/>
              <a:gd name="connsiteX22-909" fmla="*/ 3849932 w 9397013"/>
              <a:gd name="connsiteY22-910" fmla="*/ 3596670 h 7143444"/>
              <a:gd name="connsiteX23-911" fmla="*/ 4086202 w 9397013"/>
              <a:gd name="connsiteY23-912" fmla="*/ 3287229 h 7143444"/>
              <a:gd name="connsiteX24-913" fmla="*/ 6958778 w 9397013"/>
              <a:gd name="connsiteY24-914" fmla="*/ 7124971 h 7143444"/>
              <a:gd name="connsiteX25-915" fmla="*/ 7777211 w 9397013"/>
              <a:gd name="connsiteY25-916" fmla="*/ 7124972 h 7143444"/>
              <a:gd name="connsiteX26-917" fmla="*/ 7324729 w 9397013"/>
              <a:gd name="connsiteY26-918" fmla="*/ 7124972 h 7143444"/>
              <a:gd name="connsiteX27-919" fmla="*/ 4245793 w 9397013"/>
              <a:gd name="connsiteY27-920" fmla="*/ 3078214 h 7143444"/>
              <a:gd name="connsiteX28-921" fmla="*/ 4490696 w 9397013"/>
              <a:gd name="connsiteY28-922" fmla="*/ 2757469 h 7143444"/>
              <a:gd name="connsiteX29-923" fmla="*/ 7777211 w 9397013"/>
              <a:gd name="connsiteY29-924" fmla="*/ 7124972 h 7143444"/>
              <a:gd name="connsiteX30-925" fmla="*/ 8567691 w 9397013"/>
              <a:gd name="connsiteY30-926" fmla="*/ 7124971 h 7143444"/>
              <a:gd name="connsiteX31-927" fmla="*/ 8159389 w 9397013"/>
              <a:gd name="connsiteY31-928" fmla="*/ 7134208 h 7143444"/>
              <a:gd name="connsiteX32-929" fmla="*/ 4650570 w 9397013"/>
              <a:gd name="connsiteY32-930" fmla="*/ 2548084 h 7143444"/>
              <a:gd name="connsiteX33-931" fmla="*/ 4869244 w 9397013"/>
              <a:gd name="connsiteY33-932" fmla="*/ 2261689 h 7143444"/>
              <a:gd name="connsiteX34-933" fmla="*/ 8567691 w 9397013"/>
              <a:gd name="connsiteY34-934" fmla="*/ 7124971 h 7143444"/>
              <a:gd name="connsiteX35-935" fmla="*/ 9397013 w 9397013"/>
              <a:gd name="connsiteY35-936" fmla="*/ 7134207 h 7143444"/>
              <a:gd name="connsiteX36-937" fmla="*/ 8921338 w 9397013"/>
              <a:gd name="connsiteY36-938" fmla="*/ 7115735 h 7143444"/>
              <a:gd name="connsiteX37-939" fmla="*/ 5045299 w 9397013"/>
              <a:gd name="connsiteY37-940" fmla="*/ 2031113 h 7143444"/>
              <a:gd name="connsiteX38-941" fmla="*/ 5273037 w 9397013"/>
              <a:gd name="connsiteY38-942" fmla="*/ 1732846 h 7143444"/>
              <a:gd name="connsiteX39-943" fmla="*/ 9397013 w 9397013"/>
              <a:gd name="connsiteY39-944" fmla="*/ 7134207 h 7143444"/>
              <a:gd name="connsiteX0-945" fmla="*/ 168369 w 9397013"/>
              <a:gd name="connsiteY0-946" fmla="*/ 4779933 h 7134208"/>
              <a:gd name="connsiteX1-947" fmla="*/ 0 w 9397013"/>
              <a:gd name="connsiteY1-948" fmla="*/ 4409146 h 7134208"/>
              <a:gd name="connsiteX2-949" fmla="*/ 3332806 w 9397013"/>
              <a:gd name="connsiteY2-950" fmla="*/ 0 h 7134208"/>
              <a:gd name="connsiteX3-951" fmla="*/ 3794560 w 9397013"/>
              <a:gd name="connsiteY3-952" fmla="*/ 32861 h 7134208"/>
              <a:gd name="connsiteX4-953" fmla="*/ 168369 w 9397013"/>
              <a:gd name="connsiteY4-954" fmla="*/ 4779933 h 7134208"/>
              <a:gd name="connsiteX5-955" fmla="*/ 488220 w 9397013"/>
              <a:gd name="connsiteY5-956" fmla="*/ 5484315 h 7134208"/>
              <a:gd name="connsiteX6-957" fmla="*/ 299082 w 9397013"/>
              <a:gd name="connsiteY6-958" fmla="*/ 5067791 h 7134208"/>
              <a:gd name="connsiteX7-959" fmla="*/ 4106456 w 9397013"/>
              <a:gd name="connsiteY7-960" fmla="*/ 55057 h 7134208"/>
              <a:gd name="connsiteX8-961" fmla="*/ 4585079 w 9397013"/>
              <a:gd name="connsiteY8-962" fmla="*/ 89119 h 7134208"/>
              <a:gd name="connsiteX9-963" fmla="*/ 488220 w 9397013"/>
              <a:gd name="connsiteY9-964" fmla="*/ 5484315 h 7134208"/>
              <a:gd name="connsiteX10-965" fmla="*/ 779421 w 9397013"/>
              <a:gd name="connsiteY10-966" fmla="*/ 6125606 h 7134208"/>
              <a:gd name="connsiteX11-967" fmla="*/ 618065 w 9397013"/>
              <a:gd name="connsiteY11-968" fmla="*/ 5770263 h 7134208"/>
              <a:gd name="connsiteX12-969" fmla="*/ 4897528 w 9397013"/>
              <a:gd name="connsiteY12-970" fmla="*/ 111354 h 7134208"/>
              <a:gd name="connsiteX13-971" fmla="*/ 5324893 w 9397013"/>
              <a:gd name="connsiteY13-972" fmla="*/ 141768 h 7134208"/>
              <a:gd name="connsiteX14-973" fmla="*/ 779421 w 9397013"/>
              <a:gd name="connsiteY14-974" fmla="*/ 6125606 h 7134208"/>
              <a:gd name="connsiteX15-975" fmla="*/ 1099910 w 9397013"/>
              <a:gd name="connsiteY15-976" fmla="*/ 6831395 h 7134208"/>
              <a:gd name="connsiteX16-977" fmla="*/ 919656 w 9397013"/>
              <a:gd name="connsiteY16-978" fmla="*/ 6434435 h 7134208"/>
              <a:gd name="connsiteX17-979" fmla="*/ 5668965 w 9397013"/>
              <a:gd name="connsiteY17-980" fmla="*/ 166254 h 7134208"/>
              <a:gd name="connsiteX18-981" fmla="*/ 6114044 w 9397013"/>
              <a:gd name="connsiteY18-982" fmla="*/ 197929 h 7134208"/>
              <a:gd name="connsiteX19-983" fmla="*/ 1099910 w 9397013"/>
              <a:gd name="connsiteY19-984" fmla="*/ 6831395 h 7134208"/>
              <a:gd name="connsiteX20-985" fmla="*/ 6958778 w 9397013"/>
              <a:gd name="connsiteY20-986" fmla="*/ 7124971 h 7134208"/>
              <a:gd name="connsiteX21-987" fmla="*/ 6541566 w 9397013"/>
              <a:gd name="connsiteY21-988" fmla="*/ 7115735 h 7134208"/>
              <a:gd name="connsiteX22-989" fmla="*/ 3849932 w 9397013"/>
              <a:gd name="connsiteY22-990" fmla="*/ 3596670 h 7134208"/>
              <a:gd name="connsiteX23-991" fmla="*/ 4086202 w 9397013"/>
              <a:gd name="connsiteY23-992" fmla="*/ 3287229 h 7134208"/>
              <a:gd name="connsiteX24-993" fmla="*/ 6958778 w 9397013"/>
              <a:gd name="connsiteY24-994" fmla="*/ 7124971 h 7134208"/>
              <a:gd name="connsiteX25-995" fmla="*/ 7777211 w 9397013"/>
              <a:gd name="connsiteY25-996" fmla="*/ 7124972 h 7134208"/>
              <a:gd name="connsiteX26-997" fmla="*/ 7324729 w 9397013"/>
              <a:gd name="connsiteY26-998" fmla="*/ 7124972 h 7134208"/>
              <a:gd name="connsiteX27-999" fmla="*/ 4245793 w 9397013"/>
              <a:gd name="connsiteY27-1000" fmla="*/ 3078214 h 7134208"/>
              <a:gd name="connsiteX28-1001" fmla="*/ 4490696 w 9397013"/>
              <a:gd name="connsiteY28-1002" fmla="*/ 2757469 h 7134208"/>
              <a:gd name="connsiteX29-1003" fmla="*/ 7777211 w 9397013"/>
              <a:gd name="connsiteY29-1004" fmla="*/ 7124972 h 7134208"/>
              <a:gd name="connsiteX30-1005" fmla="*/ 8567691 w 9397013"/>
              <a:gd name="connsiteY30-1006" fmla="*/ 7124971 h 7134208"/>
              <a:gd name="connsiteX31-1007" fmla="*/ 8159389 w 9397013"/>
              <a:gd name="connsiteY31-1008" fmla="*/ 7134208 h 7134208"/>
              <a:gd name="connsiteX32-1009" fmla="*/ 4650570 w 9397013"/>
              <a:gd name="connsiteY32-1010" fmla="*/ 2548084 h 7134208"/>
              <a:gd name="connsiteX33-1011" fmla="*/ 4869244 w 9397013"/>
              <a:gd name="connsiteY33-1012" fmla="*/ 2261689 h 7134208"/>
              <a:gd name="connsiteX34-1013" fmla="*/ 8567691 w 9397013"/>
              <a:gd name="connsiteY34-1014" fmla="*/ 7124971 h 7134208"/>
              <a:gd name="connsiteX35-1015" fmla="*/ 9397013 w 9397013"/>
              <a:gd name="connsiteY35-1016" fmla="*/ 7134207 h 7134208"/>
              <a:gd name="connsiteX36-1017" fmla="*/ 8921338 w 9397013"/>
              <a:gd name="connsiteY36-1018" fmla="*/ 7115735 h 7134208"/>
              <a:gd name="connsiteX37-1019" fmla="*/ 5045299 w 9397013"/>
              <a:gd name="connsiteY37-1020" fmla="*/ 2031113 h 7134208"/>
              <a:gd name="connsiteX38-1021" fmla="*/ 5273037 w 9397013"/>
              <a:gd name="connsiteY38-1022" fmla="*/ 1732846 h 7134208"/>
              <a:gd name="connsiteX39-1023" fmla="*/ 9397013 w 9397013"/>
              <a:gd name="connsiteY39-1024" fmla="*/ 7134207 h 7134208"/>
              <a:gd name="connsiteX0-1025" fmla="*/ 168369 w 9397013"/>
              <a:gd name="connsiteY0-1026" fmla="*/ 4779933 h 7134208"/>
              <a:gd name="connsiteX1-1027" fmla="*/ 0 w 9397013"/>
              <a:gd name="connsiteY1-1028" fmla="*/ 4409146 h 7134208"/>
              <a:gd name="connsiteX2-1029" fmla="*/ 3332806 w 9397013"/>
              <a:gd name="connsiteY2-1030" fmla="*/ 0 h 7134208"/>
              <a:gd name="connsiteX3-1031" fmla="*/ 3794560 w 9397013"/>
              <a:gd name="connsiteY3-1032" fmla="*/ 32861 h 7134208"/>
              <a:gd name="connsiteX4-1033" fmla="*/ 168369 w 9397013"/>
              <a:gd name="connsiteY4-1034" fmla="*/ 4779933 h 7134208"/>
              <a:gd name="connsiteX5-1035" fmla="*/ 488220 w 9397013"/>
              <a:gd name="connsiteY5-1036" fmla="*/ 5484315 h 7134208"/>
              <a:gd name="connsiteX6-1037" fmla="*/ 299082 w 9397013"/>
              <a:gd name="connsiteY6-1038" fmla="*/ 5067791 h 7134208"/>
              <a:gd name="connsiteX7-1039" fmla="*/ 4106456 w 9397013"/>
              <a:gd name="connsiteY7-1040" fmla="*/ 55057 h 7134208"/>
              <a:gd name="connsiteX8-1041" fmla="*/ 4585079 w 9397013"/>
              <a:gd name="connsiteY8-1042" fmla="*/ 89119 h 7134208"/>
              <a:gd name="connsiteX9-1043" fmla="*/ 488220 w 9397013"/>
              <a:gd name="connsiteY9-1044" fmla="*/ 5484315 h 7134208"/>
              <a:gd name="connsiteX10-1045" fmla="*/ 779421 w 9397013"/>
              <a:gd name="connsiteY10-1046" fmla="*/ 6125606 h 7134208"/>
              <a:gd name="connsiteX11-1047" fmla="*/ 618065 w 9397013"/>
              <a:gd name="connsiteY11-1048" fmla="*/ 5770263 h 7134208"/>
              <a:gd name="connsiteX12-1049" fmla="*/ 4897528 w 9397013"/>
              <a:gd name="connsiteY12-1050" fmla="*/ 111354 h 7134208"/>
              <a:gd name="connsiteX13-1051" fmla="*/ 5324893 w 9397013"/>
              <a:gd name="connsiteY13-1052" fmla="*/ 141768 h 7134208"/>
              <a:gd name="connsiteX14-1053" fmla="*/ 779421 w 9397013"/>
              <a:gd name="connsiteY14-1054" fmla="*/ 6125606 h 7134208"/>
              <a:gd name="connsiteX15-1055" fmla="*/ 1099910 w 9397013"/>
              <a:gd name="connsiteY15-1056" fmla="*/ 6831395 h 7134208"/>
              <a:gd name="connsiteX16-1057" fmla="*/ 919656 w 9397013"/>
              <a:gd name="connsiteY16-1058" fmla="*/ 6434435 h 7134208"/>
              <a:gd name="connsiteX17-1059" fmla="*/ 5668965 w 9397013"/>
              <a:gd name="connsiteY17-1060" fmla="*/ 166254 h 7134208"/>
              <a:gd name="connsiteX18-1061" fmla="*/ 6114044 w 9397013"/>
              <a:gd name="connsiteY18-1062" fmla="*/ 197929 h 7134208"/>
              <a:gd name="connsiteX19-1063" fmla="*/ 1099910 w 9397013"/>
              <a:gd name="connsiteY19-1064" fmla="*/ 6831395 h 7134208"/>
              <a:gd name="connsiteX20-1065" fmla="*/ 6958778 w 9397013"/>
              <a:gd name="connsiteY20-1066" fmla="*/ 7124971 h 7134208"/>
              <a:gd name="connsiteX21-1067" fmla="*/ 6560038 w 9397013"/>
              <a:gd name="connsiteY21-1068" fmla="*/ 7134207 h 7134208"/>
              <a:gd name="connsiteX22-1069" fmla="*/ 3849932 w 9397013"/>
              <a:gd name="connsiteY22-1070" fmla="*/ 3596670 h 7134208"/>
              <a:gd name="connsiteX23-1071" fmla="*/ 4086202 w 9397013"/>
              <a:gd name="connsiteY23-1072" fmla="*/ 3287229 h 7134208"/>
              <a:gd name="connsiteX24-1073" fmla="*/ 6958778 w 9397013"/>
              <a:gd name="connsiteY24-1074" fmla="*/ 7124971 h 7134208"/>
              <a:gd name="connsiteX25-1075" fmla="*/ 7777211 w 9397013"/>
              <a:gd name="connsiteY25-1076" fmla="*/ 7124972 h 7134208"/>
              <a:gd name="connsiteX26-1077" fmla="*/ 7324729 w 9397013"/>
              <a:gd name="connsiteY26-1078" fmla="*/ 7124972 h 7134208"/>
              <a:gd name="connsiteX27-1079" fmla="*/ 4245793 w 9397013"/>
              <a:gd name="connsiteY27-1080" fmla="*/ 3078214 h 7134208"/>
              <a:gd name="connsiteX28-1081" fmla="*/ 4490696 w 9397013"/>
              <a:gd name="connsiteY28-1082" fmla="*/ 2757469 h 7134208"/>
              <a:gd name="connsiteX29-1083" fmla="*/ 7777211 w 9397013"/>
              <a:gd name="connsiteY29-1084" fmla="*/ 7124972 h 7134208"/>
              <a:gd name="connsiteX30-1085" fmla="*/ 8567691 w 9397013"/>
              <a:gd name="connsiteY30-1086" fmla="*/ 7124971 h 7134208"/>
              <a:gd name="connsiteX31-1087" fmla="*/ 8159389 w 9397013"/>
              <a:gd name="connsiteY31-1088" fmla="*/ 7134208 h 7134208"/>
              <a:gd name="connsiteX32-1089" fmla="*/ 4650570 w 9397013"/>
              <a:gd name="connsiteY32-1090" fmla="*/ 2548084 h 7134208"/>
              <a:gd name="connsiteX33-1091" fmla="*/ 4869244 w 9397013"/>
              <a:gd name="connsiteY33-1092" fmla="*/ 2261689 h 7134208"/>
              <a:gd name="connsiteX34-1093" fmla="*/ 8567691 w 9397013"/>
              <a:gd name="connsiteY34-1094" fmla="*/ 7124971 h 7134208"/>
              <a:gd name="connsiteX35-1095" fmla="*/ 9397013 w 9397013"/>
              <a:gd name="connsiteY35-1096" fmla="*/ 7134207 h 7134208"/>
              <a:gd name="connsiteX36-1097" fmla="*/ 8921338 w 9397013"/>
              <a:gd name="connsiteY36-1098" fmla="*/ 7115735 h 7134208"/>
              <a:gd name="connsiteX37-1099" fmla="*/ 5045299 w 9397013"/>
              <a:gd name="connsiteY37-1100" fmla="*/ 2031113 h 7134208"/>
              <a:gd name="connsiteX38-1101" fmla="*/ 5273037 w 9397013"/>
              <a:gd name="connsiteY38-1102" fmla="*/ 1732846 h 7134208"/>
              <a:gd name="connsiteX39-1103" fmla="*/ 9397013 w 9397013"/>
              <a:gd name="connsiteY39-1104" fmla="*/ 7134207 h 7134208"/>
              <a:gd name="connsiteX0-1105" fmla="*/ 168369 w 9397013"/>
              <a:gd name="connsiteY0-1106" fmla="*/ 4779933 h 7134208"/>
              <a:gd name="connsiteX1-1107" fmla="*/ 0 w 9397013"/>
              <a:gd name="connsiteY1-1108" fmla="*/ 4409146 h 7134208"/>
              <a:gd name="connsiteX2-1109" fmla="*/ 3332806 w 9397013"/>
              <a:gd name="connsiteY2-1110" fmla="*/ 0 h 7134208"/>
              <a:gd name="connsiteX3-1111" fmla="*/ 3794560 w 9397013"/>
              <a:gd name="connsiteY3-1112" fmla="*/ 32861 h 7134208"/>
              <a:gd name="connsiteX4-1113" fmla="*/ 168369 w 9397013"/>
              <a:gd name="connsiteY4-1114" fmla="*/ 4779933 h 7134208"/>
              <a:gd name="connsiteX5-1115" fmla="*/ 488220 w 9397013"/>
              <a:gd name="connsiteY5-1116" fmla="*/ 5484315 h 7134208"/>
              <a:gd name="connsiteX6-1117" fmla="*/ 299082 w 9397013"/>
              <a:gd name="connsiteY6-1118" fmla="*/ 5067791 h 7134208"/>
              <a:gd name="connsiteX7-1119" fmla="*/ 4106456 w 9397013"/>
              <a:gd name="connsiteY7-1120" fmla="*/ 55057 h 7134208"/>
              <a:gd name="connsiteX8-1121" fmla="*/ 4585079 w 9397013"/>
              <a:gd name="connsiteY8-1122" fmla="*/ 89119 h 7134208"/>
              <a:gd name="connsiteX9-1123" fmla="*/ 488220 w 9397013"/>
              <a:gd name="connsiteY9-1124" fmla="*/ 5484315 h 7134208"/>
              <a:gd name="connsiteX10-1125" fmla="*/ 779421 w 9397013"/>
              <a:gd name="connsiteY10-1126" fmla="*/ 6125606 h 7134208"/>
              <a:gd name="connsiteX11-1127" fmla="*/ 618065 w 9397013"/>
              <a:gd name="connsiteY11-1128" fmla="*/ 5770263 h 7134208"/>
              <a:gd name="connsiteX12-1129" fmla="*/ 4897528 w 9397013"/>
              <a:gd name="connsiteY12-1130" fmla="*/ 111354 h 7134208"/>
              <a:gd name="connsiteX13-1131" fmla="*/ 5324893 w 9397013"/>
              <a:gd name="connsiteY13-1132" fmla="*/ 141768 h 7134208"/>
              <a:gd name="connsiteX14-1133" fmla="*/ 779421 w 9397013"/>
              <a:gd name="connsiteY14-1134" fmla="*/ 6125606 h 7134208"/>
              <a:gd name="connsiteX15-1135" fmla="*/ 1099910 w 9397013"/>
              <a:gd name="connsiteY15-1136" fmla="*/ 6831395 h 7134208"/>
              <a:gd name="connsiteX16-1137" fmla="*/ 919656 w 9397013"/>
              <a:gd name="connsiteY16-1138" fmla="*/ 6434435 h 7134208"/>
              <a:gd name="connsiteX17-1139" fmla="*/ 5668965 w 9397013"/>
              <a:gd name="connsiteY17-1140" fmla="*/ 166254 h 7134208"/>
              <a:gd name="connsiteX18-1141" fmla="*/ 6077099 w 9397013"/>
              <a:gd name="connsiteY18-1142" fmla="*/ 225638 h 7134208"/>
              <a:gd name="connsiteX19-1143" fmla="*/ 1099910 w 9397013"/>
              <a:gd name="connsiteY19-1144" fmla="*/ 6831395 h 7134208"/>
              <a:gd name="connsiteX20-1145" fmla="*/ 6958778 w 9397013"/>
              <a:gd name="connsiteY20-1146" fmla="*/ 7124971 h 7134208"/>
              <a:gd name="connsiteX21-1147" fmla="*/ 6560038 w 9397013"/>
              <a:gd name="connsiteY21-1148" fmla="*/ 7134207 h 7134208"/>
              <a:gd name="connsiteX22-1149" fmla="*/ 3849932 w 9397013"/>
              <a:gd name="connsiteY22-1150" fmla="*/ 3596670 h 7134208"/>
              <a:gd name="connsiteX23-1151" fmla="*/ 4086202 w 9397013"/>
              <a:gd name="connsiteY23-1152" fmla="*/ 3287229 h 7134208"/>
              <a:gd name="connsiteX24-1153" fmla="*/ 6958778 w 9397013"/>
              <a:gd name="connsiteY24-1154" fmla="*/ 7124971 h 7134208"/>
              <a:gd name="connsiteX25-1155" fmla="*/ 7777211 w 9397013"/>
              <a:gd name="connsiteY25-1156" fmla="*/ 7124972 h 7134208"/>
              <a:gd name="connsiteX26-1157" fmla="*/ 7324729 w 9397013"/>
              <a:gd name="connsiteY26-1158" fmla="*/ 7124972 h 7134208"/>
              <a:gd name="connsiteX27-1159" fmla="*/ 4245793 w 9397013"/>
              <a:gd name="connsiteY27-1160" fmla="*/ 3078214 h 7134208"/>
              <a:gd name="connsiteX28-1161" fmla="*/ 4490696 w 9397013"/>
              <a:gd name="connsiteY28-1162" fmla="*/ 2757469 h 7134208"/>
              <a:gd name="connsiteX29-1163" fmla="*/ 7777211 w 9397013"/>
              <a:gd name="connsiteY29-1164" fmla="*/ 7124972 h 7134208"/>
              <a:gd name="connsiteX30-1165" fmla="*/ 8567691 w 9397013"/>
              <a:gd name="connsiteY30-1166" fmla="*/ 7124971 h 7134208"/>
              <a:gd name="connsiteX31-1167" fmla="*/ 8159389 w 9397013"/>
              <a:gd name="connsiteY31-1168" fmla="*/ 7134208 h 7134208"/>
              <a:gd name="connsiteX32-1169" fmla="*/ 4650570 w 9397013"/>
              <a:gd name="connsiteY32-1170" fmla="*/ 2548084 h 7134208"/>
              <a:gd name="connsiteX33-1171" fmla="*/ 4869244 w 9397013"/>
              <a:gd name="connsiteY33-1172" fmla="*/ 2261689 h 7134208"/>
              <a:gd name="connsiteX34-1173" fmla="*/ 8567691 w 9397013"/>
              <a:gd name="connsiteY34-1174" fmla="*/ 7124971 h 7134208"/>
              <a:gd name="connsiteX35-1175" fmla="*/ 9397013 w 9397013"/>
              <a:gd name="connsiteY35-1176" fmla="*/ 7134207 h 7134208"/>
              <a:gd name="connsiteX36-1177" fmla="*/ 8921338 w 9397013"/>
              <a:gd name="connsiteY36-1178" fmla="*/ 7115735 h 7134208"/>
              <a:gd name="connsiteX37-1179" fmla="*/ 5045299 w 9397013"/>
              <a:gd name="connsiteY37-1180" fmla="*/ 2031113 h 7134208"/>
              <a:gd name="connsiteX38-1181" fmla="*/ 5273037 w 9397013"/>
              <a:gd name="connsiteY38-1182" fmla="*/ 1732846 h 7134208"/>
              <a:gd name="connsiteX39-1183" fmla="*/ 9397013 w 9397013"/>
              <a:gd name="connsiteY39-1184" fmla="*/ 7134207 h 7134208"/>
              <a:gd name="connsiteX0-1185" fmla="*/ 168369 w 9397013"/>
              <a:gd name="connsiteY0-1186" fmla="*/ 4779933 h 7134208"/>
              <a:gd name="connsiteX1-1187" fmla="*/ 0 w 9397013"/>
              <a:gd name="connsiteY1-1188" fmla="*/ 4409146 h 7134208"/>
              <a:gd name="connsiteX2-1189" fmla="*/ 3332806 w 9397013"/>
              <a:gd name="connsiteY2-1190" fmla="*/ 0 h 7134208"/>
              <a:gd name="connsiteX3-1191" fmla="*/ 3794560 w 9397013"/>
              <a:gd name="connsiteY3-1192" fmla="*/ 32861 h 7134208"/>
              <a:gd name="connsiteX4-1193" fmla="*/ 168369 w 9397013"/>
              <a:gd name="connsiteY4-1194" fmla="*/ 4779933 h 7134208"/>
              <a:gd name="connsiteX5-1195" fmla="*/ 488220 w 9397013"/>
              <a:gd name="connsiteY5-1196" fmla="*/ 5484315 h 7134208"/>
              <a:gd name="connsiteX6-1197" fmla="*/ 299082 w 9397013"/>
              <a:gd name="connsiteY6-1198" fmla="*/ 5067791 h 7134208"/>
              <a:gd name="connsiteX7-1199" fmla="*/ 4106456 w 9397013"/>
              <a:gd name="connsiteY7-1200" fmla="*/ 55057 h 7134208"/>
              <a:gd name="connsiteX8-1201" fmla="*/ 4585079 w 9397013"/>
              <a:gd name="connsiteY8-1202" fmla="*/ 89119 h 7134208"/>
              <a:gd name="connsiteX9-1203" fmla="*/ 488220 w 9397013"/>
              <a:gd name="connsiteY9-1204" fmla="*/ 5484315 h 7134208"/>
              <a:gd name="connsiteX10-1205" fmla="*/ 779421 w 9397013"/>
              <a:gd name="connsiteY10-1206" fmla="*/ 6125606 h 7134208"/>
              <a:gd name="connsiteX11-1207" fmla="*/ 618065 w 9397013"/>
              <a:gd name="connsiteY11-1208" fmla="*/ 5770263 h 7134208"/>
              <a:gd name="connsiteX12-1209" fmla="*/ 4897528 w 9397013"/>
              <a:gd name="connsiteY12-1210" fmla="*/ 111354 h 7134208"/>
              <a:gd name="connsiteX13-1211" fmla="*/ 5324893 w 9397013"/>
              <a:gd name="connsiteY13-1212" fmla="*/ 141768 h 7134208"/>
              <a:gd name="connsiteX14-1213" fmla="*/ 779421 w 9397013"/>
              <a:gd name="connsiteY14-1214" fmla="*/ 6125606 h 7134208"/>
              <a:gd name="connsiteX15-1215" fmla="*/ 1099910 w 9397013"/>
              <a:gd name="connsiteY15-1216" fmla="*/ 6831395 h 7134208"/>
              <a:gd name="connsiteX16-1217" fmla="*/ 919656 w 9397013"/>
              <a:gd name="connsiteY16-1218" fmla="*/ 6434435 h 7134208"/>
              <a:gd name="connsiteX17-1219" fmla="*/ 5613547 w 9397013"/>
              <a:gd name="connsiteY17-1220" fmla="*/ 240145 h 7134208"/>
              <a:gd name="connsiteX18-1221" fmla="*/ 6077099 w 9397013"/>
              <a:gd name="connsiteY18-1222" fmla="*/ 225638 h 7134208"/>
              <a:gd name="connsiteX19-1223" fmla="*/ 1099910 w 9397013"/>
              <a:gd name="connsiteY19-1224" fmla="*/ 6831395 h 7134208"/>
              <a:gd name="connsiteX20-1225" fmla="*/ 6958778 w 9397013"/>
              <a:gd name="connsiteY20-1226" fmla="*/ 7124971 h 7134208"/>
              <a:gd name="connsiteX21-1227" fmla="*/ 6560038 w 9397013"/>
              <a:gd name="connsiteY21-1228" fmla="*/ 7134207 h 7134208"/>
              <a:gd name="connsiteX22-1229" fmla="*/ 3849932 w 9397013"/>
              <a:gd name="connsiteY22-1230" fmla="*/ 3596670 h 7134208"/>
              <a:gd name="connsiteX23-1231" fmla="*/ 4086202 w 9397013"/>
              <a:gd name="connsiteY23-1232" fmla="*/ 3287229 h 7134208"/>
              <a:gd name="connsiteX24-1233" fmla="*/ 6958778 w 9397013"/>
              <a:gd name="connsiteY24-1234" fmla="*/ 7124971 h 7134208"/>
              <a:gd name="connsiteX25-1235" fmla="*/ 7777211 w 9397013"/>
              <a:gd name="connsiteY25-1236" fmla="*/ 7124972 h 7134208"/>
              <a:gd name="connsiteX26-1237" fmla="*/ 7324729 w 9397013"/>
              <a:gd name="connsiteY26-1238" fmla="*/ 7124972 h 7134208"/>
              <a:gd name="connsiteX27-1239" fmla="*/ 4245793 w 9397013"/>
              <a:gd name="connsiteY27-1240" fmla="*/ 3078214 h 7134208"/>
              <a:gd name="connsiteX28-1241" fmla="*/ 4490696 w 9397013"/>
              <a:gd name="connsiteY28-1242" fmla="*/ 2757469 h 7134208"/>
              <a:gd name="connsiteX29-1243" fmla="*/ 7777211 w 9397013"/>
              <a:gd name="connsiteY29-1244" fmla="*/ 7124972 h 7134208"/>
              <a:gd name="connsiteX30-1245" fmla="*/ 8567691 w 9397013"/>
              <a:gd name="connsiteY30-1246" fmla="*/ 7124971 h 7134208"/>
              <a:gd name="connsiteX31-1247" fmla="*/ 8159389 w 9397013"/>
              <a:gd name="connsiteY31-1248" fmla="*/ 7134208 h 7134208"/>
              <a:gd name="connsiteX32-1249" fmla="*/ 4650570 w 9397013"/>
              <a:gd name="connsiteY32-1250" fmla="*/ 2548084 h 7134208"/>
              <a:gd name="connsiteX33-1251" fmla="*/ 4869244 w 9397013"/>
              <a:gd name="connsiteY33-1252" fmla="*/ 2261689 h 7134208"/>
              <a:gd name="connsiteX34-1253" fmla="*/ 8567691 w 9397013"/>
              <a:gd name="connsiteY34-1254" fmla="*/ 7124971 h 7134208"/>
              <a:gd name="connsiteX35-1255" fmla="*/ 9397013 w 9397013"/>
              <a:gd name="connsiteY35-1256" fmla="*/ 7134207 h 7134208"/>
              <a:gd name="connsiteX36-1257" fmla="*/ 8921338 w 9397013"/>
              <a:gd name="connsiteY36-1258" fmla="*/ 7115735 h 7134208"/>
              <a:gd name="connsiteX37-1259" fmla="*/ 5045299 w 9397013"/>
              <a:gd name="connsiteY37-1260" fmla="*/ 2031113 h 7134208"/>
              <a:gd name="connsiteX38-1261" fmla="*/ 5273037 w 9397013"/>
              <a:gd name="connsiteY38-1262" fmla="*/ 1732846 h 7134208"/>
              <a:gd name="connsiteX39-1263" fmla="*/ 9397013 w 9397013"/>
              <a:gd name="connsiteY39-1264" fmla="*/ 7134207 h 7134208"/>
              <a:gd name="connsiteX0-1265" fmla="*/ 168369 w 9397013"/>
              <a:gd name="connsiteY0-1266" fmla="*/ 4779933 h 7134208"/>
              <a:gd name="connsiteX1-1267" fmla="*/ 0 w 9397013"/>
              <a:gd name="connsiteY1-1268" fmla="*/ 4409146 h 7134208"/>
              <a:gd name="connsiteX2-1269" fmla="*/ 3332806 w 9397013"/>
              <a:gd name="connsiteY2-1270" fmla="*/ 0 h 7134208"/>
              <a:gd name="connsiteX3-1271" fmla="*/ 3794560 w 9397013"/>
              <a:gd name="connsiteY3-1272" fmla="*/ 32861 h 7134208"/>
              <a:gd name="connsiteX4-1273" fmla="*/ 168369 w 9397013"/>
              <a:gd name="connsiteY4-1274" fmla="*/ 4779933 h 7134208"/>
              <a:gd name="connsiteX5-1275" fmla="*/ 488220 w 9397013"/>
              <a:gd name="connsiteY5-1276" fmla="*/ 5484315 h 7134208"/>
              <a:gd name="connsiteX6-1277" fmla="*/ 299082 w 9397013"/>
              <a:gd name="connsiteY6-1278" fmla="*/ 5067791 h 7134208"/>
              <a:gd name="connsiteX7-1279" fmla="*/ 4106456 w 9397013"/>
              <a:gd name="connsiteY7-1280" fmla="*/ 55057 h 7134208"/>
              <a:gd name="connsiteX8-1281" fmla="*/ 4585079 w 9397013"/>
              <a:gd name="connsiteY8-1282" fmla="*/ 89119 h 7134208"/>
              <a:gd name="connsiteX9-1283" fmla="*/ 488220 w 9397013"/>
              <a:gd name="connsiteY9-1284" fmla="*/ 5484315 h 7134208"/>
              <a:gd name="connsiteX10-1285" fmla="*/ 779421 w 9397013"/>
              <a:gd name="connsiteY10-1286" fmla="*/ 6125606 h 7134208"/>
              <a:gd name="connsiteX11-1287" fmla="*/ 618065 w 9397013"/>
              <a:gd name="connsiteY11-1288" fmla="*/ 5770263 h 7134208"/>
              <a:gd name="connsiteX12-1289" fmla="*/ 4897528 w 9397013"/>
              <a:gd name="connsiteY12-1290" fmla="*/ 111354 h 7134208"/>
              <a:gd name="connsiteX13-1291" fmla="*/ 5324893 w 9397013"/>
              <a:gd name="connsiteY13-1292" fmla="*/ 141768 h 7134208"/>
              <a:gd name="connsiteX14-1293" fmla="*/ 779421 w 9397013"/>
              <a:gd name="connsiteY14-1294" fmla="*/ 6125606 h 7134208"/>
              <a:gd name="connsiteX15-1295" fmla="*/ 1099910 w 9397013"/>
              <a:gd name="connsiteY15-1296" fmla="*/ 6831395 h 7134208"/>
              <a:gd name="connsiteX16-1297" fmla="*/ 919656 w 9397013"/>
              <a:gd name="connsiteY16-1298" fmla="*/ 6434435 h 7134208"/>
              <a:gd name="connsiteX17-1299" fmla="*/ 5641256 w 9397013"/>
              <a:gd name="connsiteY17-1300" fmla="*/ 212436 h 7134208"/>
              <a:gd name="connsiteX18-1301" fmla="*/ 6077099 w 9397013"/>
              <a:gd name="connsiteY18-1302" fmla="*/ 225638 h 7134208"/>
              <a:gd name="connsiteX19-1303" fmla="*/ 1099910 w 9397013"/>
              <a:gd name="connsiteY19-1304" fmla="*/ 6831395 h 7134208"/>
              <a:gd name="connsiteX20-1305" fmla="*/ 6958778 w 9397013"/>
              <a:gd name="connsiteY20-1306" fmla="*/ 7124971 h 7134208"/>
              <a:gd name="connsiteX21-1307" fmla="*/ 6560038 w 9397013"/>
              <a:gd name="connsiteY21-1308" fmla="*/ 7134207 h 7134208"/>
              <a:gd name="connsiteX22-1309" fmla="*/ 3849932 w 9397013"/>
              <a:gd name="connsiteY22-1310" fmla="*/ 3596670 h 7134208"/>
              <a:gd name="connsiteX23-1311" fmla="*/ 4086202 w 9397013"/>
              <a:gd name="connsiteY23-1312" fmla="*/ 3287229 h 7134208"/>
              <a:gd name="connsiteX24-1313" fmla="*/ 6958778 w 9397013"/>
              <a:gd name="connsiteY24-1314" fmla="*/ 7124971 h 7134208"/>
              <a:gd name="connsiteX25-1315" fmla="*/ 7777211 w 9397013"/>
              <a:gd name="connsiteY25-1316" fmla="*/ 7124972 h 7134208"/>
              <a:gd name="connsiteX26-1317" fmla="*/ 7324729 w 9397013"/>
              <a:gd name="connsiteY26-1318" fmla="*/ 7124972 h 7134208"/>
              <a:gd name="connsiteX27-1319" fmla="*/ 4245793 w 9397013"/>
              <a:gd name="connsiteY27-1320" fmla="*/ 3078214 h 7134208"/>
              <a:gd name="connsiteX28-1321" fmla="*/ 4490696 w 9397013"/>
              <a:gd name="connsiteY28-1322" fmla="*/ 2757469 h 7134208"/>
              <a:gd name="connsiteX29-1323" fmla="*/ 7777211 w 9397013"/>
              <a:gd name="connsiteY29-1324" fmla="*/ 7124972 h 7134208"/>
              <a:gd name="connsiteX30-1325" fmla="*/ 8567691 w 9397013"/>
              <a:gd name="connsiteY30-1326" fmla="*/ 7124971 h 7134208"/>
              <a:gd name="connsiteX31-1327" fmla="*/ 8159389 w 9397013"/>
              <a:gd name="connsiteY31-1328" fmla="*/ 7134208 h 7134208"/>
              <a:gd name="connsiteX32-1329" fmla="*/ 4650570 w 9397013"/>
              <a:gd name="connsiteY32-1330" fmla="*/ 2548084 h 7134208"/>
              <a:gd name="connsiteX33-1331" fmla="*/ 4869244 w 9397013"/>
              <a:gd name="connsiteY33-1332" fmla="*/ 2261689 h 7134208"/>
              <a:gd name="connsiteX34-1333" fmla="*/ 8567691 w 9397013"/>
              <a:gd name="connsiteY34-1334" fmla="*/ 7124971 h 7134208"/>
              <a:gd name="connsiteX35-1335" fmla="*/ 9397013 w 9397013"/>
              <a:gd name="connsiteY35-1336" fmla="*/ 7134207 h 7134208"/>
              <a:gd name="connsiteX36-1337" fmla="*/ 8921338 w 9397013"/>
              <a:gd name="connsiteY36-1338" fmla="*/ 7115735 h 7134208"/>
              <a:gd name="connsiteX37-1339" fmla="*/ 5045299 w 9397013"/>
              <a:gd name="connsiteY37-1340" fmla="*/ 2031113 h 7134208"/>
              <a:gd name="connsiteX38-1341" fmla="*/ 5273037 w 9397013"/>
              <a:gd name="connsiteY38-1342" fmla="*/ 1732846 h 7134208"/>
              <a:gd name="connsiteX39-1343" fmla="*/ 9397013 w 9397013"/>
              <a:gd name="connsiteY39-1344" fmla="*/ 7134207 h 7134208"/>
              <a:gd name="connsiteX0-1345" fmla="*/ 168369 w 9397013"/>
              <a:gd name="connsiteY0-1346" fmla="*/ 4779933 h 7134208"/>
              <a:gd name="connsiteX1-1347" fmla="*/ 0 w 9397013"/>
              <a:gd name="connsiteY1-1348" fmla="*/ 4409146 h 7134208"/>
              <a:gd name="connsiteX2-1349" fmla="*/ 3332806 w 9397013"/>
              <a:gd name="connsiteY2-1350" fmla="*/ 0 h 7134208"/>
              <a:gd name="connsiteX3-1351" fmla="*/ 3794560 w 9397013"/>
              <a:gd name="connsiteY3-1352" fmla="*/ 32861 h 7134208"/>
              <a:gd name="connsiteX4-1353" fmla="*/ 168369 w 9397013"/>
              <a:gd name="connsiteY4-1354" fmla="*/ 4779933 h 7134208"/>
              <a:gd name="connsiteX5-1355" fmla="*/ 488220 w 9397013"/>
              <a:gd name="connsiteY5-1356" fmla="*/ 5484315 h 7134208"/>
              <a:gd name="connsiteX6-1357" fmla="*/ 299082 w 9397013"/>
              <a:gd name="connsiteY6-1358" fmla="*/ 5067791 h 7134208"/>
              <a:gd name="connsiteX7-1359" fmla="*/ 4106456 w 9397013"/>
              <a:gd name="connsiteY7-1360" fmla="*/ 55057 h 7134208"/>
              <a:gd name="connsiteX8-1361" fmla="*/ 4585079 w 9397013"/>
              <a:gd name="connsiteY8-1362" fmla="*/ 89119 h 7134208"/>
              <a:gd name="connsiteX9-1363" fmla="*/ 488220 w 9397013"/>
              <a:gd name="connsiteY9-1364" fmla="*/ 5484315 h 7134208"/>
              <a:gd name="connsiteX10-1365" fmla="*/ 779421 w 9397013"/>
              <a:gd name="connsiteY10-1366" fmla="*/ 6125606 h 7134208"/>
              <a:gd name="connsiteX11-1367" fmla="*/ 618065 w 9397013"/>
              <a:gd name="connsiteY11-1368" fmla="*/ 5770263 h 7134208"/>
              <a:gd name="connsiteX12-1369" fmla="*/ 4897528 w 9397013"/>
              <a:gd name="connsiteY12-1370" fmla="*/ 111354 h 7134208"/>
              <a:gd name="connsiteX13-1371" fmla="*/ 5260238 w 9397013"/>
              <a:gd name="connsiteY13-1372" fmla="*/ 234131 h 7134208"/>
              <a:gd name="connsiteX14-1373" fmla="*/ 779421 w 9397013"/>
              <a:gd name="connsiteY14-1374" fmla="*/ 6125606 h 7134208"/>
              <a:gd name="connsiteX15-1375" fmla="*/ 1099910 w 9397013"/>
              <a:gd name="connsiteY15-1376" fmla="*/ 6831395 h 7134208"/>
              <a:gd name="connsiteX16-1377" fmla="*/ 919656 w 9397013"/>
              <a:gd name="connsiteY16-1378" fmla="*/ 6434435 h 7134208"/>
              <a:gd name="connsiteX17-1379" fmla="*/ 5641256 w 9397013"/>
              <a:gd name="connsiteY17-1380" fmla="*/ 212436 h 7134208"/>
              <a:gd name="connsiteX18-1381" fmla="*/ 6077099 w 9397013"/>
              <a:gd name="connsiteY18-1382" fmla="*/ 225638 h 7134208"/>
              <a:gd name="connsiteX19-1383" fmla="*/ 1099910 w 9397013"/>
              <a:gd name="connsiteY19-1384" fmla="*/ 6831395 h 7134208"/>
              <a:gd name="connsiteX20-1385" fmla="*/ 6958778 w 9397013"/>
              <a:gd name="connsiteY20-1386" fmla="*/ 7124971 h 7134208"/>
              <a:gd name="connsiteX21-1387" fmla="*/ 6560038 w 9397013"/>
              <a:gd name="connsiteY21-1388" fmla="*/ 7134207 h 7134208"/>
              <a:gd name="connsiteX22-1389" fmla="*/ 3849932 w 9397013"/>
              <a:gd name="connsiteY22-1390" fmla="*/ 3596670 h 7134208"/>
              <a:gd name="connsiteX23-1391" fmla="*/ 4086202 w 9397013"/>
              <a:gd name="connsiteY23-1392" fmla="*/ 3287229 h 7134208"/>
              <a:gd name="connsiteX24-1393" fmla="*/ 6958778 w 9397013"/>
              <a:gd name="connsiteY24-1394" fmla="*/ 7124971 h 7134208"/>
              <a:gd name="connsiteX25-1395" fmla="*/ 7777211 w 9397013"/>
              <a:gd name="connsiteY25-1396" fmla="*/ 7124972 h 7134208"/>
              <a:gd name="connsiteX26-1397" fmla="*/ 7324729 w 9397013"/>
              <a:gd name="connsiteY26-1398" fmla="*/ 7124972 h 7134208"/>
              <a:gd name="connsiteX27-1399" fmla="*/ 4245793 w 9397013"/>
              <a:gd name="connsiteY27-1400" fmla="*/ 3078214 h 7134208"/>
              <a:gd name="connsiteX28-1401" fmla="*/ 4490696 w 9397013"/>
              <a:gd name="connsiteY28-1402" fmla="*/ 2757469 h 7134208"/>
              <a:gd name="connsiteX29-1403" fmla="*/ 7777211 w 9397013"/>
              <a:gd name="connsiteY29-1404" fmla="*/ 7124972 h 7134208"/>
              <a:gd name="connsiteX30-1405" fmla="*/ 8567691 w 9397013"/>
              <a:gd name="connsiteY30-1406" fmla="*/ 7124971 h 7134208"/>
              <a:gd name="connsiteX31-1407" fmla="*/ 8159389 w 9397013"/>
              <a:gd name="connsiteY31-1408" fmla="*/ 7134208 h 7134208"/>
              <a:gd name="connsiteX32-1409" fmla="*/ 4650570 w 9397013"/>
              <a:gd name="connsiteY32-1410" fmla="*/ 2548084 h 7134208"/>
              <a:gd name="connsiteX33-1411" fmla="*/ 4869244 w 9397013"/>
              <a:gd name="connsiteY33-1412" fmla="*/ 2261689 h 7134208"/>
              <a:gd name="connsiteX34-1413" fmla="*/ 8567691 w 9397013"/>
              <a:gd name="connsiteY34-1414" fmla="*/ 7124971 h 7134208"/>
              <a:gd name="connsiteX35-1415" fmla="*/ 9397013 w 9397013"/>
              <a:gd name="connsiteY35-1416" fmla="*/ 7134207 h 7134208"/>
              <a:gd name="connsiteX36-1417" fmla="*/ 8921338 w 9397013"/>
              <a:gd name="connsiteY36-1418" fmla="*/ 7115735 h 7134208"/>
              <a:gd name="connsiteX37-1419" fmla="*/ 5045299 w 9397013"/>
              <a:gd name="connsiteY37-1420" fmla="*/ 2031113 h 7134208"/>
              <a:gd name="connsiteX38-1421" fmla="*/ 5273037 w 9397013"/>
              <a:gd name="connsiteY38-1422" fmla="*/ 1732846 h 7134208"/>
              <a:gd name="connsiteX39-1423" fmla="*/ 9397013 w 9397013"/>
              <a:gd name="connsiteY39-1424" fmla="*/ 7134207 h 7134208"/>
              <a:gd name="connsiteX0-1425" fmla="*/ 168369 w 9397013"/>
              <a:gd name="connsiteY0-1426" fmla="*/ 4779933 h 7134208"/>
              <a:gd name="connsiteX1-1427" fmla="*/ 0 w 9397013"/>
              <a:gd name="connsiteY1-1428" fmla="*/ 4409146 h 7134208"/>
              <a:gd name="connsiteX2-1429" fmla="*/ 3332806 w 9397013"/>
              <a:gd name="connsiteY2-1430" fmla="*/ 0 h 7134208"/>
              <a:gd name="connsiteX3-1431" fmla="*/ 3794560 w 9397013"/>
              <a:gd name="connsiteY3-1432" fmla="*/ 32861 h 7134208"/>
              <a:gd name="connsiteX4-1433" fmla="*/ 168369 w 9397013"/>
              <a:gd name="connsiteY4-1434" fmla="*/ 4779933 h 7134208"/>
              <a:gd name="connsiteX5-1435" fmla="*/ 488220 w 9397013"/>
              <a:gd name="connsiteY5-1436" fmla="*/ 5484315 h 7134208"/>
              <a:gd name="connsiteX6-1437" fmla="*/ 299082 w 9397013"/>
              <a:gd name="connsiteY6-1438" fmla="*/ 5067791 h 7134208"/>
              <a:gd name="connsiteX7-1439" fmla="*/ 4106456 w 9397013"/>
              <a:gd name="connsiteY7-1440" fmla="*/ 55057 h 7134208"/>
              <a:gd name="connsiteX8-1441" fmla="*/ 4585079 w 9397013"/>
              <a:gd name="connsiteY8-1442" fmla="*/ 89119 h 7134208"/>
              <a:gd name="connsiteX9-1443" fmla="*/ 488220 w 9397013"/>
              <a:gd name="connsiteY9-1444" fmla="*/ 5484315 h 7134208"/>
              <a:gd name="connsiteX10-1445" fmla="*/ 779421 w 9397013"/>
              <a:gd name="connsiteY10-1446" fmla="*/ 6125606 h 7134208"/>
              <a:gd name="connsiteX11-1447" fmla="*/ 618065 w 9397013"/>
              <a:gd name="connsiteY11-1448" fmla="*/ 5770263 h 7134208"/>
              <a:gd name="connsiteX12-1449" fmla="*/ 4805164 w 9397013"/>
              <a:gd name="connsiteY12-1450" fmla="*/ 212954 h 7134208"/>
              <a:gd name="connsiteX13-1451" fmla="*/ 5260238 w 9397013"/>
              <a:gd name="connsiteY13-1452" fmla="*/ 234131 h 7134208"/>
              <a:gd name="connsiteX14-1453" fmla="*/ 779421 w 9397013"/>
              <a:gd name="connsiteY14-1454" fmla="*/ 6125606 h 7134208"/>
              <a:gd name="connsiteX15-1455" fmla="*/ 1099910 w 9397013"/>
              <a:gd name="connsiteY15-1456" fmla="*/ 6831395 h 7134208"/>
              <a:gd name="connsiteX16-1457" fmla="*/ 919656 w 9397013"/>
              <a:gd name="connsiteY16-1458" fmla="*/ 6434435 h 7134208"/>
              <a:gd name="connsiteX17-1459" fmla="*/ 5641256 w 9397013"/>
              <a:gd name="connsiteY17-1460" fmla="*/ 212436 h 7134208"/>
              <a:gd name="connsiteX18-1461" fmla="*/ 6077099 w 9397013"/>
              <a:gd name="connsiteY18-1462" fmla="*/ 225638 h 7134208"/>
              <a:gd name="connsiteX19-1463" fmla="*/ 1099910 w 9397013"/>
              <a:gd name="connsiteY19-1464" fmla="*/ 6831395 h 7134208"/>
              <a:gd name="connsiteX20-1465" fmla="*/ 6958778 w 9397013"/>
              <a:gd name="connsiteY20-1466" fmla="*/ 7124971 h 7134208"/>
              <a:gd name="connsiteX21-1467" fmla="*/ 6560038 w 9397013"/>
              <a:gd name="connsiteY21-1468" fmla="*/ 7134207 h 7134208"/>
              <a:gd name="connsiteX22-1469" fmla="*/ 3849932 w 9397013"/>
              <a:gd name="connsiteY22-1470" fmla="*/ 3596670 h 7134208"/>
              <a:gd name="connsiteX23-1471" fmla="*/ 4086202 w 9397013"/>
              <a:gd name="connsiteY23-1472" fmla="*/ 3287229 h 7134208"/>
              <a:gd name="connsiteX24-1473" fmla="*/ 6958778 w 9397013"/>
              <a:gd name="connsiteY24-1474" fmla="*/ 7124971 h 7134208"/>
              <a:gd name="connsiteX25-1475" fmla="*/ 7777211 w 9397013"/>
              <a:gd name="connsiteY25-1476" fmla="*/ 7124972 h 7134208"/>
              <a:gd name="connsiteX26-1477" fmla="*/ 7324729 w 9397013"/>
              <a:gd name="connsiteY26-1478" fmla="*/ 7124972 h 7134208"/>
              <a:gd name="connsiteX27-1479" fmla="*/ 4245793 w 9397013"/>
              <a:gd name="connsiteY27-1480" fmla="*/ 3078214 h 7134208"/>
              <a:gd name="connsiteX28-1481" fmla="*/ 4490696 w 9397013"/>
              <a:gd name="connsiteY28-1482" fmla="*/ 2757469 h 7134208"/>
              <a:gd name="connsiteX29-1483" fmla="*/ 7777211 w 9397013"/>
              <a:gd name="connsiteY29-1484" fmla="*/ 7124972 h 7134208"/>
              <a:gd name="connsiteX30-1485" fmla="*/ 8567691 w 9397013"/>
              <a:gd name="connsiteY30-1486" fmla="*/ 7124971 h 7134208"/>
              <a:gd name="connsiteX31-1487" fmla="*/ 8159389 w 9397013"/>
              <a:gd name="connsiteY31-1488" fmla="*/ 7134208 h 7134208"/>
              <a:gd name="connsiteX32-1489" fmla="*/ 4650570 w 9397013"/>
              <a:gd name="connsiteY32-1490" fmla="*/ 2548084 h 7134208"/>
              <a:gd name="connsiteX33-1491" fmla="*/ 4869244 w 9397013"/>
              <a:gd name="connsiteY33-1492" fmla="*/ 2261689 h 7134208"/>
              <a:gd name="connsiteX34-1493" fmla="*/ 8567691 w 9397013"/>
              <a:gd name="connsiteY34-1494" fmla="*/ 7124971 h 7134208"/>
              <a:gd name="connsiteX35-1495" fmla="*/ 9397013 w 9397013"/>
              <a:gd name="connsiteY35-1496" fmla="*/ 7134207 h 7134208"/>
              <a:gd name="connsiteX36-1497" fmla="*/ 8921338 w 9397013"/>
              <a:gd name="connsiteY36-1498" fmla="*/ 7115735 h 7134208"/>
              <a:gd name="connsiteX37-1499" fmla="*/ 5045299 w 9397013"/>
              <a:gd name="connsiteY37-1500" fmla="*/ 2031113 h 7134208"/>
              <a:gd name="connsiteX38-1501" fmla="*/ 5273037 w 9397013"/>
              <a:gd name="connsiteY38-1502" fmla="*/ 1732846 h 7134208"/>
              <a:gd name="connsiteX39-1503" fmla="*/ 9397013 w 9397013"/>
              <a:gd name="connsiteY39-1504" fmla="*/ 7134207 h 7134208"/>
              <a:gd name="connsiteX0-1505" fmla="*/ 168369 w 9397013"/>
              <a:gd name="connsiteY0-1506" fmla="*/ 4779933 h 7134208"/>
              <a:gd name="connsiteX1-1507" fmla="*/ 0 w 9397013"/>
              <a:gd name="connsiteY1-1508" fmla="*/ 4409146 h 7134208"/>
              <a:gd name="connsiteX2-1509" fmla="*/ 3332806 w 9397013"/>
              <a:gd name="connsiteY2-1510" fmla="*/ 0 h 7134208"/>
              <a:gd name="connsiteX3-1511" fmla="*/ 3794560 w 9397013"/>
              <a:gd name="connsiteY3-1512" fmla="*/ 32861 h 7134208"/>
              <a:gd name="connsiteX4-1513" fmla="*/ 168369 w 9397013"/>
              <a:gd name="connsiteY4-1514" fmla="*/ 4779933 h 7134208"/>
              <a:gd name="connsiteX5-1515" fmla="*/ 488220 w 9397013"/>
              <a:gd name="connsiteY5-1516" fmla="*/ 5484315 h 7134208"/>
              <a:gd name="connsiteX6-1517" fmla="*/ 299082 w 9397013"/>
              <a:gd name="connsiteY6-1518" fmla="*/ 5067791 h 7134208"/>
              <a:gd name="connsiteX7-1519" fmla="*/ 4106456 w 9397013"/>
              <a:gd name="connsiteY7-1520" fmla="*/ 55057 h 7134208"/>
              <a:gd name="connsiteX8-1521" fmla="*/ 4465006 w 9397013"/>
              <a:gd name="connsiteY8-1522" fmla="*/ 209192 h 7134208"/>
              <a:gd name="connsiteX9-1523" fmla="*/ 488220 w 9397013"/>
              <a:gd name="connsiteY9-1524" fmla="*/ 5484315 h 7134208"/>
              <a:gd name="connsiteX10-1525" fmla="*/ 779421 w 9397013"/>
              <a:gd name="connsiteY10-1526" fmla="*/ 6125606 h 7134208"/>
              <a:gd name="connsiteX11-1527" fmla="*/ 618065 w 9397013"/>
              <a:gd name="connsiteY11-1528" fmla="*/ 5770263 h 7134208"/>
              <a:gd name="connsiteX12-1529" fmla="*/ 4805164 w 9397013"/>
              <a:gd name="connsiteY12-1530" fmla="*/ 212954 h 7134208"/>
              <a:gd name="connsiteX13-1531" fmla="*/ 5260238 w 9397013"/>
              <a:gd name="connsiteY13-1532" fmla="*/ 234131 h 7134208"/>
              <a:gd name="connsiteX14-1533" fmla="*/ 779421 w 9397013"/>
              <a:gd name="connsiteY14-1534" fmla="*/ 6125606 h 7134208"/>
              <a:gd name="connsiteX15-1535" fmla="*/ 1099910 w 9397013"/>
              <a:gd name="connsiteY15-1536" fmla="*/ 6831395 h 7134208"/>
              <a:gd name="connsiteX16-1537" fmla="*/ 919656 w 9397013"/>
              <a:gd name="connsiteY16-1538" fmla="*/ 6434435 h 7134208"/>
              <a:gd name="connsiteX17-1539" fmla="*/ 5641256 w 9397013"/>
              <a:gd name="connsiteY17-1540" fmla="*/ 212436 h 7134208"/>
              <a:gd name="connsiteX18-1541" fmla="*/ 6077099 w 9397013"/>
              <a:gd name="connsiteY18-1542" fmla="*/ 225638 h 7134208"/>
              <a:gd name="connsiteX19-1543" fmla="*/ 1099910 w 9397013"/>
              <a:gd name="connsiteY19-1544" fmla="*/ 6831395 h 7134208"/>
              <a:gd name="connsiteX20-1545" fmla="*/ 6958778 w 9397013"/>
              <a:gd name="connsiteY20-1546" fmla="*/ 7124971 h 7134208"/>
              <a:gd name="connsiteX21-1547" fmla="*/ 6560038 w 9397013"/>
              <a:gd name="connsiteY21-1548" fmla="*/ 7134207 h 7134208"/>
              <a:gd name="connsiteX22-1549" fmla="*/ 3849932 w 9397013"/>
              <a:gd name="connsiteY22-1550" fmla="*/ 3596670 h 7134208"/>
              <a:gd name="connsiteX23-1551" fmla="*/ 4086202 w 9397013"/>
              <a:gd name="connsiteY23-1552" fmla="*/ 3287229 h 7134208"/>
              <a:gd name="connsiteX24-1553" fmla="*/ 6958778 w 9397013"/>
              <a:gd name="connsiteY24-1554" fmla="*/ 7124971 h 7134208"/>
              <a:gd name="connsiteX25-1555" fmla="*/ 7777211 w 9397013"/>
              <a:gd name="connsiteY25-1556" fmla="*/ 7124972 h 7134208"/>
              <a:gd name="connsiteX26-1557" fmla="*/ 7324729 w 9397013"/>
              <a:gd name="connsiteY26-1558" fmla="*/ 7124972 h 7134208"/>
              <a:gd name="connsiteX27-1559" fmla="*/ 4245793 w 9397013"/>
              <a:gd name="connsiteY27-1560" fmla="*/ 3078214 h 7134208"/>
              <a:gd name="connsiteX28-1561" fmla="*/ 4490696 w 9397013"/>
              <a:gd name="connsiteY28-1562" fmla="*/ 2757469 h 7134208"/>
              <a:gd name="connsiteX29-1563" fmla="*/ 7777211 w 9397013"/>
              <a:gd name="connsiteY29-1564" fmla="*/ 7124972 h 7134208"/>
              <a:gd name="connsiteX30-1565" fmla="*/ 8567691 w 9397013"/>
              <a:gd name="connsiteY30-1566" fmla="*/ 7124971 h 7134208"/>
              <a:gd name="connsiteX31-1567" fmla="*/ 8159389 w 9397013"/>
              <a:gd name="connsiteY31-1568" fmla="*/ 7134208 h 7134208"/>
              <a:gd name="connsiteX32-1569" fmla="*/ 4650570 w 9397013"/>
              <a:gd name="connsiteY32-1570" fmla="*/ 2548084 h 7134208"/>
              <a:gd name="connsiteX33-1571" fmla="*/ 4869244 w 9397013"/>
              <a:gd name="connsiteY33-1572" fmla="*/ 2261689 h 7134208"/>
              <a:gd name="connsiteX34-1573" fmla="*/ 8567691 w 9397013"/>
              <a:gd name="connsiteY34-1574" fmla="*/ 7124971 h 7134208"/>
              <a:gd name="connsiteX35-1575" fmla="*/ 9397013 w 9397013"/>
              <a:gd name="connsiteY35-1576" fmla="*/ 7134207 h 7134208"/>
              <a:gd name="connsiteX36-1577" fmla="*/ 8921338 w 9397013"/>
              <a:gd name="connsiteY36-1578" fmla="*/ 7115735 h 7134208"/>
              <a:gd name="connsiteX37-1579" fmla="*/ 5045299 w 9397013"/>
              <a:gd name="connsiteY37-1580" fmla="*/ 2031113 h 7134208"/>
              <a:gd name="connsiteX38-1581" fmla="*/ 5273037 w 9397013"/>
              <a:gd name="connsiteY38-1582" fmla="*/ 1732846 h 7134208"/>
              <a:gd name="connsiteX39-1583" fmla="*/ 9397013 w 9397013"/>
              <a:gd name="connsiteY39-1584" fmla="*/ 7134207 h 7134208"/>
              <a:gd name="connsiteX0-1585" fmla="*/ 168369 w 9397013"/>
              <a:gd name="connsiteY0-1586" fmla="*/ 4779933 h 7134208"/>
              <a:gd name="connsiteX1-1587" fmla="*/ 0 w 9397013"/>
              <a:gd name="connsiteY1-1588" fmla="*/ 4409146 h 7134208"/>
              <a:gd name="connsiteX2-1589" fmla="*/ 3332806 w 9397013"/>
              <a:gd name="connsiteY2-1590" fmla="*/ 0 h 7134208"/>
              <a:gd name="connsiteX3-1591" fmla="*/ 3794560 w 9397013"/>
              <a:gd name="connsiteY3-1592" fmla="*/ 32861 h 7134208"/>
              <a:gd name="connsiteX4-1593" fmla="*/ 168369 w 9397013"/>
              <a:gd name="connsiteY4-1594" fmla="*/ 4779933 h 7134208"/>
              <a:gd name="connsiteX5-1595" fmla="*/ 488220 w 9397013"/>
              <a:gd name="connsiteY5-1596" fmla="*/ 5484315 h 7134208"/>
              <a:gd name="connsiteX6-1597" fmla="*/ 299082 w 9397013"/>
              <a:gd name="connsiteY6-1598" fmla="*/ 5067791 h 7134208"/>
              <a:gd name="connsiteX7-1599" fmla="*/ 3977147 w 9397013"/>
              <a:gd name="connsiteY7-1600" fmla="*/ 212075 h 7134208"/>
              <a:gd name="connsiteX8-1601" fmla="*/ 4465006 w 9397013"/>
              <a:gd name="connsiteY8-1602" fmla="*/ 209192 h 7134208"/>
              <a:gd name="connsiteX9-1603" fmla="*/ 488220 w 9397013"/>
              <a:gd name="connsiteY9-1604" fmla="*/ 5484315 h 7134208"/>
              <a:gd name="connsiteX10-1605" fmla="*/ 779421 w 9397013"/>
              <a:gd name="connsiteY10-1606" fmla="*/ 6125606 h 7134208"/>
              <a:gd name="connsiteX11-1607" fmla="*/ 618065 w 9397013"/>
              <a:gd name="connsiteY11-1608" fmla="*/ 5770263 h 7134208"/>
              <a:gd name="connsiteX12-1609" fmla="*/ 4805164 w 9397013"/>
              <a:gd name="connsiteY12-1610" fmla="*/ 212954 h 7134208"/>
              <a:gd name="connsiteX13-1611" fmla="*/ 5260238 w 9397013"/>
              <a:gd name="connsiteY13-1612" fmla="*/ 234131 h 7134208"/>
              <a:gd name="connsiteX14-1613" fmla="*/ 779421 w 9397013"/>
              <a:gd name="connsiteY14-1614" fmla="*/ 6125606 h 7134208"/>
              <a:gd name="connsiteX15-1615" fmla="*/ 1099910 w 9397013"/>
              <a:gd name="connsiteY15-1616" fmla="*/ 6831395 h 7134208"/>
              <a:gd name="connsiteX16-1617" fmla="*/ 919656 w 9397013"/>
              <a:gd name="connsiteY16-1618" fmla="*/ 6434435 h 7134208"/>
              <a:gd name="connsiteX17-1619" fmla="*/ 5641256 w 9397013"/>
              <a:gd name="connsiteY17-1620" fmla="*/ 212436 h 7134208"/>
              <a:gd name="connsiteX18-1621" fmla="*/ 6077099 w 9397013"/>
              <a:gd name="connsiteY18-1622" fmla="*/ 225638 h 7134208"/>
              <a:gd name="connsiteX19-1623" fmla="*/ 1099910 w 9397013"/>
              <a:gd name="connsiteY19-1624" fmla="*/ 6831395 h 7134208"/>
              <a:gd name="connsiteX20-1625" fmla="*/ 6958778 w 9397013"/>
              <a:gd name="connsiteY20-1626" fmla="*/ 7124971 h 7134208"/>
              <a:gd name="connsiteX21-1627" fmla="*/ 6560038 w 9397013"/>
              <a:gd name="connsiteY21-1628" fmla="*/ 7134207 h 7134208"/>
              <a:gd name="connsiteX22-1629" fmla="*/ 3849932 w 9397013"/>
              <a:gd name="connsiteY22-1630" fmla="*/ 3596670 h 7134208"/>
              <a:gd name="connsiteX23-1631" fmla="*/ 4086202 w 9397013"/>
              <a:gd name="connsiteY23-1632" fmla="*/ 3287229 h 7134208"/>
              <a:gd name="connsiteX24-1633" fmla="*/ 6958778 w 9397013"/>
              <a:gd name="connsiteY24-1634" fmla="*/ 7124971 h 7134208"/>
              <a:gd name="connsiteX25-1635" fmla="*/ 7777211 w 9397013"/>
              <a:gd name="connsiteY25-1636" fmla="*/ 7124972 h 7134208"/>
              <a:gd name="connsiteX26-1637" fmla="*/ 7324729 w 9397013"/>
              <a:gd name="connsiteY26-1638" fmla="*/ 7124972 h 7134208"/>
              <a:gd name="connsiteX27-1639" fmla="*/ 4245793 w 9397013"/>
              <a:gd name="connsiteY27-1640" fmla="*/ 3078214 h 7134208"/>
              <a:gd name="connsiteX28-1641" fmla="*/ 4490696 w 9397013"/>
              <a:gd name="connsiteY28-1642" fmla="*/ 2757469 h 7134208"/>
              <a:gd name="connsiteX29-1643" fmla="*/ 7777211 w 9397013"/>
              <a:gd name="connsiteY29-1644" fmla="*/ 7124972 h 7134208"/>
              <a:gd name="connsiteX30-1645" fmla="*/ 8567691 w 9397013"/>
              <a:gd name="connsiteY30-1646" fmla="*/ 7124971 h 7134208"/>
              <a:gd name="connsiteX31-1647" fmla="*/ 8159389 w 9397013"/>
              <a:gd name="connsiteY31-1648" fmla="*/ 7134208 h 7134208"/>
              <a:gd name="connsiteX32-1649" fmla="*/ 4650570 w 9397013"/>
              <a:gd name="connsiteY32-1650" fmla="*/ 2548084 h 7134208"/>
              <a:gd name="connsiteX33-1651" fmla="*/ 4869244 w 9397013"/>
              <a:gd name="connsiteY33-1652" fmla="*/ 2261689 h 7134208"/>
              <a:gd name="connsiteX34-1653" fmla="*/ 8567691 w 9397013"/>
              <a:gd name="connsiteY34-1654" fmla="*/ 7124971 h 7134208"/>
              <a:gd name="connsiteX35-1655" fmla="*/ 9397013 w 9397013"/>
              <a:gd name="connsiteY35-1656" fmla="*/ 7134207 h 7134208"/>
              <a:gd name="connsiteX36-1657" fmla="*/ 8921338 w 9397013"/>
              <a:gd name="connsiteY36-1658" fmla="*/ 7115735 h 7134208"/>
              <a:gd name="connsiteX37-1659" fmla="*/ 5045299 w 9397013"/>
              <a:gd name="connsiteY37-1660" fmla="*/ 2031113 h 7134208"/>
              <a:gd name="connsiteX38-1661" fmla="*/ 5273037 w 9397013"/>
              <a:gd name="connsiteY38-1662" fmla="*/ 1732846 h 7134208"/>
              <a:gd name="connsiteX39-1663" fmla="*/ 9397013 w 9397013"/>
              <a:gd name="connsiteY39-1664" fmla="*/ 7134207 h 7134208"/>
              <a:gd name="connsiteX0-1665" fmla="*/ 168369 w 9397013"/>
              <a:gd name="connsiteY0-1666" fmla="*/ 4779933 h 7134208"/>
              <a:gd name="connsiteX1-1667" fmla="*/ 0 w 9397013"/>
              <a:gd name="connsiteY1-1668" fmla="*/ 4409146 h 7134208"/>
              <a:gd name="connsiteX2-1669" fmla="*/ 3332806 w 9397013"/>
              <a:gd name="connsiteY2-1670" fmla="*/ 0 h 7134208"/>
              <a:gd name="connsiteX3-1671" fmla="*/ 3628305 w 9397013"/>
              <a:gd name="connsiteY3-1672" fmla="*/ 208352 h 7134208"/>
              <a:gd name="connsiteX4-1673" fmla="*/ 168369 w 9397013"/>
              <a:gd name="connsiteY4-1674" fmla="*/ 4779933 h 7134208"/>
              <a:gd name="connsiteX5-1675" fmla="*/ 488220 w 9397013"/>
              <a:gd name="connsiteY5-1676" fmla="*/ 5484315 h 7134208"/>
              <a:gd name="connsiteX6-1677" fmla="*/ 299082 w 9397013"/>
              <a:gd name="connsiteY6-1678" fmla="*/ 5067791 h 7134208"/>
              <a:gd name="connsiteX7-1679" fmla="*/ 3977147 w 9397013"/>
              <a:gd name="connsiteY7-1680" fmla="*/ 212075 h 7134208"/>
              <a:gd name="connsiteX8-1681" fmla="*/ 4465006 w 9397013"/>
              <a:gd name="connsiteY8-1682" fmla="*/ 209192 h 7134208"/>
              <a:gd name="connsiteX9-1683" fmla="*/ 488220 w 9397013"/>
              <a:gd name="connsiteY9-1684" fmla="*/ 5484315 h 7134208"/>
              <a:gd name="connsiteX10-1685" fmla="*/ 779421 w 9397013"/>
              <a:gd name="connsiteY10-1686" fmla="*/ 6125606 h 7134208"/>
              <a:gd name="connsiteX11-1687" fmla="*/ 618065 w 9397013"/>
              <a:gd name="connsiteY11-1688" fmla="*/ 5770263 h 7134208"/>
              <a:gd name="connsiteX12-1689" fmla="*/ 4805164 w 9397013"/>
              <a:gd name="connsiteY12-1690" fmla="*/ 212954 h 7134208"/>
              <a:gd name="connsiteX13-1691" fmla="*/ 5260238 w 9397013"/>
              <a:gd name="connsiteY13-1692" fmla="*/ 234131 h 7134208"/>
              <a:gd name="connsiteX14-1693" fmla="*/ 779421 w 9397013"/>
              <a:gd name="connsiteY14-1694" fmla="*/ 6125606 h 7134208"/>
              <a:gd name="connsiteX15-1695" fmla="*/ 1099910 w 9397013"/>
              <a:gd name="connsiteY15-1696" fmla="*/ 6831395 h 7134208"/>
              <a:gd name="connsiteX16-1697" fmla="*/ 919656 w 9397013"/>
              <a:gd name="connsiteY16-1698" fmla="*/ 6434435 h 7134208"/>
              <a:gd name="connsiteX17-1699" fmla="*/ 5641256 w 9397013"/>
              <a:gd name="connsiteY17-1700" fmla="*/ 212436 h 7134208"/>
              <a:gd name="connsiteX18-1701" fmla="*/ 6077099 w 9397013"/>
              <a:gd name="connsiteY18-1702" fmla="*/ 225638 h 7134208"/>
              <a:gd name="connsiteX19-1703" fmla="*/ 1099910 w 9397013"/>
              <a:gd name="connsiteY19-1704" fmla="*/ 6831395 h 7134208"/>
              <a:gd name="connsiteX20-1705" fmla="*/ 6958778 w 9397013"/>
              <a:gd name="connsiteY20-1706" fmla="*/ 7124971 h 7134208"/>
              <a:gd name="connsiteX21-1707" fmla="*/ 6560038 w 9397013"/>
              <a:gd name="connsiteY21-1708" fmla="*/ 7134207 h 7134208"/>
              <a:gd name="connsiteX22-1709" fmla="*/ 3849932 w 9397013"/>
              <a:gd name="connsiteY22-1710" fmla="*/ 3596670 h 7134208"/>
              <a:gd name="connsiteX23-1711" fmla="*/ 4086202 w 9397013"/>
              <a:gd name="connsiteY23-1712" fmla="*/ 3287229 h 7134208"/>
              <a:gd name="connsiteX24-1713" fmla="*/ 6958778 w 9397013"/>
              <a:gd name="connsiteY24-1714" fmla="*/ 7124971 h 7134208"/>
              <a:gd name="connsiteX25-1715" fmla="*/ 7777211 w 9397013"/>
              <a:gd name="connsiteY25-1716" fmla="*/ 7124972 h 7134208"/>
              <a:gd name="connsiteX26-1717" fmla="*/ 7324729 w 9397013"/>
              <a:gd name="connsiteY26-1718" fmla="*/ 7124972 h 7134208"/>
              <a:gd name="connsiteX27-1719" fmla="*/ 4245793 w 9397013"/>
              <a:gd name="connsiteY27-1720" fmla="*/ 3078214 h 7134208"/>
              <a:gd name="connsiteX28-1721" fmla="*/ 4490696 w 9397013"/>
              <a:gd name="connsiteY28-1722" fmla="*/ 2757469 h 7134208"/>
              <a:gd name="connsiteX29-1723" fmla="*/ 7777211 w 9397013"/>
              <a:gd name="connsiteY29-1724" fmla="*/ 7124972 h 7134208"/>
              <a:gd name="connsiteX30-1725" fmla="*/ 8567691 w 9397013"/>
              <a:gd name="connsiteY30-1726" fmla="*/ 7124971 h 7134208"/>
              <a:gd name="connsiteX31-1727" fmla="*/ 8159389 w 9397013"/>
              <a:gd name="connsiteY31-1728" fmla="*/ 7134208 h 7134208"/>
              <a:gd name="connsiteX32-1729" fmla="*/ 4650570 w 9397013"/>
              <a:gd name="connsiteY32-1730" fmla="*/ 2548084 h 7134208"/>
              <a:gd name="connsiteX33-1731" fmla="*/ 4869244 w 9397013"/>
              <a:gd name="connsiteY33-1732" fmla="*/ 2261689 h 7134208"/>
              <a:gd name="connsiteX34-1733" fmla="*/ 8567691 w 9397013"/>
              <a:gd name="connsiteY34-1734" fmla="*/ 7124971 h 7134208"/>
              <a:gd name="connsiteX35-1735" fmla="*/ 9397013 w 9397013"/>
              <a:gd name="connsiteY35-1736" fmla="*/ 7134207 h 7134208"/>
              <a:gd name="connsiteX36-1737" fmla="*/ 8921338 w 9397013"/>
              <a:gd name="connsiteY36-1738" fmla="*/ 7115735 h 7134208"/>
              <a:gd name="connsiteX37-1739" fmla="*/ 5045299 w 9397013"/>
              <a:gd name="connsiteY37-1740" fmla="*/ 2031113 h 7134208"/>
              <a:gd name="connsiteX38-1741" fmla="*/ 5273037 w 9397013"/>
              <a:gd name="connsiteY38-1742" fmla="*/ 1732846 h 7134208"/>
              <a:gd name="connsiteX39-1743" fmla="*/ 9397013 w 9397013"/>
              <a:gd name="connsiteY39-1744" fmla="*/ 7134207 h 7134208"/>
              <a:gd name="connsiteX0-1745" fmla="*/ 168369 w 9397013"/>
              <a:gd name="connsiteY0-1746" fmla="*/ 4571581 h 6925856"/>
              <a:gd name="connsiteX1-1747" fmla="*/ 0 w 9397013"/>
              <a:gd name="connsiteY1-1748" fmla="*/ 4200794 h 6925856"/>
              <a:gd name="connsiteX2-1749" fmla="*/ 3175788 w 9397013"/>
              <a:gd name="connsiteY2-1750" fmla="*/ 4084 h 6925856"/>
              <a:gd name="connsiteX3-1751" fmla="*/ 3628305 w 9397013"/>
              <a:gd name="connsiteY3-1752" fmla="*/ 0 h 6925856"/>
              <a:gd name="connsiteX4-1753" fmla="*/ 168369 w 9397013"/>
              <a:gd name="connsiteY4-1754" fmla="*/ 4571581 h 6925856"/>
              <a:gd name="connsiteX5-1755" fmla="*/ 488220 w 9397013"/>
              <a:gd name="connsiteY5-1756" fmla="*/ 5275963 h 6925856"/>
              <a:gd name="connsiteX6-1757" fmla="*/ 299082 w 9397013"/>
              <a:gd name="connsiteY6-1758" fmla="*/ 4859439 h 6925856"/>
              <a:gd name="connsiteX7-1759" fmla="*/ 3977147 w 9397013"/>
              <a:gd name="connsiteY7-1760" fmla="*/ 3723 h 6925856"/>
              <a:gd name="connsiteX8-1761" fmla="*/ 4465006 w 9397013"/>
              <a:gd name="connsiteY8-1762" fmla="*/ 840 h 6925856"/>
              <a:gd name="connsiteX9-1763" fmla="*/ 488220 w 9397013"/>
              <a:gd name="connsiteY9-1764" fmla="*/ 5275963 h 6925856"/>
              <a:gd name="connsiteX10-1765" fmla="*/ 779421 w 9397013"/>
              <a:gd name="connsiteY10-1766" fmla="*/ 5917254 h 6925856"/>
              <a:gd name="connsiteX11-1767" fmla="*/ 618065 w 9397013"/>
              <a:gd name="connsiteY11-1768" fmla="*/ 5561911 h 6925856"/>
              <a:gd name="connsiteX12-1769" fmla="*/ 4805164 w 9397013"/>
              <a:gd name="connsiteY12-1770" fmla="*/ 4602 h 6925856"/>
              <a:gd name="connsiteX13-1771" fmla="*/ 5260238 w 9397013"/>
              <a:gd name="connsiteY13-1772" fmla="*/ 25779 h 6925856"/>
              <a:gd name="connsiteX14-1773" fmla="*/ 779421 w 9397013"/>
              <a:gd name="connsiteY14-1774" fmla="*/ 5917254 h 6925856"/>
              <a:gd name="connsiteX15-1775" fmla="*/ 1099910 w 9397013"/>
              <a:gd name="connsiteY15-1776" fmla="*/ 6623043 h 6925856"/>
              <a:gd name="connsiteX16-1777" fmla="*/ 919656 w 9397013"/>
              <a:gd name="connsiteY16-1778" fmla="*/ 6226083 h 6925856"/>
              <a:gd name="connsiteX17-1779" fmla="*/ 5641256 w 9397013"/>
              <a:gd name="connsiteY17-1780" fmla="*/ 4084 h 6925856"/>
              <a:gd name="connsiteX18-1781" fmla="*/ 6077099 w 9397013"/>
              <a:gd name="connsiteY18-1782" fmla="*/ 17286 h 6925856"/>
              <a:gd name="connsiteX19-1783" fmla="*/ 1099910 w 9397013"/>
              <a:gd name="connsiteY19-1784" fmla="*/ 6623043 h 6925856"/>
              <a:gd name="connsiteX20-1785" fmla="*/ 6958778 w 9397013"/>
              <a:gd name="connsiteY20-1786" fmla="*/ 6916619 h 6925856"/>
              <a:gd name="connsiteX21-1787" fmla="*/ 6560038 w 9397013"/>
              <a:gd name="connsiteY21-1788" fmla="*/ 6925855 h 6925856"/>
              <a:gd name="connsiteX22-1789" fmla="*/ 3849932 w 9397013"/>
              <a:gd name="connsiteY22-1790" fmla="*/ 3388318 h 6925856"/>
              <a:gd name="connsiteX23-1791" fmla="*/ 4086202 w 9397013"/>
              <a:gd name="connsiteY23-1792" fmla="*/ 3078877 h 6925856"/>
              <a:gd name="connsiteX24-1793" fmla="*/ 6958778 w 9397013"/>
              <a:gd name="connsiteY24-1794" fmla="*/ 6916619 h 6925856"/>
              <a:gd name="connsiteX25-1795" fmla="*/ 7777211 w 9397013"/>
              <a:gd name="connsiteY25-1796" fmla="*/ 6916620 h 6925856"/>
              <a:gd name="connsiteX26-1797" fmla="*/ 7324729 w 9397013"/>
              <a:gd name="connsiteY26-1798" fmla="*/ 6916620 h 6925856"/>
              <a:gd name="connsiteX27-1799" fmla="*/ 4245793 w 9397013"/>
              <a:gd name="connsiteY27-1800" fmla="*/ 2869862 h 6925856"/>
              <a:gd name="connsiteX28-1801" fmla="*/ 4490696 w 9397013"/>
              <a:gd name="connsiteY28-1802" fmla="*/ 2549117 h 6925856"/>
              <a:gd name="connsiteX29-1803" fmla="*/ 7777211 w 9397013"/>
              <a:gd name="connsiteY29-1804" fmla="*/ 6916620 h 6925856"/>
              <a:gd name="connsiteX30-1805" fmla="*/ 8567691 w 9397013"/>
              <a:gd name="connsiteY30-1806" fmla="*/ 6916619 h 6925856"/>
              <a:gd name="connsiteX31-1807" fmla="*/ 8159389 w 9397013"/>
              <a:gd name="connsiteY31-1808" fmla="*/ 6925856 h 6925856"/>
              <a:gd name="connsiteX32-1809" fmla="*/ 4650570 w 9397013"/>
              <a:gd name="connsiteY32-1810" fmla="*/ 2339732 h 6925856"/>
              <a:gd name="connsiteX33-1811" fmla="*/ 4869244 w 9397013"/>
              <a:gd name="connsiteY33-1812" fmla="*/ 2053337 h 6925856"/>
              <a:gd name="connsiteX34-1813" fmla="*/ 8567691 w 9397013"/>
              <a:gd name="connsiteY34-1814" fmla="*/ 6916619 h 6925856"/>
              <a:gd name="connsiteX35-1815" fmla="*/ 9397013 w 9397013"/>
              <a:gd name="connsiteY35-1816" fmla="*/ 6925855 h 6925856"/>
              <a:gd name="connsiteX36-1817" fmla="*/ 8921338 w 9397013"/>
              <a:gd name="connsiteY36-1818" fmla="*/ 6907383 h 6925856"/>
              <a:gd name="connsiteX37-1819" fmla="*/ 5045299 w 9397013"/>
              <a:gd name="connsiteY37-1820" fmla="*/ 1822761 h 6925856"/>
              <a:gd name="connsiteX38-1821" fmla="*/ 5273037 w 9397013"/>
              <a:gd name="connsiteY38-1822" fmla="*/ 1524494 h 6925856"/>
              <a:gd name="connsiteX39-1823" fmla="*/ 9397013 w 9397013"/>
              <a:gd name="connsiteY39-1824" fmla="*/ 6925855 h 6925856"/>
              <a:gd name="connsiteX0-1825" fmla="*/ 168369 w 9397013"/>
              <a:gd name="connsiteY0-1826" fmla="*/ 4571581 h 6925856"/>
              <a:gd name="connsiteX1-1827" fmla="*/ 0 w 9397013"/>
              <a:gd name="connsiteY1-1828" fmla="*/ 4200794 h 6925856"/>
              <a:gd name="connsiteX2-1829" fmla="*/ 3175788 w 9397013"/>
              <a:gd name="connsiteY2-1830" fmla="*/ 4084 h 6925856"/>
              <a:gd name="connsiteX3-1831" fmla="*/ 3628305 w 9397013"/>
              <a:gd name="connsiteY3-1832" fmla="*/ 0 h 6925856"/>
              <a:gd name="connsiteX4-1833" fmla="*/ 168369 w 9397013"/>
              <a:gd name="connsiteY4-1834" fmla="*/ 4571581 h 6925856"/>
              <a:gd name="connsiteX5-1835" fmla="*/ 488220 w 9397013"/>
              <a:gd name="connsiteY5-1836" fmla="*/ 5275963 h 6925856"/>
              <a:gd name="connsiteX6-1837" fmla="*/ 299082 w 9397013"/>
              <a:gd name="connsiteY6-1838" fmla="*/ 4859439 h 6925856"/>
              <a:gd name="connsiteX7-1839" fmla="*/ 3977147 w 9397013"/>
              <a:gd name="connsiteY7-1840" fmla="*/ 3723 h 6925856"/>
              <a:gd name="connsiteX8-1841" fmla="*/ 4465006 w 9397013"/>
              <a:gd name="connsiteY8-1842" fmla="*/ 840 h 6925856"/>
              <a:gd name="connsiteX9-1843" fmla="*/ 488220 w 9397013"/>
              <a:gd name="connsiteY9-1844" fmla="*/ 5275963 h 6925856"/>
              <a:gd name="connsiteX10-1845" fmla="*/ 779421 w 9397013"/>
              <a:gd name="connsiteY10-1846" fmla="*/ 5917254 h 6925856"/>
              <a:gd name="connsiteX11-1847" fmla="*/ 618065 w 9397013"/>
              <a:gd name="connsiteY11-1848" fmla="*/ 5561911 h 6925856"/>
              <a:gd name="connsiteX12-1849" fmla="*/ 4805164 w 9397013"/>
              <a:gd name="connsiteY12-1850" fmla="*/ 4602 h 6925856"/>
              <a:gd name="connsiteX13-1851" fmla="*/ 5260238 w 9397013"/>
              <a:gd name="connsiteY13-1852" fmla="*/ 25779 h 6925856"/>
              <a:gd name="connsiteX14-1853" fmla="*/ 779421 w 9397013"/>
              <a:gd name="connsiteY14-1854" fmla="*/ 5917254 h 6925856"/>
              <a:gd name="connsiteX15-1855" fmla="*/ 1598673 w 9397013"/>
              <a:gd name="connsiteY15-1856" fmla="*/ 5976498 h 6925856"/>
              <a:gd name="connsiteX16-1857" fmla="*/ 919656 w 9397013"/>
              <a:gd name="connsiteY16-1858" fmla="*/ 6226083 h 6925856"/>
              <a:gd name="connsiteX17-1859" fmla="*/ 5641256 w 9397013"/>
              <a:gd name="connsiteY17-1860" fmla="*/ 4084 h 6925856"/>
              <a:gd name="connsiteX18-1861" fmla="*/ 6077099 w 9397013"/>
              <a:gd name="connsiteY18-1862" fmla="*/ 17286 h 6925856"/>
              <a:gd name="connsiteX19-1863" fmla="*/ 1598673 w 9397013"/>
              <a:gd name="connsiteY19-1864" fmla="*/ 5976498 h 6925856"/>
              <a:gd name="connsiteX20-1865" fmla="*/ 6958778 w 9397013"/>
              <a:gd name="connsiteY20-1866" fmla="*/ 6916619 h 6925856"/>
              <a:gd name="connsiteX21-1867" fmla="*/ 6560038 w 9397013"/>
              <a:gd name="connsiteY21-1868" fmla="*/ 6925855 h 6925856"/>
              <a:gd name="connsiteX22-1869" fmla="*/ 3849932 w 9397013"/>
              <a:gd name="connsiteY22-1870" fmla="*/ 3388318 h 6925856"/>
              <a:gd name="connsiteX23-1871" fmla="*/ 4086202 w 9397013"/>
              <a:gd name="connsiteY23-1872" fmla="*/ 3078877 h 6925856"/>
              <a:gd name="connsiteX24-1873" fmla="*/ 6958778 w 9397013"/>
              <a:gd name="connsiteY24-1874" fmla="*/ 6916619 h 6925856"/>
              <a:gd name="connsiteX25-1875" fmla="*/ 7777211 w 9397013"/>
              <a:gd name="connsiteY25-1876" fmla="*/ 6916620 h 6925856"/>
              <a:gd name="connsiteX26-1877" fmla="*/ 7324729 w 9397013"/>
              <a:gd name="connsiteY26-1878" fmla="*/ 6916620 h 6925856"/>
              <a:gd name="connsiteX27-1879" fmla="*/ 4245793 w 9397013"/>
              <a:gd name="connsiteY27-1880" fmla="*/ 2869862 h 6925856"/>
              <a:gd name="connsiteX28-1881" fmla="*/ 4490696 w 9397013"/>
              <a:gd name="connsiteY28-1882" fmla="*/ 2549117 h 6925856"/>
              <a:gd name="connsiteX29-1883" fmla="*/ 7777211 w 9397013"/>
              <a:gd name="connsiteY29-1884" fmla="*/ 6916620 h 6925856"/>
              <a:gd name="connsiteX30-1885" fmla="*/ 8567691 w 9397013"/>
              <a:gd name="connsiteY30-1886" fmla="*/ 6916619 h 6925856"/>
              <a:gd name="connsiteX31-1887" fmla="*/ 8159389 w 9397013"/>
              <a:gd name="connsiteY31-1888" fmla="*/ 6925856 h 6925856"/>
              <a:gd name="connsiteX32-1889" fmla="*/ 4650570 w 9397013"/>
              <a:gd name="connsiteY32-1890" fmla="*/ 2339732 h 6925856"/>
              <a:gd name="connsiteX33-1891" fmla="*/ 4869244 w 9397013"/>
              <a:gd name="connsiteY33-1892" fmla="*/ 2053337 h 6925856"/>
              <a:gd name="connsiteX34-1893" fmla="*/ 8567691 w 9397013"/>
              <a:gd name="connsiteY34-1894" fmla="*/ 6916619 h 6925856"/>
              <a:gd name="connsiteX35-1895" fmla="*/ 9397013 w 9397013"/>
              <a:gd name="connsiteY35-1896" fmla="*/ 6925855 h 6925856"/>
              <a:gd name="connsiteX36-1897" fmla="*/ 8921338 w 9397013"/>
              <a:gd name="connsiteY36-1898" fmla="*/ 6907383 h 6925856"/>
              <a:gd name="connsiteX37-1899" fmla="*/ 5045299 w 9397013"/>
              <a:gd name="connsiteY37-1900" fmla="*/ 1822761 h 6925856"/>
              <a:gd name="connsiteX38-1901" fmla="*/ 5273037 w 9397013"/>
              <a:gd name="connsiteY38-1902" fmla="*/ 1524494 h 6925856"/>
              <a:gd name="connsiteX39-1903" fmla="*/ 9397013 w 9397013"/>
              <a:gd name="connsiteY39-1904" fmla="*/ 6925855 h 6925856"/>
              <a:gd name="connsiteX0-1905" fmla="*/ 168369 w 9397013"/>
              <a:gd name="connsiteY0-1906" fmla="*/ 4571581 h 6925856"/>
              <a:gd name="connsiteX1-1907" fmla="*/ 0 w 9397013"/>
              <a:gd name="connsiteY1-1908" fmla="*/ 4200794 h 6925856"/>
              <a:gd name="connsiteX2-1909" fmla="*/ 3175788 w 9397013"/>
              <a:gd name="connsiteY2-1910" fmla="*/ 4084 h 6925856"/>
              <a:gd name="connsiteX3-1911" fmla="*/ 3628305 w 9397013"/>
              <a:gd name="connsiteY3-1912" fmla="*/ 0 h 6925856"/>
              <a:gd name="connsiteX4-1913" fmla="*/ 168369 w 9397013"/>
              <a:gd name="connsiteY4-1914" fmla="*/ 4571581 h 6925856"/>
              <a:gd name="connsiteX5-1915" fmla="*/ 488220 w 9397013"/>
              <a:gd name="connsiteY5-1916" fmla="*/ 5275963 h 6925856"/>
              <a:gd name="connsiteX6-1917" fmla="*/ 299082 w 9397013"/>
              <a:gd name="connsiteY6-1918" fmla="*/ 4859439 h 6925856"/>
              <a:gd name="connsiteX7-1919" fmla="*/ 3977147 w 9397013"/>
              <a:gd name="connsiteY7-1920" fmla="*/ 3723 h 6925856"/>
              <a:gd name="connsiteX8-1921" fmla="*/ 4465006 w 9397013"/>
              <a:gd name="connsiteY8-1922" fmla="*/ 840 h 6925856"/>
              <a:gd name="connsiteX9-1923" fmla="*/ 488220 w 9397013"/>
              <a:gd name="connsiteY9-1924" fmla="*/ 5275963 h 6925856"/>
              <a:gd name="connsiteX10-1925" fmla="*/ 779421 w 9397013"/>
              <a:gd name="connsiteY10-1926" fmla="*/ 5917254 h 6925856"/>
              <a:gd name="connsiteX11-1927" fmla="*/ 618065 w 9397013"/>
              <a:gd name="connsiteY11-1928" fmla="*/ 5561911 h 6925856"/>
              <a:gd name="connsiteX12-1929" fmla="*/ 4805164 w 9397013"/>
              <a:gd name="connsiteY12-1930" fmla="*/ 4602 h 6925856"/>
              <a:gd name="connsiteX13-1931" fmla="*/ 5260238 w 9397013"/>
              <a:gd name="connsiteY13-1932" fmla="*/ 25779 h 6925856"/>
              <a:gd name="connsiteX14-1933" fmla="*/ 779421 w 9397013"/>
              <a:gd name="connsiteY14-1934" fmla="*/ 5917254 h 6925856"/>
              <a:gd name="connsiteX15-1935" fmla="*/ 1598673 w 9397013"/>
              <a:gd name="connsiteY15-1936" fmla="*/ 5976498 h 6925856"/>
              <a:gd name="connsiteX16-1937" fmla="*/ 1566201 w 9397013"/>
              <a:gd name="connsiteY16-1938" fmla="*/ 5394811 h 6925856"/>
              <a:gd name="connsiteX17-1939" fmla="*/ 5641256 w 9397013"/>
              <a:gd name="connsiteY17-1940" fmla="*/ 4084 h 6925856"/>
              <a:gd name="connsiteX18-1941" fmla="*/ 6077099 w 9397013"/>
              <a:gd name="connsiteY18-1942" fmla="*/ 17286 h 6925856"/>
              <a:gd name="connsiteX19-1943" fmla="*/ 1598673 w 9397013"/>
              <a:gd name="connsiteY19-1944" fmla="*/ 5976498 h 6925856"/>
              <a:gd name="connsiteX20-1945" fmla="*/ 6958778 w 9397013"/>
              <a:gd name="connsiteY20-1946" fmla="*/ 6916619 h 6925856"/>
              <a:gd name="connsiteX21-1947" fmla="*/ 6560038 w 9397013"/>
              <a:gd name="connsiteY21-1948" fmla="*/ 6925855 h 6925856"/>
              <a:gd name="connsiteX22-1949" fmla="*/ 3849932 w 9397013"/>
              <a:gd name="connsiteY22-1950" fmla="*/ 3388318 h 6925856"/>
              <a:gd name="connsiteX23-1951" fmla="*/ 4086202 w 9397013"/>
              <a:gd name="connsiteY23-1952" fmla="*/ 3078877 h 6925856"/>
              <a:gd name="connsiteX24-1953" fmla="*/ 6958778 w 9397013"/>
              <a:gd name="connsiteY24-1954" fmla="*/ 6916619 h 6925856"/>
              <a:gd name="connsiteX25-1955" fmla="*/ 7777211 w 9397013"/>
              <a:gd name="connsiteY25-1956" fmla="*/ 6916620 h 6925856"/>
              <a:gd name="connsiteX26-1957" fmla="*/ 7324729 w 9397013"/>
              <a:gd name="connsiteY26-1958" fmla="*/ 6916620 h 6925856"/>
              <a:gd name="connsiteX27-1959" fmla="*/ 4245793 w 9397013"/>
              <a:gd name="connsiteY27-1960" fmla="*/ 2869862 h 6925856"/>
              <a:gd name="connsiteX28-1961" fmla="*/ 4490696 w 9397013"/>
              <a:gd name="connsiteY28-1962" fmla="*/ 2549117 h 6925856"/>
              <a:gd name="connsiteX29-1963" fmla="*/ 7777211 w 9397013"/>
              <a:gd name="connsiteY29-1964" fmla="*/ 6916620 h 6925856"/>
              <a:gd name="connsiteX30-1965" fmla="*/ 8567691 w 9397013"/>
              <a:gd name="connsiteY30-1966" fmla="*/ 6916619 h 6925856"/>
              <a:gd name="connsiteX31-1967" fmla="*/ 8159389 w 9397013"/>
              <a:gd name="connsiteY31-1968" fmla="*/ 6925856 h 6925856"/>
              <a:gd name="connsiteX32-1969" fmla="*/ 4650570 w 9397013"/>
              <a:gd name="connsiteY32-1970" fmla="*/ 2339732 h 6925856"/>
              <a:gd name="connsiteX33-1971" fmla="*/ 4869244 w 9397013"/>
              <a:gd name="connsiteY33-1972" fmla="*/ 2053337 h 6925856"/>
              <a:gd name="connsiteX34-1973" fmla="*/ 8567691 w 9397013"/>
              <a:gd name="connsiteY34-1974" fmla="*/ 6916619 h 6925856"/>
              <a:gd name="connsiteX35-1975" fmla="*/ 9397013 w 9397013"/>
              <a:gd name="connsiteY35-1976" fmla="*/ 6925855 h 6925856"/>
              <a:gd name="connsiteX36-1977" fmla="*/ 8921338 w 9397013"/>
              <a:gd name="connsiteY36-1978" fmla="*/ 6907383 h 6925856"/>
              <a:gd name="connsiteX37-1979" fmla="*/ 5045299 w 9397013"/>
              <a:gd name="connsiteY37-1980" fmla="*/ 1822761 h 6925856"/>
              <a:gd name="connsiteX38-1981" fmla="*/ 5273037 w 9397013"/>
              <a:gd name="connsiteY38-1982" fmla="*/ 1524494 h 6925856"/>
              <a:gd name="connsiteX39-1983" fmla="*/ 9397013 w 9397013"/>
              <a:gd name="connsiteY39-1984" fmla="*/ 6925855 h 6925856"/>
              <a:gd name="connsiteX0-1985" fmla="*/ 168369 w 9397013"/>
              <a:gd name="connsiteY0-1986" fmla="*/ 4571581 h 6925856"/>
              <a:gd name="connsiteX1-1987" fmla="*/ 0 w 9397013"/>
              <a:gd name="connsiteY1-1988" fmla="*/ 4200794 h 6925856"/>
              <a:gd name="connsiteX2-1989" fmla="*/ 3175788 w 9397013"/>
              <a:gd name="connsiteY2-1990" fmla="*/ 4084 h 6925856"/>
              <a:gd name="connsiteX3-1991" fmla="*/ 3628305 w 9397013"/>
              <a:gd name="connsiteY3-1992" fmla="*/ 0 h 6925856"/>
              <a:gd name="connsiteX4-1993" fmla="*/ 168369 w 9397013"/>
              <a:gd name="connsiteY4-1994" fmla="*/ 4571581 h 6925856"/>
              <a:gd name="connsiteX5-1995" fmla="*/ 488220 w 9397013"/>
              <a:gd name="connsiteY5-1996" fmla="*/ 5275963 h 6925856"/>
              <a:gd name="connsiteX6-1997" fmla="*/ 299082 w 9397013"/>
              <a:gd name="connsiteY6-1998" fmla="*/ 4859439 h 6925856"/>
              <a:gd name="connsiteX7-1999" fmla="*/ 3977147 w 9397013"/>
              <a:gd name="connsiteY7-2000" fmla="*/ 3723 h 6925856"/>
              <a:gd name="connsiteX8-2001" fmla="*/ 4465006 w 9397013"/>
              <a:gd name="connsiteY8-2002" fmla="*/ 840 h 6925856"/>
              <a:gd name="connsiteX9-2003" fmla="*/ 488220 w 9397013"/>
              <a:gd name="connsiteY9-2004" fmla="*/ 5275963 h 6925856"/>
              <a:gd name="connsiteX10-2005" fmla="*/ 779421 w 9397013"/>
              <a:gd name="connsiteY10-2006" fmla="*/ 5917254 h 6925856"/>
              <a:gd name="connsiteX11-2007" fmla="*/ 618065 w 9397013"/>
              <a:gd name="connsiteY11-2008" fmla="*/ 5561911 h 6925856"/>
              <a:gd name="connsiteX12-2009" fmla="*/ 4805164 w 9397013"/>
              <a:gd name="connsiteY12-2010" fmla="*/ 4602 h 6925856"/>
              <a:gd name="connsiteX13-2011" fmla="*/ 5260238 w 9397013"/>
              <a:gd name="connsiteY13-2012" fmla="*/ 25779 h 6925856"/>
              <a:gd name="connsiteX14-2013" fmla="*/ 779421 w 9397013"/>
              <a:gd name="connsiteY14-2014" fmla="*/ 5917254 h 6925856"/>
              <a:gd name="connsiteX15-2015" fmla="*/ 1580200 w 9397013"/>
              <a:gd name="connsiteY15-2016" fmla="*/ 5985735 h 6925856"/>
              <a:gd name="connsiteX16-2017" fmla="*/ 1566201 w 9397013"/>
              <a:gd name="connsiteY16-2018" fmla="*/ 5394811 h 6925856"/>
              <a:gd name="connsiteX17-2019" fmla="*/ 5641256 w 9397013"/>
              <a:gd name="connsiteY17-2020" fmla="*/ 4084 h 6925856"/>
              <a:gd name="connsiteX18-2021" fmla="*/ 6077099 w 9397013"/>
              <a:gd name="connsiteY18-2022" fmla="*/ 17286 h 6925856"/>
              <a:gd name="connsiteX19-2023" fmla="*/ 1580200 w 9397013"/>
              <a:gd name="connsiteY19-2024" fmla="*/ 5985735 h 6925856"/>
              <a:gd name="connsiteX20-2025" fmla="*/ 6958778 w 9397013"/>
              <a:gd name="connsiteY20-2026" fmla="*/ 6916619 h 6925856"/>
              <a:gd name="connsiteX21-2027" fmla="*/ 6560038 w 9397013"/>
              <a:gd name="connsiteY21-2028" fmla="*/ 6925855 h 6925856"/>
              <a:gd name="connsiteX22-2029" fmla="*/ 3849932 w 9397013"/>
              <a:gd name="connsiteY22-2030" fmla="*/ 3388318 h 6925856"/>
              <a:gd name="connsiteX23-2031" fmla="*/ 4086202 w 9397013"/>
              <a:gd name="connsiteY23-2032" fmla="*/ 3078877 h 6925856"/>
              <a:gd name="connsiteX24-2033" fmla="*/ 6958778 w 9397013"/>
              <a:gd name="connsiteY24-2034" fmla="*/ 6916619 h 6925856"/>
              <a:gd name="connsiteX25-2035" fmla="*/ 7777211 w 9397013"/>
              <a:gd name="connsiteY25-2036" fmla="*/ 6916620 h 6925856"/>
              <a:gd name="connsiteX26-2037" fmla="*/ 7324729 w 9397013"/>
              <a:gd name="connsiteY26-2038" fmla="*/ 6916620 h 6925856"/>
              <a:gd name="connsiteX27-2039" fmla="*/ 4245793 w 9397013"/>
              <a:gd name="connsiteY27-2040" fmla="*/ 2869862 h 6925856"/>
              <a:gd name="connsiteX28-2041" fmla="*/ 4490696 w 9397013"/>
              <a:gd name="connsiteY28-2042" fmla="*/ 2549117 h 6925856"/>
              <a:gd name="connsiteX29-2043" fmla="*/ 7777211 w 9397013"/>
              <a:gd name="connsiteY29-2044" fmla="*/ 6916620 h 6925856"/>
              <a:gd name="connsiteX30-2045" fmla="*/ 8567691 w 9397013"/>
              <a:gd name="connsiteY30-2046" fmla="*/ 6916619 h 6925856"/>
              <a:gd name="connsiteX31-2047" fmla="*/ 8159389 w 9397013"/>
              <a:gd name="connsiteY31-2048" fmla="*/ 6925856 h 6925856"/>
              <a:gd name="connsiteX32-2049" fmla="*/ 4650570 w 9397013"/>
              <a:gd name="connsiteY32-2050" fmla="*/ 2339732 h 6925856"/>
              <a:gd name="connsiteX33-2051" fmla="*/ 4869244 w 9397013"/>
              <a:gd name="connsiteY33-2052" fmla="*/ 2053337 h 6925856"/>
              <a:gd name="connsiteX34-2053" fmla="*/ 8567691 w 9397013"/>
              <a:gd name="connsiteY34-2054" fmla="*/ 6916619 h 6925856"/>
              <a:gd name="connsiteX35-2055" fmla="*/ 9397013 w 9397013"/>
              <a:gd name="connsiteY35-2056" fmla="*/ 6925855 h 6925856"/>
              <a:gd name="connsiteX36-2057" fmla="*/ 8921338 w 9397013"/>
              <a:gd name="connsiteY36-2058" fmla="*/ 6907383 h 6925856"/>
              <a:gd name="connsiteX37-2059" fmla="*/ 5045299 w 9397013"/>
              <a:gd name="connsiteY37-2060" fmla="*/ 1822761 h 6925856"/>
              <a:gd name="connsiteX38-2061" fmla="*/ 5273037 w 9397013"/>
              <a:gd name="connsiteY38-2062" fmla="*/ 1524494 h 6925856"/>
              <a:gd name="connsiteX39-2063" fmla="*/ 9397013 w 9397013"/>
              <a:gd name="connsiteY39-2064" fmla="*/ 6925855 h 6925856"/>
              <a:gd name="connsiteX0-2065" fmla="*/ 168369 w 9397013"/>
              <a:gd name="connsiteY0-2066" fmla="*/ 4571581 h 6925856"/>
              <a:gd name="connsiteX1-2067" fmla="*/ 0 w 9397013"/>
              <a:gd name="connsiteY1-2068" fmla="*/ 4200794 h 6925856"/>
              <a:gd name="connsiteX2-2069" fmla="*/ 3175788 w 9397013"/>
              <a:gd name="connsiteY2-2070" fmla="*/ 4084 h 6925856"/>
              <a:gd name="connsiteX3-2071" fmla="*/ 3628305 w 9397013"/>
              <a:gd name="connsiteY3-2072" fmla="*/ 0 h 6925856"/>
              <a:gd name="connsiteX4-2073" fmla="*/ 168369 w 9397013"/>
              <a:gd name="connsiteY4-2074" fmla="*/ 4571581 h 6925856"/>
              <a:gd name="connsiteX5-2075" fmla="*/ 488220 w 9397013"/>
              <a:gd name="connsiteY5-2076" fmla="*/ 5275963 h 6925856"/>
              <a:gd name="connsiteX6-2077" fmla="*/ 299082 w 9397013"/>
              <a:gd name="connsiteY6-2078" fmla="*/ 4859439 h 6925856"/>
              <a:gd name="connsiteX7-2079" fmla="*/ 3977147 w 9397013"/>
              <a:gd name="connsiteY7-2080" fmla="*/ 3723 h 6925856"/>
              <a:gd name="connsiteX8-2081" fmla="*/ 4465006 w 9397013"/>
              <a:gd name="connsiteY8-2082" fmla="*/ 840 h 6925856"/>
              <a:gd name="connsiteX9-2083" fmla="*/ 488220 w 9397013"/>
              <a:gd name="connsiteY9-2084" fmla="*/ 5275963 h 6925856"/>
              <a:gd name="connsiteX10-2085" fmla="*/ 1601458 w 9397013"/>
              <a:gd name="connsiteY10-2086" fmla="*/ 4845836 h 6925856"/>
              <a:gd name="connsiteX11-2087" fmla="*/ 618065 w 9397013"/>
              <a:gd name="connsiteY11-2088" fmla="*/ 5561911 h 6925856"/>
              <a:gd name="connsiteX12-2089" fmla="*/ 4805164 w 9397013"/>
              <a:gd name="connsiteY12-2090" fmla="*/ 4602 h 6925856"/>
              <a:gd name="connsiteX13-2091" fmla="*/ 5260238 w 9397013"/>
              <a:gd name="connsiteY13-2092" fmla="*/ 25779 h 6925856"/>
              <a:gd name="connsiteX14-2093" fmla="*/ 1601458 w 9397013"/>
              <a:gd name="connsiteY14-2094" fmla="*/ 4845836 h 6925856"/>
              <a:gd name="connsiteX15-2095" fmla="*/ 1580200 w 9397013"/>
              <a:gd name="connsiteY15-2096" fmla="*/ 5985735 h 6925856"/>
              <a:gd name="connsiteX16-2097" fmla="*/ 1566201 w 9397013"/>
              <a:gd name="connsiteY16-2098" fmla="*/ 5394811 h 6925856"/>
              <a:gd name="connsiteX17-2099" fmla="*/ 5641256 w 9397013"/>
              <a:gd name="connsiteY17-2100" fmla="*/ 4084 h 6925856"/>
              <a:gd name="connsiteX18-2101" fmla="*/ 6077099 w 9397013"/>
              <a:gd name="connsiteY18-2102" fmla="*/ 17286 h 6925856"/>
              <a:gd name="connsiteX19-2103" fmla="*/ 1580200 w 9397013"/>
              <a:gd name="connsiteY19-2104" fmla="*/ 5985735 h 6925856"/>
              <a:gd name="connsiteX20-2105" fmla="*/ 6958778 w 9397013"/>
              <a:gd name="connsiteY20-2106" fmla="*/ 6916619 h 6925856"/>
              <a:gd name="connsiteX21-2107" fmla="*/ 6560038 w 9397013"/>
              <a:gd name="connsiteY21-2108" fmla="*/ 6925855 h 6925856"/>
              <a:gd name="connsiteX22-2109" fmla="*/ 3849932 w 9397013"/>
              <a:gd name="connsiteY22-2110" fmla="*/ 3388318 h 6925856"/>
              <a:gd name="connsiteX23-2111" fmla="*/ 4086202 w 9397013"/>
              <a:gd name="connsiteY23-2112" fmla="*/ 3078877 h 6925856"/>
              <a:gd name="connsiteX24-2113" fmla="*/ 6958778 w 9397013"/>
              <a:gd name="connsiteY24-2114" fmla="*/ 6916619 h 6925856"/>
              <a:gd name="connsiteX25-2115" fmla="*/ 7777211 w 9397013"/>
              <a:gd name="connsiteY25-2116" fmla="*/ 6916620 h 6925856"/>
              <a:gd name="connsiteX26-2117" fmla="*/ 7324729 w 9397013"/>
              <a:gd name="connsiteY26-2118" fmla="*/ 6916620 h 6925856"/>
              <a:gd name="connsiteX27-2119" fmla="*/ 4245793 w 9397013"/>
              <a:gd name="connsiteY27-2120" fmla="*/ 2869862 h 6925856"/>
              <a:gd name="connsiteX28-2121" fmla="*/ 4490696 w 9397013"/>
              <a:gd name="connsiteY28-2122" fmla="*/ 2549117 h 6925856"/>
              <a:gd name="connsiteX29-2123" fmla="*/ 7777211 w 9397013"/>
              <a:gd name="connsiteY29-2124" fmla="*/ 6916620 h 6925856"/>
              <a:gd name="connsiteX30-2125" fmla="*/ 8567691 w 9397013"/>
              <a:gd name="connsiteY30-2126" fmla="*/ 6916619 h 6925856"/>
              <a:gd name="connsiteX31-2127" fmla="*/ 8159389 w 9397013"/>
              <a:gd name="connsiteY31-2128" fmla="*/ 6925856 h 6925856"/>
              <a:gd name="connsiteX32-2129" fmla="*/ 4650570 w 9397013"/>
              <a:gd name="connsiteY32-2130" fmla="*/ 2339732 h 6925856"/>
              <a:gd name="connsiteX33-2131" fmla="*/ 4869244 w 9397013"/>
              <a:gd name="connsiteY33-2132" fmla="*/ 2053337 h 6925856"/>
              <a:gd name="connsiteX34-2133" fmla="*/ 8567691 w 9397013"/>
              <a:gd name="connsiteY34-2134" fmla="*/ 6916619 h 6925856"/>
              <a:gd name="connsiteX35-2135" fmla="*/ 9397013 w 9397013"/>
              <a:gd name="connsiteY35-2136" fmla="*/ 6925855 h 6925856"/>
              <a:gd name="connsiteX36-2137" fmla="*/ 8921338 w 9397013"/>
              <a:gd name="connsiteY36-2138" fmla="*/ 6907383 h 6925856"/>
              <a:gd name="connsiteX37-2139" fmla="*/ 5045299 w 9397013"/>
              <a:gd name="connsiteY37-2140" fmla="*/ 1822761 h 6925856"/>
              <a:gd name="connsiteX38-2141" fmla="*/ 5273037 w 9397013"/>
              <a:gd name="connsiteY38-2142" fmla="*/ 1524494 h 6925856"/>
              <a:gd name="connsiteX39-2143" fmla="*/ 9397013 w 9397013"/>
              <a:gd name="connsiteY39-2144" fmla="*/ 6925855 h 6925856"/>
              <a:gd name="connsiteX0-2145" fmla="*/ 168369 w 9397013"/>
              <a:gd name="connsiteY0-2146" fmla="*/ 4571581 h 6925856"/>
              <a:gd name="connsiteX1-2147" fmla="*/ 0 w 9397013"/>
              <a:gd name="connsiteY1-2148" fmla="*/ 4200794 h 6925856"/>
              <a:gd name="connsiteX2-2149" fmla="*/ 3175788 w 9397013"/>
              <a:gd name="connsiteY2-2150" fmla="*/ 4084 h 6925856"/>
              <a:gd name="connsiteX3-2151" fmla="*/ 3628305 w 9397013"/>
              <a:gd name="connsiteY3-2152" fmla="*/ 0 h 6925856"/>
              <a:gd name="connsiteX4-2153" fmla="*/ 168369 w 9397013"/>
              <a:gd name="connsiteY4-2154" fmla="*/ 4571581 h 6925856"/>
              <a:gd name="connsiteX5-2155" fmla="*/ 488220 w 9397013"/>
              <a:gd name="connsiteY5-2156" fmla="*/ 5275963 h 6925856"/>
              <a:gd name="connsiteX6-2157" fmla="*/ 299082 w 9397013"/>
              <a:gd name="connsiteY6-2158" fmla="*/ 4859439 h 6925856"/>
              <a:gd name="connsiteX7-2159" fmla="*/ 3977147 w 9397013"/>
              <a:gd name="connsiteY7-2160" fmla="*/ 3723 h 6925856"/>
              <a:gd name="connsiteX8-2161" fmla="*/ 4465006 w 9397013"/>
              <a:gd name="connsiteY8-2162" fmla="*/ 840 h 6925856"/>
              <a:gd name="connsiteX9-2163" fmla="*/ 488220 w 9397013"/>
              <a:gd name="connsiteY9-2164" fmla="*/ 5275963 h 6925856"/>
              <a:gd name="connsiteX10-2165" fmla="*/ 1601458 w 9397013"/>
              <a:gd name="connsiteY10-2166" fmla="*/ 4845836 h 6925856"/>
              <a:gd name="connsiteX11-2167" fmla="*/ 1550937 w 9397013"/>
              <a:gd name="connsiteY11-2168" fmla="*/ 4315002 h 6925856"/>
              <a:gd name="connsiteX12-2169" fmla="*/ 4805164 w 9397013"/>
              <a:gd name="connsiteY12-2170" fmla="*/ 4602 h 6925856"/>
              <a:gd name="connsiteX13-2171" fmla="*/ 5260238 w 9397013"/>
              <a:gd name="connsiteY13-2172" fmla="*/ 25779 h 6925856"/>
              <a:gd name="connsiteX14-2173" fmla="*/ 1601458 w 9397013"/>
              <a:gd name="connsiteY14-2174" fmla="*/ 4845836 h 6925856"/>
              <a:gd name="connsiteX15-2175" fmla="*/ 1580200 w 9397013"/>
              <a:gd name="connsiteY15-2176" fmla="*/ 5985735 h 6925856"/>
              <a:gd name="connsiteX16-2177" fmla="*/ 1566201 w 9397013"/>
              <a:gd name="connsiteY16-2178" fmla="*/ 5394811 h 6925856"/>
              <a:gd name="connsiteX17-2179" fmla="*/ 5641256 w 9397013"/>
              <a:gd name="connsiteY17-2180" fmla="*/ 4084 h 6925856"/>
              <a:gd name="connsiteX18-2181" fmla="*/ 6077099 w 9397013"/>
              <a:gd name="connsiteY18-2182" fmla="*/ 17286 h 6925856"/>
              <a:gd name="connsiteX19-2183" fmla="*/ 1580200 w 9397013"/>
              <a:gd name="connsiteY19-2184" fmla="*/ 5985735 h 6925856"/>
              <a:gd name="connsiteX20-2185" fmla="*/ 6958778 w 9397013"/>
              <a:gd name="connsiteY20-2186" fmla="*/ 6916619 h 6925856"/>
              <a:gd name="connsiteX21-2187" fmla="*/ 6560038 w 9397013"/>
              <a:gd name="connsiteY21-2188" fmla="*/ 6925855 h 6925856"/>
              <a:gd name="connsiteX22-2189" fmla="*/ 3849932 w 9397013"/>
              <a:gd name="connsiteY22-2190" fmla="*/ 3388318 h 6925856"/>
              <a:gd name="connsiteX23-2191" fmla="*/ 4086202 w 9397013"/>
              <a:gd name="connsiteY23-2192" fmla="*/ 3078877 h 6925856"/>
              <a:gd name="connsiteX24-2193" fmla="*/ 6958778 w 9397013"/>
              <a:gd name="connsiteY24-2194" fmla="*/ 6916619 h 6925856"/>
              <a:gd name="connsiteX25-2195" fmla="*/ 7777211 w 9397013"/>
              <a:gd name="connsiteY25-2196" fmla="*/ 6916620 h 6925856"/>
              <a:gd name="connsiteX26-2197" fmla="*/ 7324729 w 9397013"/>
              <a:gd name="connsiteY26-2198" fmla="*/ 6916620 h 6925856"/>
              <a:gd name="connsiteX27-2199" fmla="*/ 4245793 w 9397013"/>
              <a:gd name="connsiteY27-2200" fmla="*/ 2869862 h 6925856"/>
              <a:gd name="connsiteX28-2201" fmla="*/ 4490696 w 9397013"/>
              <a:gd name="connsiteY28-2202" fmla="*/ 2549117 h 6925856"/>
              <a:gd name="connsiteX29-2203" fmla="*/ 7777211 w 9397013"/>
              <a:gd name="connsiteY29-2204" fmla="*/ 6916620 h 6925856"/>
              <a:gd name="connsiteX30-2205" fmla="*/ 8567691 w 9397013"/>
              <a:gd name="connsiteY30-2206" fmla="*/ 6916619 h 6925856"/>
              <a:gd name="connsiteX31-2207" fmla="*/ 8159389 w 9397013"/>
              <a:gd name="connsiteY31-2208" fmla="*/ 6925856 h 6925856"/>
              <a:gd name="connsiteX32-2209" fmla="*/ 4650570 w 9397013"/>
              <a:gd name="connsiteY32-2210" fmla="*/ 2339732 h 6925856"/>
              <a:gd name="connsiteX33-2211" fmla="*/ 4869244 w 9397013"/>
              <a:gd name="connsiteY33-2212" fmla="*/ 2053337 h 6925856"/>
              <a:gd name="connsiteX34-2213" fmla="*/ 8567691 w 9397013"/>
              <a:gd name="connsiteY34-2214" fmla="*/ 6916619 h 6925856"/>
              <a:gd name="connsiteX35-2215" fmla="*/ 9397013 w 9397013"/>
              <a:gd name="connsiteY35-2216" fmla="*/ 6925855 h 6925856"/>
              <a:gd name="connsiteX36-2217" fmla="*/ 8921338 w 9397013"/>
              <a:gd name="connsiteY36-2218" fmla="*/ 6907383 h 6925856"/>
              <a:gd name="connsiteX37-2219" fmla="*/ 5045299 w 9397013"/>
              <a:gd name="connsiteY37-2220" fmla="*/ 1822761 h 6925856"/>
              <a:gd name="connsiteX38-2221" fmla="*/ 5273037 w 9397013"/>
              <a:gd name="connsiteY38-2222" fmla="*/ 1524494 h 6925856"/>
              <a:gd name="connsiteX39-2223" fmla="*/ 9397013 w 9397013"/>
              <a:gd name="connsiteY39-2224" fmla="*/ 6925855 h 6925856"/>
              <a:gd name="connsiteX0-2225" fmla="*/ 168369 w 9397013"/>
              <a:gd name="connsiteY0-2226" fmla="*/ 4571581 h 6925856"/>
              <a:gd name="connsiteX1-2227" fmla="*/ 0 w 9397013"/>
              <a:gd name="connsiteY1-2228" fmla="*/ 4200794 h 6925856"/>
              <a:gd name="connsiteX2-2229" fmla="*/ 3175788 w 9397013"/>
              <a:gd name="connsiteY2-2230" fmla="*/ 4084 h 6925856"/>
              <a:gd name="connsiteX3-2231" fmla="*/ 3628305 w 9397013"/>
              <a:gd name="connsiteY3-2232" fmla="*/ 0 h 6925856"/>
              <a:gd name="connsiteX4-2233" fmla="*/ 168369 w 9397013"/>
              <a:gd name="connsiteY4-2234" fmla="*/ 4571581 h 6925856"/>
              <a:gd name="connsiteX5-2235" fmla="*/ 488220 w 9397013"/>
              <a:gd name="connsiteY5-2236" fmla="*/ 5275963 h 6925856"/>
              <a:gd name="connsiteX6-2237" fmla="*/ 299082 w 9397013"/>
              <a:gd name="connsiteY6-2238" fmla="*/ 4859439 h 6925856"/>
              <a:gd name="connsiteX7-2239" fmla="*/ 3977147 w 9397013"/>
              <a:gd name="connsiteY7-2240" fmla="*/ 3723 h 6925856"/>
              <a:gd name="connsiteX8-2241" fmla="*/ 4465006 w 9397013"/>
              <a:gd name="connsiteY8-2242" fmla="*/ 840 h 6925856"/>
              <a:gd name="connsiteX9-2243" fmla="*/ 488220 w 9397013"/>
              <a:gd name="connsiteY9-2244" fmla="*/ 5275963 h 6925856"/>
              <a:gd name="connsiteX10-2245" fmla="*/ 1573749 w 9397013"/>
              <a:gd name="connsiteY10-2246" fmla="*/ 4882781 h 6925856"/>
              <a:gd name="connsiteX11-2247" fmla="*/ 1550937 w 9397013"/>
              <a:gd name="connsiteY11-2248" fmla="*/ 4315002 h 6925856"/>
              <a:gd name="connsiteX12-2249" fmla="*/ 4805164 w 9397013"/>
              <a:gd name="connsiteY12-2250" fmla="*/ 4602 h 6925856"/>
              <a:gd name="connsiteX13-2251" fmla="*/ 5260238 w 9397013"/>
              <a:gd name="connsiteY13-2252" fmla="*/ 25779 h 6925856"/>
              <a:gd name="connsiteX14-2253" fmla="*/ 1573749 w 9397013"/>
              <a:gd name="connsiteY14-2254" fmla="*/ 4882781 h 6925856"/>
              <a:gd name="connsiteX15-2255" fmla="*/ 1580200 w 9397013"/>
              <a:gd name="connsiteY15-2256" fmla="*/ 5985735 h 6925856"/>
              <a:gd name="connsiteX16-2257" fmla="*/ 1566201 w 9397013"/>
              <a:gd name="connsiteY16-2258" fmla="*/ 5394811 h 6925856"/>
              <a:gd name="connsiteX17-2259" fmla="*/ 5641256 w 9397013"/>
              <a:gd name="connsiteY17-2260" fmla="*/ 4084 h 6925856"/>
              <a:gd name="connsiteX18-2261" fmla="*/ 6077099 w 9397013"/>
              <a:gd name="connsiteY18-2262" fmla="*/ 17286 h 6925856"/>
              <a:gd name="connsiteX19-2263" fmla="*/ 1580200 w 9397013"/>
              <a:gd name="connsiteY19-2264" fmla="*/ 5985735 h 6925856"/>
              <a:gd name="connsiteX20-2265" fmla="*/ 6958778 w 9397013"/>
              <a:gd name="connsiteY20-2266" fmla="*/ 6916619 h 6925856"/>
              <a:gd name="connsiteX21-2267" fmla="*/ 6560038 w 9397013"/>
              <a:gd name="connsiteY21-2268" fmla="*/ 6925855 h 6925856"/>
              <a:gd name="connsiteX22-2269" fmla="*/ 3849932 w 9397013"/>
              <a:gd name="connsiteY22-2270" fmla="*/ 3388318 h 6925856"/>
              <a:gd name="connsiteX23-2271" fmla="*/ 4086202 w 9397013"/>
              <a:gd name="connsiteY23-2272" fmla="*/ 3078877 h 6925856"/>
              <a:gd name="connsiteX24-2273" fmla="*/ 6958778 w 9397013"/>
              <a:gd name="connsiteY24-2274" fmla="*/ 6916619 h 6925856"/>
              <a:gd name="connsiteX25-2275" fmla="*/ 7777211 w 9397013"/>
              <a:gd name="connsiteY25-2276" fmla="*/ 6916620 h 6925856"/>
              <a:gd name="connsiteX26-2277" fmla="*/ 7324729 w 9397013"/>
              <a:gd name="connsiteY26-2278" fmla="*/ 6916620 h 6925856"/>
              <a:gd name="connsiteX27-2279" fmla="*/ 4245793 w 9397013"/>
              <a:gd name="connsiteY27-2280" fmla="*/ 2869862 h 6925856"/>
              <a:gd name="connsiteX28-2281" fmla="*/ 4490696 w 9397013"/>
              <a:gd name="connsiteY28-2282" fmla="*/ 2549117 h 6925856"/>
              <a:gd name="connsiteX29-2283" fmla="*/ 7777211 w 9397013"/>
              <a:gd name="connsiteY29-2284" fmla="*/ 6916620 h 6925856"/>
              <a:gd name="connsiteX30-2285" fmla="*/ 8567691 w 9397013"/>
              <a:gd name="connsiteY30-2286" fmla="*/ 6916619 h 6925856"/>
              <a:gd name="connsiteX31-2287" fmla="*/ 8159389 w 9397013"/>
              <a:gd name="connsiteY31-2288" fmla="*/ 6925856 h 6925856"/>
              <a:gd name="connsiteX32-2289" fmla="*/ 4650570 w 9397013"/>
              <a:gd name="connsiteY32-2290" fmla="*/ 2339732 h 6925856"/>
              <a:gd name="connsiteX33-2291" fmla="*/ 4869244 w 9397013"/>
              <a:gd name="connsiteY33-2292" fmla="*/ 2053337 h 6925856"/>
              <a:gd name="connsiteX34-2293" fmla="*/ 8567691 w 9397013"/>
              <a:gd name="connsiteY34-2294" fmla="*/ 6916619 h 6925856"/>
              <a:gd name="connsiteX35-2295" fmla="*/ 9397013 w 9397013"/>
              <a:gd name="connsiteY35-2296" fmla="*/ 6925855 h 6925856"/>
              <a:gd name="connsiteX36-2297" fmla="*/ 8921338 w 9397013"/>
              <a:gd name="connsiteY36-2298" fmla="*/ 6907383 h 6925856"/>
              <a:gd name="connsiteX37-2299" fmla="*/ 5045299 w 9397013"/>
              <a:gd name="connsiteY37-2300" fmla="*/ 1822761 h 6925856"/>
              <a:gd name="connsiteX38-2301" fmla="*/ 5273037 w 9397013"/>
              <a:gd name="connsiteY38-2302" fmla="*/ 1524494 h 6925856"/>
              <a:gd name="connsiteX39-2303" fmla="*/ 9397013 w 9397013"/>
              <a:gd name="connsiteY39-2304" fmla="*/ 6925855 h 6925856"/>
              <a:gd name="connsiteX0-2305" fmla="*/ 168369 w 9397013"/>
              <a:gd name="connsiteY0-2306" fmla="*/ 4571581 h 6925856"/>
              <a:gd name="connsiteX1-2307" fmla="*/ 0 w 9397013"/>
              <a:gd name="connsiteY1-2308" fmla="*/ 4200794 h 6925856"/>
              <a:gd name="connsiteX2-2309" fmla="*/ 3175788 w 9397013"/>
              <a:gd name="connsiteY2-2310" fmla="*/ 4084 h 6925856"/>
              <a:gd name="connsiteX3-2311" fmla="*/ 3628305 w 9397013"/>
              <a:gd name="connsiteY3-2312" fmla="*/ 0 h 6925856"/>
              <a:gd name="connsiteX4-2313" fmla="*/ 168369 w 9397013"/>
              <a:gd name="connsiteY4-2314" fmla="*/ 4571581 h 6925856"/>
              <a:gd name="connsiteX5-2315" fmla="*/ 1578111 w 9397013"/>
              <a:gd name="connsiteY5-2316" fmla="*/ 3835090 h 6925856"/>
              <a:gd name="connsiteX6-2317" fmla="*/ 299082 w 9397013"/>
              <a:gd name="connsiteY6-2318" fmla="*/ 4859439 h 6925856"/>
              <a:gd name="connsiteX7-2319" fmla="*/ 3977147 w 9397013"/>
              <a:gd name="connsiteY7-2320" fmla="*/ 3723 h 6925856"/>
              <a:gd name="connsiteX8-2321" fmla="*/ 4465006 w 9397013"/>
              <a:gd name="connsiteY8-2322" fmla="*/ 840 h 6925856"/>
              <a:gd name="connsiteX9-2323" fmla="*/ 1578111 w 9397013"/>
              <a:gd name="connsiteY9-2324" fmla="*/ 3835090 h 6925856"/>
              <a:gd name="connsiteX10-2325" fmla="*/ 1573749 w 9397013"/>
              <a:gd name="connsiteY10-2326" fmla="*/ 4882781 h 6925856"/>
              <a:gd name="connsiteX11-2327" fmla="*/ 1550937 w 9397013"/>
              <a:gd name="connsiteY11-2328" fmla="*/ 4315002 h 6925856"/>
              <a:gd name="connsiteX12-2329" fmla="*/ 4805164 w 9397013"/>
              <a:gd name="connsiteY12-2330" fmla="*/ 4602 h 6925856"/>
              <a:gd name="connsiteX13-2331" fmla="*/ 5260238 w 9397013"/>
              <a:gd name="connsiteY13-2332" fmla="*/ 25779 h 6925856"/>
              <a:gd name="connsiteX14-2333" fmla="*/ 1573749 w 9397013"/>
              <a:gd name="connsiteY14-2334" fmla="*/ 4882781 h 6925856"/>
              <a:gd name="connsiteX15-2335" fmla="*/ 1580200 w 9397013"/>
              <a:gd name="connsiteY15-2336" fmla="*/ 5985735 h 6925856"/>
              <a:gd name="connsiteX16-2337" fmla="*/ 1566201 w 9397013"/>
              <a:gd name="connsiteY16-2338" fmla="*/ 5394811 h 6925856"/>
              <a:gd name="connsiteX17-2339" fmla="*/ 5641256 w 9397013"/>
              <a:gd name="connsiteY17-2340" fmla="*/ 4084 h 6925856"/>
              <a:gd name="connsiteX18-2341" fmla="*/ 6077099 w 9397013"/>
              <a:gd name="connsiteY18-2342" fmla="*/ 17286 h 6925856"/>
              <a:gd name="connsiteX19-2343" fmla="*/ 1580200 w 9397013"/>
              <a:gd name="connsiteY19-2344" fmla="*/ 5985735 h 6925856"/>
              <a:gd name="connsiteX20-2345" fmla="*/ 6958778 w 9397013"/>
              <a:gd name="connsiteY20-2346" fmla="*/ 6916619 h 6925856"/>
              <a:gd name="connsiteX21-2347" fmla="*/ 6560038 w 9397013"/>
              <a:gd name="connsiteY21-2348" fmla="*/ 6925855 h 6925856"/>
              <a:gd name="connsiteX22-2349" fmla="*/ 3849932 w 9397013"/>
              <a:gd name="connsiteY22-2350" fmla="*/ 3388318 h 6925856"/>
              <a:gd name="connsiteX23-2351" fmla="*/ 4086202 w 9397013"/>
              <a:gd name="connsiteY23-2352" fmla="*/ 3078877 h 6925856"/>
              <a:gd name="connsiteX24-2353" fmla="*/ 6958778 w 9397013"/>
              <a:gd name="connsiteY24-2354" fmla="*/ 6916619 h 6925856"/>
              <a:gd name="connsiteX25-2355" fmla="*/ 7777211 w 9397013"/>
              <a:gd name="connsiteY25-2356" fmla="*/ 6916620 h 6925856"/>
              <a:gd name="connsiteX26-2357" fmla="*/ 7324729 w 9397013"/>
              <a:gd name="connsiteY26-2358" fmla="*/ 6916620 h 6925856"/>
              <a:gd name="connsiteX27-2359" fmla="*/ 4245793 w 9397013"/>
              <a:gd name="connsiteY27-2360" fmla="*/ 2869862 h 6925856"/>
              <a:gd name="connsiteX28-2361" fmla="*/ 4490696 w 9397013"/>
              <a:gd name="connsiteY28-2362" fmla="*/ 2549117 h 6925856"/>
              <a:gd name="connsiteX29-2363" fmla="*/ 7777211 w 9397013"/>
              <a:gd name="connsiteY29-2364" fmla="*/ 6916620 h 6925856"/>
              <a:gd name="connsiteX30-2365" fmla="*/ 8567691 w 9397013"/>
              <a:gd name="connsiteY30-2366" fmla="*/ 6916619 h 6925856"/>
              <a:gd name="connsiteX31-2367" fmla="*/ 8159389 w 9397013"/>
              <a:gd name="connsiteY31-2368" fmla="*/ 6925856 h 6925856"/>
              <a:gd name="connsiteX32-2369" fmla="*/ 4650570 w 9397013"/>
              <a:gd name="connsiteY32-2370" fmla="*/ 2339732 h 6925856"/>
              <a:gd name="connsiteX33-2371" fmla="*/ 4869244 w 9397013"/>
              <a:gd name="connsiteY33-2372" fmla="*/ 2053337 h 6925856"/>
              <a:gd name="connsiteX34-2373" fmla="*/ 8567691 w 9397013"/>
              <a:gd name="connsiteY34-2374" fmla="*/ 6916619 h 6925856"/>
              <a:gd name="connsiteX35-2375" fmla="*/ 9397013 w 9397013"/>
              <a:gd name="connsiteY35-2376" fmla="*/ 6925855 h 6925856"/>
              <a:gd name="connsiteX36-2377" fmla="*/ 8921338 w 9397013"/>
              <a:gd name="connsiteY36-2378" fmla="*/ 6907383 h 6925856"/>
              <a:gd name="connsiteX37-2379" fmla="*/ 5045299 w 9397013"/>
              <a:gd name="connsiteY37-2380" fmla="*/ 1822761 h 6925856"/>
              <a:gd name="connsiteX38-2381" fmla="*/ 5273037 w 9397013"/>
              <a:gd name="connsiteY38-2382" fmla="*/ 1524494 h 6925856"/>
              <a:gd name="connsiteX39-2383" fmla="*/ 9397013 w 9397013"/>
              <a:gd name="connsiteY39-2384" fmla="*/ 6925855 h 6925856"/>
              <a:gd name="connsiteX0-2385" fmla="*/ 168369 w 9397013"/>
              <a:gd name="connsiteY0-2386" fmla="*/ 4571581 h 6925856"/>
              <a:gd name="connsiteX1-2387" fmla="*/ 0 w 9397013"/>
              <a:gd name="connsiteY1-2388" fmla="*/ 4200794 h 6925856"/>
              <a:gd name="connsiteX2-2389" fmla="*/ 3175788 w 9397013"/>
              <a:gd name="connsiteY2-2390" fmla="*/ 4084 h 6925856"/>
              <a:gd name="connsiteX3-2391" fmla="*/ 3628305 w 9397013"/>
              <a:gd name="connsiteY3-2392" fmla="*/ 0 h 6925856"/>
              <a:gd name="connsiteX4-2393" fmla="*/ 168369 w 9397013"/>
              <a:gd name="connsiteY4-2394" fmla="*/ 4571581 h 6925856"/>
              <a:gd name="connsiteX5-2395" fmla="*/ 1578111 w 9397013"/>
              <a:gd name="connsiteY5-2396" fmla="*/ 3835090 h 6925856"/>
              <a:gd name="connsiteX6-2397" fmla="*/ 1564463 w 9397013"/>
              <a:gd name="connsiteY6-2398" fmla="*/ 3206130 h 6925856"/>
              <a:gd name="connsiteX7-2399" fmla="*/ 3977147 w 9397013"/>
              <a:gd name="connsiteY7-2400" fmla="*/ 3723 h 6925856"/>
              <a:gd name="connsiteX8-2401" fmla="*/ 4465006 w 9397013"/>
              <a:gd name="connsiteY8-2402" fmla="*/ 840 h 6925856"/>
              <a:gd name="connsiteX9-2403" fmla="*/ 1578111 w 9397013"/>
              <a:gd name="connsiteY9-2404" fmla="*/ 3835090 h 6925856"/>
              <a:gd name="connsiteX10-2405" fmla="*/ 1573749 w 9397013"/>
              <a:gd name="connsiteY10-2406" fmla="*/ 4882781 h 6925856"/>
              <a:gd name="connsiteX11-2407" fmla="*/ 1550937 w 9397013"/>
              <a:gd name="connsiteY11-2408" fmla="*/ 4315002 h 6925856"/>
              <a:gd name="connsiteX12-2409" fmla="*/ 4805164 w 9397013"/>
              <a:gd name="connsiteY12-2410" fmla="*/ 4602 h 6925856"/>
              <a:gd name="connsiteX13-2411" fmla="*/ 5260238 w 9397013"/>
              <a:gd name="connsiteY13-2412" fmla="*/ 25779 h 6925856"/>
              <a:gd name="connsiteX14-2413" fmla="*/ 1573749 w 9397013"/>
              <a:gd name="connsiteY14-2414" fmla="*/ 4882781 h 6925856"/>
              <a:gd name="connsiteX15-2415" fmla="*/ 1580200 w 9397013"/>
              <a:gd name="connsiteY15-2416" fmla="*/ 5985735 h 6925856"/>
              <a:gd name="connsiteX16-2417" fmla="*/ 1566201 w 9397013"/>
              <a:gd name="connsiteY16-2418" fmla="*/ 5394811 h 6925856"/>
              <a:gd name="connsiteX17-2419" fmla="*/ 5641256 w 9397013"/>
              <a:gd name="connsiteY17-2420" fmla="*/ 4084 h 6925856"/>
              <a:gd name="connsiteX18-2421" fmla="*/ 6077099 w 9397013"/>
              <a:gd name="connsiteY18-2422" fmla="*/ 17286 h 6925856"/>
              <a:gd name="connsiteX19-2423" fmla="*/ 1580200 w 9397013"/>
              <a:gd name="connsiteY19-2424" fmla="*/ 5985735 h 6925856"/>
              <a:gd name="connsiteX20-2425" fmla="*/ 6958778 w 9397013"/>
              <a:gd name="connsiteY20-2426" fmla="*/ 6916619 h 6925856"/>
              <a:gd name="connsiteX21-2427" fmla="*/ 6560038 w 9397013"/>
              <a:gd name="connsiteY21-2428" fmla="*/ 6925855 h 6925856"/>
              <a:gd name="connsiteX22-2429" fmla="*/ 3849932 w 9397013"/>
              <a:gd name="connsiteY22-2430" fmla="*/ 3388318 h 6925856"/>
              <a:gd name="connsiteX23-2431" fmla="*/ 4086202 w 9397013"/>
              <a:gd name="connsiteY23-2432" fmla="*/ 3078877 h 6925856"/>
              <a:gd name="connsiteX24-2433" fmla="*/ 6958778 w 9397013"/>
              <a:gd name="connsiteY24-2434" fmla="*/ 6916619 h 6925856"/>
              <a:gd name="connsiteX25-2435" fmla="*/ 7777211 w 9397013"/>
              <a:gd name="connsiteY25-2436" fmla="*/ 6916620 h 6925856"/>
              <a:gd name="connsiteX26-2437" fmla="*/ 7324729 w 9397013"/>
              <a:gd name="connsiteY26-2438" fmla="*/ 6916620 h 6925856"/>
              <a:gd name="connsiteX27-2439" fmla="*/ 4245793 w 9397013"/>
              <a:gd name="connsiteY27-2440" fmla="*/ 2869862 h 6925856"/>
              <a:gd name="connsiteX28-2441" fmla="*/ 4490696 w 9397013"/>
              <a:gd name="connsiteY28-2442" fmla="*/ 2549117 h 6925856"/>
              <a:gd name="connsiteX29-2443" fmla="*/ 7777211 w 9397013"/>
              <a:gd name="connsiteY29-2444" fmla="*/ 6916620 h 6925856"/>
              <a:gd name="connsiteX30-2445" fmla="*/ 8567691 w 9397013"/>
              <a:gd name="connsiteY30-2446" fmla="*/ 6916619 h 6925856"/>
              <a:gd name="connsiteX31-2447" fmla="*/ 8159389 w 9397013"/>
              <a:gd name="connsiteY31-2448" fmla="*/ 6925856 h 6925856"/>
              <a:gd name="connsiteX32-2449" fmla="*/ 4650570 w 9397013"/>
              <a:gd name="connsiteY32-2450" fmla="*/ 2339732 h 6925856"/>
              <a:gd name="connsiteX33-2451" fmla="*/ 4869244 w 9397013"/>
              <a:gd name="connsiteY33-2452" fmla="*/ 2053337 h 6925856"/>
              <a:gd name="connsiteX34-2453" fmla="*/ 8567691 w 9397013"/>
              <a:gd name="connsiteY34-2454" fmla="*/ 6916619 h 6925856"/>
              <a:gd name="connsiteX35-2455" fmla="*/ 9397013 w 9397013"/>
              <a:gd name="connsiteY35-2456" fmla="*/ 6925855 h 6925856"/>
              <a:gd name="connsiteX36-2457" fmla="*/ 8921338 w 9397013"/>
              <a:gd name="connsiteY36-2458" fmla="*/ 6907383 h 6925856"/>
              <a:gd name="connsiteX37-2459" fmla="*/ 5045299 w 9397013"/>
              <a:gd name="connsiteY37-2460" fmla="*/ 1822761 h 6925856"/>
              <a:gd name="connsiteX38-2461" fmla="*/ 5273037 w 9397013"/>
              <a:gd name="connsiteY38-2462" fmla="*/ 1524494 h 6925856"/>
              <a:gd name="connsiteX39-2463" fmla="*/ 9397013 w 9397013"/>
              <a:gd name="connsiteY39-2464" fmla="*/ 6925855 h 6925856"/>
              <a:gd name="connsiteX0-2465" fmla="*/ 1572296 w 9397013"/>
              <a:gd name="connsiteY0-2466" fmla="*/ 2715072 h 6925856"/>
              <a:gd name="connsiteX1-2467" fmla="*/ 0 w 9397013"/>
              <a:gd name="connsiteY1-2468" fmla="*/ 4200794 h 6925856"/>
              <a:gd name="connsiteX2-2469" fmla="*/ 3175788 w 9397013"/>
              <a:gd name="connsiteY2-2470" fmla="*/ 4084 h 6925856"/>
              <a:gd name="connsiteX3-2471" fmla="*/ 3628305 w 9397013"/>
              <a:gd name="connsiteY3-2472" fmla="*/ 0 h 6925856"/>
              <a:gd name="connsiteX4-2473" fmla="*/ 1572296 w 9397013"/>
              <a:gd name="connsiteY4-2474" fmla="*/ 2715072 h 6925856"/>
              <a:gd name="connsiteX5-2475" fmla="*/ 1578111 w 9397013"/>
              <a:gd name="connsiteY5-2476" fmla="*/ 3835090 h 6925856"/>
              <a:gd name="connsiteX6-2477" fmla="*/ 1564463 w 9397013"/>
              <a:gd name="connsiteY6-2478" fmla="*/ 3206130 h 6925856"/>
              <a:gd name="connsiteX7-2479" fmla="*/ 3977147 w 9397013"/>
              <a:gd name="connsiteY7-2480" fmla="*/ 3723 h 6925856"/>
              <a:gd name="connsiteX8-2481" fmla="*/ 4465006 w 9397013"/>
              <a:gd name="connsiteY8-2482" fmla="*/ 840 h 6925856"/>
              <a:gd name="connsiteX9-2483" fmla="*/ 1578111 w 9397013"/>
              <a:gd name="connsiteY9-2484" fmla="*/ 3835090 h 6925856"/>
              <a:gd name="connsiteX10-2485" fmla="*/ 1573749 w 9397013"/>
              <a:gd name="connsiteY10-2486" fmla="*/ 4882781 h 6925856"/>
              <a:gd name="connsiteX11-2487" fmla="*/ 1550937 w 9397013"/>
              <a:gd name="connsiteY11-2488" fmla="*/ 4315002 h 6925856"/>
              <a:gd name="connsiteX12-2489" fmla="*/ 4805164 w 9397013"/>
              <a:gd name="connsiteY12-2490" fmla="*/ 4602 h 6925856"/>
              <a:gd name="connsiteX13-2491" fmla="*/ 5260238 w 9397013"/>
              <a:gd name="connsiteY13-2492" fmla="*/ 25779 h 6925856"/>
              <a:gd name="connsiteX14-2493" fmla="*/ 1573749 w 9397013"/>
              <a:gd name="connsiteY14-2494" fmla="*/ 4882781 h 6925856"/>
              <a:gd name="connsiteX15-2495" fmla="*/ 1580200 w 9397013"/>
              <a:gd name="connsiteY15-2496" fmla="*/ 5985735 h 6925856"/>
              <a:gd name="connsiteX16-2497" fmla="*/ 1566201 w 9397013"/>
              <a:gd name="connsiteY16-2498" fmla="*/ 5394811 h 6925856"/>
              <a:gd name="connsiteX17-2499" fmla="*/ 5641256 w 9397013"/>
              <a:gd name="connsiteY17-2500" fmla="*/ 4084 h 6925856"/>
              <a:gd name="connsiteX18-2501" fmla="*/ 6077099 w 9397013"/>
              <a:gd name="connsiteY18-2502" fmla="*/ 17286 h 6925856"/>
              <a:gd name="connsiteX19-2503" fmla="*/ 1580200 w 9397013"/>
              <a:gd name="connsiteY19-2504" fmla="*/ 5985735 h 6925856"/>
              <a:gd name="connsiteX20-2505" fmla="*/ 6958778 w 9397013"/>
              <a:gd name="connsiteY20-2506" fmla="*/ 6916619 h 6925856"/>
              <a:gd name="connsiteX21-2507" fmla="*/ 6560038 w 9397013"/>
              <a:gd name="connsiteY21-2508" fmla="*/ 6925855 h 6925856"/>
              <a:gd name="connsiteX22-2509" fmla="*/ 3849932 w 9397013"/>
              <a:gd name="connsiteY22-2510" fmla="*/ 3388318 h 6925856"/>
              <a:gd name="connsiteX23-2511" fmla="*/ 4086202 w 9397013"/>
              <a:gd name="connsiteY23-2512" fmla="*/ 3078877 h 6925856"/>
              <a:gd name="connsiteX24-2513" fmla="*/ 6958778 w 9397013"/>
              <a:gd name="connsiteY24-2514" fmla="*/ 6916619 h 6925856"/>
              <a:gd name="connsiteX25-2515" fmla="*/ 7777211 w 9397013"/>
              <a:gd name="connsiteY25-2516" fmla="*/ 6916620 h 6925856"/>
              <a:gd name="connsiteX26-2517" fmla="*/ 7324729 w 9397013"/>
              <a:gd name="connsiteY26-2518" fmla="*/ 6916620 h 6925856"/>
              <a:gd name="connsiteX27-2519" fmla="*/ 4245793 w 9397013"/>
              <a:gd name="connsiteY27-2520" fmla="*/ 2869862 h 6925856"/>
              <a:gd name="connsiteX28-2521" fmla="*/ 4490696 w 9397013"/>
              <a:gd name="connsiteY28-2522" fmla="*/ 2549117 h 6925856"/>
              <a:gd name="connsiteX29-2523" fmla="*/ 7777211 w 9397013"/>
              <a:gd name="connsiteY29-2524" fmla="*/ 6916620 h 6925856"/>
              <a:gd name="connsiteX30-2525" fmla="*/ 8567691 w 9397013"/>
              <a:gd name="connsiteY30-2526" fmla="*/ 6916619 h 6925856"/>
              <a:gd name="connsiteX31-2527" fmla="*/ 8159389 w 9397013"/>
              <a:gd name="connsiteY31-2528" fmla="*/ 6925856 h 6925856"/>
              <a:gd name="connsiteX32-2529" fmla="*/ 4650570 w 9397013"/>
              <a:gd name="connsiteY32-2530" fmla="*/ 2339732 h 6925856"/>
              <a:gd name="connsiteX33-2531" fmla="*/ 4869244 w 9397013"/>
              <a:gd name="connsiteY33-2532" fmla="*/ 2053337 h 6925856"/>
              <a:gd name="connsiteX34-2533" fmla="*/ 8567691 w 9397013"/>
              <a:gd name="connsiteY34-2534" fmla="*/ 6916619 h 6925856"/>
              <a:gd name="connsiteX35-2535" fmla="*/ 9397013 w 9397013"/>
              <a:gd name="connsiteY35-2536" fmla="*/ 6925855 h 6925856"/>
              <a:gd name="connsiteX36-2537" fmla="*/ 8921338 w 9397013"/>
              <a:gd name="connsiteY36-2538" fmla="*/ 6907383 h 6925856"/>
              <a:gd name="connsiteX37-2539" fmla="*/ 5045299 w 9397013"/>
              <a:gd name="connsiteY37-2540" fmla="*/ 1822761 h 6925856"/>
              <a:gd name="connsiteX38-2541" fmla="*/ 5273037 w 9397013"/>
              <a:gd name="connsiteY38-2542" fmla="*/ 1524494 h 6925856"/>
              <a:gd name="connsiteX39-2543" fmla="*/ 9397013 w 9397013"/>
              <a:gd name="connsiteY39-2544" fmla="*/ 6925855 h 6925856"/>
              <a:gd name="connsiteX0-2545" fmla="*/ 21359 w 7846076"/>
              <a:gd name="connsiteY0-2546" fmla="*/ 2715072 h 6925856"/>
              <a:gd name="connsiteX1-2547" fmla="*/ 28481 w 7846076"/>
              <a:gd name="connsiteY1-2548" fmla="*/ 2104139 h 6925856"/>
              <a:gd name="connsiteX2-2549" fmla="*/ 1624851 w 7846076"/>
              <a:gd name="connsiteY2-2550" fmla="*/ 4084 h 6925856"/>
              <a:gd name="connsiteX3-2551" fmla="*/ 2077368 w 7846076"/>
              <a:gd name="connsiteY3-2552" fmla="*/ 0 h 6925856"/>
              <a:gd name="connsiteX4-2553" fmla="*/ 21359 w 7846076"/>
              <a:gd name="connsiteY4-2554" fmla="*/ 2715072 h 6925856"/>
              <a:gd name="connsiteX5-2555" fmla="*/ 27174 w 7846076"/>
              <a:gd name="connsiteY5-2556" fmla="*/ 3835090 h 6925856"/>
              <a:gd name="connsiteX6-2557" fmla="*/ 13526 w 7846076"/>
              <a:gd name="connsiteY6-2558" fmla="*/ 3206130 h 6925856"/>
              <a:gd name="connsiteX7-2559" fmla="*/ 2426210 w 7846076"/>
              <a:gd name="connsiteY7-2560" fmla="*/ 3723 h 6925856"/>
              <a:gd name="connsiteX8-2561" fmla="*/ 2914069 w 7846076"/>
              <a:gd name="connsiteY8-2562" fmla="*/ 840 h 6925856"/>
              <a:gd name="connsiteX9-2563" fmla="*/ 27174 w 7846076"/>
              <a:gd name="connsiteY9-2564" fmla="*/ 3835090 h 6925856"/>
              <a:gd name="connsiteX10-2565" fmla="*/ 22812 w 7846076"/>
              <a:gd name="connsiteY10-2566" fmla="*/ 4882781 h 6925856"/>
              <a:gd name="connsiteX11-2567" fmla="*/ 0 w 7846076"/>
              <a:gd name="connsiteY11-2568" fmla="*/ 4315002 h 6925856"/>
              <a:gd name="connsiteX12-2569" fmla="*/ 3254227 w 7846076"/>
              <a:gd name="connsiteY12-2570" fmla="*/ 4602 h 6925856"/>
              <a:gd name="connsiteX13-2571" fmla="*/ 3709301 w 7846076"/>
              <a:gd name="connsiteY13-2572" fmla="*/ 25779 h 6925856"/>
              <a:gd name="connsiteX14-2573" fmla="*/ 22812 w 7846076"/>
              <a:gd name="connsiteY14-2574" fmla="*/ 4882781 h 6925856"/>
              <a:gd name="connsiteX15-2575" fmla="*/ 29263 w 7846076"/>
              <a:gd name="connsiteY15-2576" fmla="*/ 5985735 h 6925856"/>
              <a:gd name="connsiteX16-2577" fmla="*/ 15264 w 7846076"/>
              <a:gd name="connsiteY16-2578" fmla="*/ 5394811 h 6925856"/>
              <a:gd name="connsiteX17-2579" fmla="*/ 4090319 w 7846076"/>
              <a:gd name="connsiteY17-2580" fmla="*/ 4084 h 6925856"/>
              <a:gd name="connsiteX18-2581" fmla="*/ 4526162 w 7846076"/>
              <a:gd name="connsiteY18-2582" fmla="*/ 17286 h 6925856"/>
              <a:gd name="connsiteX19-2583" fmla="*/ 29263 w 7846076"/>
              <a:gd name="connsiteY19-2584" fmla="*/ 5985735 h 6925856"/>
              <a:gd name="connsiteX20-2585" fmla="*/ 5407841 w 7846076"/>
              <a:gd name="connsiteY20-2586" fmla="*/ 6916619 h 6925856"/>
              <a:gd name="connsiteX21-2587" fmla="*/ 5009101 w 7846076"/>
              <a:gd name="connsiteY21-2588" fmla="*/ 6925855 h 6925856"/>
              <a:gd name="connsiteX22-2589" fmla="*/ 2298995 w 7846076"/>
              <a:gd name="connsiteY22-2590" fmla="*/ 3388318 h 6925856"/>
              <a:gd name="connsiteX23-2591" fmla="*/ 2535265 w 7846076"/>
              <a:gd name="connsiteY23-2592" fmla="*/ 3078877 h 6925856"/>
              <a:gd name="connsiteX24-2593" fmla="*/ 5407841 w 7846076"/>
              <a:gd name="connsiteY24-2594" fmla="*/ 6916619 h 6925856"/>
              <a:gd name="connsiteX25-2595" fmla="*/ 6226274 w 7846076"/>
              <a:gd name="connsiteY25-2596" fmla="*/ 6916620 h 6925856"/>
              <a:gd name="connsiteX26-2597" fmla="*/ 5773792 w 7846076"/>
              <a:gd name="connsiteY26-2598" fmla="*/ 6916620 h 6925856"/>
              <a:gd name="connsiteX27-2599" fmla="*/ 2694856 w 7846076"/>
              <a:gd name="connsiteY27-2600" fmla="*/ 2869862 h 6925856"/>
              <a:gd name="connsiteX28-2601" fmla="*/ 2939759 w 7846076"/>
              <a:gd name="connsiteY28-2602" fmla="*/ 2549117 h 6925856"/>
              <a:gd name="connsiteX29-2603" fmla="*/ 6226274 w 7846076"/>
              <a:gd name="connsiteY29-2604" fmla="*/ 6916620 h 6925856"/>
              <a:gd name="connsiteX30-2605" fmla="*/ 7016754 w 7846076"/>
              <a:gd name="connsiteY30-2606" fmla="*/ 6916619 h 6925856"/>
              <a:gd name="connsiteX31-2607" fmla="*/ 6608452 w 7846076"/>
              <a:gd name="connsiteY31-2608" fmla="*/ 6925856 h 6925856"/>
              <a:gd name="connsiteX32-2609" fmla="*/ 3099633 w 7846076"/>
              <a:gd name="connsiteY32-2610" fmla="*/ 2339732 h 6925856"/>
              <a:gd name="connsiteX33-2611" fmla="*/ 3318307 w 7846076"/>
              <a:gd name="connsiteY33-2612" fmla="*/ 2053337 h 6925856"/>
              <a:gd name="connsiteX34-2613" fmla="*/ 7016754 w 7846076"/>
              <a:gd name="connsiteY34-2614" fmla="*/ 6916619 h 6925856"/>
              <a:gd name="connsiteX35-2615" fmla="*/ 7846076 w 7846076"/>
              <a:gd name="connsiteY35-2616" fmla="*/ 6925855 h 6925856"/>
              <a:gd name="connsiteX36-2617" fmla="*/ 7370401 w 7846076"/>
              <a:gd name="connsiteY36-2618" fmla="*/ 6907383 h 6925856"/>
              <a:gd name="connsiteX37-2619" fmla="*/ 3494362 w 7846076"/>
              <a:gd name="connsiteY37-2620" fmla="*/ 1822761 h 6925856"/>
              <a:gd name="connsiteX38-2621" fmla="*/ 3722100 w 7846076"/>
              <a:gd name="connsiteY38-2622" fmla="*/ 1524494 h 6925856"/>
              <a:gd name="connsiteX39-2623" fmla="*/ 7846076 w 7846076"/>
              <a:gd name="connsiteY39-2624" fmla="*/ 6925855 h 692585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129" y="connsiteY32-130"/>
              </a:cxn>
              <a:cxn ang="0">
                <a:pos x="connsiteX33-131" y="connsiteY33-132"/>
              </a:cxn>
              <a:cxn ang="0">
                <a:pos x="connsiteX34-133" y="connsiteY34-134"/>
              </a:cxn>
              <a:cxn ang="0">
                <a:pos x="connsiteX35-135" y="connsiteY35-136"/>
              </a:cxn>
              <a:cxn ang="0">
                <a:pos x="connsiteX36-137" y="connsiteY36-138"/>
              </a:cxn>
              <a:cxn ang="0">
                <a:pos x="connsiteX37-139" y="connsiteY37-140"/>
              </a:cxn>
              <a:cxn ang="0">
                <a:pos x="connsiteX38-141" y="connsiteY38-142"/>
              </a:cxn>
              <a:cxn ang="0">
                <a:pos x="connsiteX39-143" y="connsiteY39-144"/>
              </a:cxn>
            </a:cxnLst>
            <a:rect l="l" t="t" r="r" b="b"/>
            <a:pathLst>
              <a:path w="7846076" h="6925856">
                <a:moveTo>
                  <a:pt x="21359" y="2715072"/>
                </a:moveTo>
                <a:lnTo>
                  <a:pt x="28481" y="2104139"/>
                </a:lnTo>
                <a:lnTo>
                  <a:pt x="1624851" y="4084"/>
                </a:lnTo>
                <a:lnTo>
                  <a:pt x="2077368" y="0"/>
                </a:lnTo>
                <a:lnTo>
                  <a:pt x="21359" y="2715072"/>
                </a:lnTo>
                <a:close/>
                <a:moveTo>
                  <a:pt x="27174" y="3835090"/>
                </a:moveTo>
                <a:lnTo>
                  <a:pt x="13526" y="3206130"/>
                </a:lnTo>
                <a:lnTo>
                  <a:pt x="2426210" y="3723"/>
                </a:lnTo>
                <a:lnTo>
                  <a:pt x="2914069" y="840"/>
                </a:lnTo>
                <a:lnTo>
                  <a:pt x="27174" y="3835090"/>
                </a:lnTo>
                <a:close/>
                <a:moveTo>
                  <a:pt x="22812" y="4882781"/>
                </a:moveTo>
                <a:lnTo>
                  <a:pt x="0" y="4315002"/>
                </a:lnTo>
                <a:lnTo>
                  <a:pt x="3254227" y="4602"/>
                </a:lnTo>
                <a:lnTo>
                  <a:pt x="3709301" y="25779"/>
                </a:lnTo>
                <a:lnTo>
                  <a:pt x="22812" y="4882781"/>
                </a:lnTo>
                <a:close/>
                <a:moveTo>
                  <a:pt x="29263" y="5985735"/>
                </a:moveTo>
                <a:lnTo>
                  <a:pt x="15264" y="5394811"/>
                </a:lnTo>
                <a:lnTo>
                  <a:pt x="4090319" y="4084"/>
                </a:lnTo>
                <a:lnTo>
                  <a:pt x="4526162" y="17286"/>
                </a:lnTo>
                <a:lnTo>
                  <a:pt x="29263" y="5985735"/>
                </a:lnTo>
                <a:close/>
                <a:moveTo>
                  <a:pt x="5407841" y="6916619"/>
                </a:moveTo>
                <a:lnTo>
                  <a:pt x="5009101" y="6925855"/>
                </a:lnTo>
                <a:lnTo>
                  <a:pt x="2298995" y="3388318"/>
                </a:lnTo>
                <a:lnTo>
                  <a:pt x="2535265" y="3078877"/>
                </a:lnTo>
                <a:lnTo>
                  <a:pt x="5407841" y="6916619"/>
                </a:lnTo>
                <a:close/>
                <a:moveTo>
                  <a:pt x="6226274" y="6916620"/>
                </a:moveTo>
                <a:lnTo>
                  <a:pt x="5773792" y="6916620"/>
                </a:lnTo>
                <a:lnTo>
                  <a:pt x="2694856" y="2869862"/>
                </a:lnTo>
                <a:lnTo>
                  <a:pt x="2939759" y="2549117"/>
                </a:lnTo>
                <a:lnTo>
                  <a:pt x="6226274" y="6916620"/>
                </a:lnTo>
                <a:close/>
                <a:moveTo>
                  <a:pt x="7016754" y="6916619"/>
                </a:moveTo>
                <a:lnTo>
                  <a:pt x="6608452" y="6925856"/>
                </a:lnTo>
                <a:lnTo>
                  <a:pt x="3099633" y="2339732"/>
                </a:lnTo>
                <a:lnTo>
                  <a:pt x="3318307" y="2053337"/>
                </a:lnTo>
                <a:lnTo>
                  <a:pt x="7016754" y="6916619"/>
                </a:lnTo>
                <a:close/>
                <a:moveTo>
                  <a:pt x="7846076" y="6925855"/>
                </a:moveTo>
                <a:lnTo>
                  <a:pt x="7370401" y="6907383"/>
                </a:lnTo>
                <a:lnTo>
                  <a:pt x="3494362" y="1822761"/>
                </a:lnTo>
                <a:lnTo>
                  <a:pt x="3722100" y="1524494"/>
                </a:lnTo>
                <a:lnTo>
                  <a:pt x="7846076" y="6925855"/>
                </a:lnTo>
                <a:close/>
              </a:path>
            </a:pathLst>
          </a:custGeom>
          <a:solidFill>
            <a:schemeClr val="bg1">
              <a:lumMod val="9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pic>
        <p:nvPicPr>
          <p:cNvPr id="3" name="图片 2"/>
          <p:cNvPicPr>
            <a:picLocks noChangeAspect="1"/>
          </p:cNvPicPr>
          <p:nvPr/>
        </p:nvPicPr>
        <p:blipFill>
          <a:blip r:embed="rId1"/>
          <a:stretch>
            <a:fillRect/>
          </a:stretch>
        </p:blipFill>
        <p:spPr>
          <a:xfrm>
            <a:off x="750095" y="1418505"/>
            <a:ext cx="5662613" cy="5028339"/>
          </a:xfrm>
          <a:prstGeom prst="rect">
            <a:avLst/>
          </a:prstGeom>
        </p:spPr>
      </p:pic>
      <p:sp>
        <p:nvSpPr>
          <p:cNvPr id="6" name="文本框 5"/>
          <p:cNvSpPr txBox="1"/>
          <p:nvPr/>
        </p:nvSpPr>
        <p:spPr>
          <a:xfrm>
            <a:off x="6600134" y="2052169"/>
            <a:ext cx="5454620" cy="1704954"/>
          </a:xfrm>
          <a:prstGeom prst="rect">
            <a:avLst/>
          </a:prstGeom>
          <a:noFill/>
        </p:spPr>
        <p:txBody>
          <a:bodyPr wrap="square" rtlCol="0">
            <a:spAutoFit/>
          </a:bodyPr>
          <a:lstStyle/>
          <a:p>
            <a:pPr>
              <a:lnSpc>
                <a:spcPct val="150000"/>
              </a:lnSpc>
            </a:pPr>
            <a:r>
              <a:rPr lang="zh-CN" altLang="en-US" dirty="0"/>
              <a:t>纳入分析的样本中载文量最大的</a:t>
            </a:r>
            <a:r>
              <a:rPr lang="en-US" altLang="zh-CN" dirty="0"/>
              <a:t>10</a:t>
            </a:r>
            <a:r>
              <a:rPr lang="zh-CN" altLang="en-US" dirty="0"/>
              <a:t>本期刊</a:t>
            </a:r>
            <a:endParaRPr lang="en-US" altLang="zh-CN" dirty="0"/>
          </a:p>
          <a:p>
            <a:pPr>
              <a:lnSpc>
                <a:spcPct val="150000"/>
              </a:lnSpc>
            </a:pPr>
            <a:endParaRPr lang="en-US" altLang="zh-CN" dirty="0"/>
          </a:p>
          <a:p>
            <a:pPr>
              <a:lnSpc>
                <a:spcPct val="150000"/>
              </a:lnSpc>
            </a:pPr>
            <a:r>
              <a:rPr lang="zh-CN" altLang="en-US" dirty="0"/>
              <a:t>其中，</a:t>
            </a:r>
            <a:r>
              <a:rPr lang="en-US" altLang="zh-CN" dirty="0" err="1"/>
              <a:t>PLoS</a:t>
            </a:r>
            <a:r>
              <a:rPr lang="en-US" altLang="zh-CN" dirty="0"/>
              <a:t> One</a:t>
            </a:r>
            <a:r>
              <a:rPr lang="zh-CN" altLang="en-US" dirty="0"/>
              <a:t>占比最高，在附录中单独对其进行了补充分析</a:t>
            </a:r>
            <a:endParaRPr lang="en-US" altLang="zh-CN" dirty="0"/>
          </a:p>
        </p:txBody>
      </p:sp>
    </p:spTree>
    <p:custDataLst>
      <p:tags r:id="rId2"/>
    </p:custData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iṣlide"/>
        <p:cNvGrpSpPr/>
        <p:nvPr/>
      </p:nvGrpSpPr>
      <p:grpSpPr>
        <a:xfrm>
          <a:off x="0" y="0"/>
          <a:ext cx="0" cy="0"/>
          <a:chOff x="0" y="0"/>
          <a:chExt cx="0" cy="0"/>
        </a:xfrm>
      </p:grpSpPr>
      <p:sp>
        <p:nvSpPr>
          <p:cNvPr id="2" name="íšľîḓê"/>
          <p:cNvSpPr>
            <a:spLocks noGrp="1"/>
          </p:cNvSpPr>
          <p:nvPr>
            <p:ph type="title"/>
          </p:nvPr>
        </p:nvSpPr>
        <p:spPr/>
        <p:txBody>
          <a:bodyPr/>
          <a:lstStyle/>
          <a:p>
            <a:r>
              <a:rPr lang="en-US" altLang="zh-CN" dirty="0"/>
              <a:t>3. </a:t>
            </a:r>
            <a:r>
              <a:rPr lang="zh-CN" altLang="en-US" dirty="0"/>
              <a:t>研究方法</a:t>
            </a:r>
            <a:endParaRPr lang="zh-CN" altLang="en-US" dirty="0"/>
          </a:p>
        </p:txBody>
      </p:sp>
      <p:sp>
        <p:nvSpPr>
          <p:cNvPr id="4" name="ïṣḷide"/>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110" name="íṥļîďè"/>
          <p:cNvSpPr/>
          <p:nvPr/>
        </p:nvSpPr>
        <p:spPr>
          <a:xfrm rot="10800000">
            <a:off x="4396104" y="0"/>
            <a:ext cx="7846076" cy="6857999"/>
          </a:xfrm>
          <a:custGeom>
            <a:avLst/>
            <a:gdLst>
              <a:gd name="connsiteX0" fmla="*/ 168369 w 9517086"/>
              <a:gd name="connsiteY0" fmla="*/ 4779933 h 7291226"/>
              <a:gd name="connsiteX1" fmla="*/ 0 w 9517086"/>
              <a:gd name="connsiteY1" fmla="*/ 4409146 h 7291226"/>
              <a:gd name="connsiteX2" fmla="*/ 3332806 w 9517086"/>
              <a:gd name="connsiteY2" fmla="*/ 0 h 7291226"/>
              <a:gd name="connsiteX3" fmla="*/ 3794560 w 9517086"/>
              <a:gd name="connsiteY3" fmla="*/ 32861 h 7291226"/>
              <a:gd name="connsiteX4" fmla="*/ 488220 w 9517086"/>
              <a:gd name="connsiteY4" fmla="*/ 5484315 h 7291226"/>
              <a:gd name="connsiteX5" fmla="*/ 299082 w 9517086"/>
              <a:gd name="connsiteY5" fmla="*/ 5067791 h 7291226"/>
              <a:gd name="connsiteX6" fmla="*/ 4106456 w 9517086"/>
              <a:gd name="connsiteY6" fmla="*/ 55057 h 7291226"/>
              <a:gd name="connsiteX7" fmla="*/ 4585079 w 9517086"/>
              <a:gd name="connsiteY7" fmla="*/ 89119 h 7291226"/>
              <a:gd name="connsiteX8" fmla="*/ 779421 w 9517086"/>
              <a:gd name="connsiteY8" fmla="*/ 6125606 h 7291226"/>
              <a:gd name="connsiteX9" fmla="*/ 618065 w 9517086"/>
              <a:gd name="connsiteY9" fmla="*/ 5770263 h 7291226"/>
              <a:gd name="connsiteX10" fmla="*/ 4897528 w 9517086"/>
              <a:gd name="connsiteY10" fmla="*/ 111354 h 7291226"/>
              <a:gd name="connsiteX11" fmla="*/ 5324893 w 9517086"/>
              <a:gd name="connsiteY11" fmla="*/ 141768 h 7291226"/>
              <a:gd name="connsiteX12" fmla="*/ 1099910 w 9517086"/>
              <a:gd name="connsiteY12" fmla="*/ 6831395 h 7291226"/>
              <a:gd name="connsiteX13" fmla="*/ 919656 w 9517086"/>
              <a:gd name="connsiteY13" fmla="*/ 6434435 h 7291226"/>
              <a:gd name="connsiteX14" fmla="*/ 5668965 w 9517086"/>
              <a:gd name="connsiteY14" fmla="*/ 166254 h 7291226"/>
              <a:gd name="connsiteX15" fmla="*/ 6114044 w 9517086"/>
              <a:gd name="connsiteY15" fmla="*/ 197929 h 7291226"/>
              <a:gd name="connsiteX16" fmla="*/ 7106560 w 9517086"/>
              <a:gd name="connsiteY16" fmla="*/ 7291226 h 7291226"/>
              <a:gd name="connsiteX17" fmla="*/ 6670875 w 9517086"/>
              <a:gd name="connsiteY17" fmla="*/ 7291226 h 7291226"/>
              <a:gd name="connsiteX18" fmla="*/ 3849932 w 9517086"/>
              <a:gd name="connsiteY18" fmla="*/ 3596670 h 7291226"/>
              <a:gd name="connsiteX19" fmla="*/ 4086202 w 9517086"/>
              <a:gd name="connsiteY19" fmla="*/ 3287229 h 7291226"/>
              <a:gd name="connsiteX20" fmla="*/ 7934229 w 9517086"/>
              <a:gd name="connsiteY20" fmla="*/ 7291226 h 7291226"/>
              <a:gd name="connsiteX21" fmla="*/ 7444802 w 9517086"/>
              <a:gd name="connsiteY21" fmla="*/ 7291226 h 7291226"/>
              <a:gd name="connsiteX22" fmla="*/ 4245793 w 9517086"/>
              <a:gd name="connsiteY22" fmla="*/ 3078214 h 7291226"/>
              <a:gd name="connsiteX23" fmla="*/ 4490696 w 9517086"/>
              <a:gd name="connsiteY23" fmla="*/ 2757469 h 7291226"/>
              <a:gd name="connsiteX24" fmla="*/ 8687764 w 9517086"/>
              <a:gd name="connsiteY24" fmla="*/ 7291226 h 7291226"/>
              <a:gd name="connsiteX25" fmla="*/ 8270226 w 9517086"/>
              <a:gd name="connsiteY25" fmla="*/ 7291226 h 7291226"/>
              <a:gd name="connsiteX26" fmla="*/ 4650570 w 9517086"/>
              <a:gd name="connsiteY26" fmla="*/ 2548084 h 7291226"/>
              <a:gd name="connsiteX27" fmla="*/ 4869244 w 9517086"/>
              <a:gd name="connsiteY27" fmla="*/ 2261689 h 7291226"/>
              <a:gd name="connsiteX28" fmla="*/ 9517086 w 9517086"/>
              <a:gd name="connsiteY28" fmla="*/ 7291226 h 7291226"/>
              <a:gd name="connsiteX29" fmla="*/ 9050647 w 9517086"/>
              <a:gd name="connsiteY29" fmla="*/ 7291226 h 7291226"/>
              <a:gd name="connsiteX30" fmla="*/ 5045299 w 9517086"/>
              <a:gd name="connsiteY30" fmla="*/ 2031113 h 7291226"/>
              <a:gd name="connsiteX31" fmla="*/ 5273037 w 9517086"/>
              <a:gd name="connsiteY31" fmla="*/ 1732846 h 7291226"/>
              <a:gd name="connsiteX0-1" fmla="*/ 168369 w 9378540"/>
              <a:gd name="connsiteY0-2" fmla="*/ 4779933 h 7291226"/>
              <a:gd name="connsiteX1-3" fmla="*/ 0 w 9378540"/>
              <a:gd name="connsiteY1-4" fmla="*/ 4409146 h 7291226"/>
              <a:gd name="connsiteX2-5" fmla="*/ 3332806 w 9378540"/>
              <a:gd name="connsiteY2-6" fmla="*/ 0 h 7291226"/>
              <a:gd name="connsiteX3-7" fmla="*/ 3794560 w 9378540"/>
              <a:gd name="connsiteY3-8" fmla="*/ 32861 h 7291226"/>
              <a:gd name="connsiteX4-9" fmla="*/ 168369 w 9378540"/>
              <a:gd name="connsiteY4-10" fmla="*/ 4779933 h 7291226"/>
              <a:gd name="connsiteX5-11" fmla="*/ 488220 w 9378540"/>
              <a:gd name="connsiteY5-12" fmla="*/ 5484315 h 7291226"/>
              <a:gd name="connsiteX6-13" fmla="*/ 299082 w 9378540"/>
              <a:gd name="connsiteY6-14" fmla="*/ 5067791 h 7291226"/>
              <a:gd name="connsiteX7-15" fmla="*/ 4106456 w 9378540"/>
              <a:gd name="connsiteY7-16" fmla="*/ 55057 h 7291226"/>
              <a:gd name="connsiteX8-17" fmla="*/ 4585079 w 9378540"/>
              <a:gd name="connsiteY8-18" fmla="*/ 89119 h 7291226"/>
              <a:gd name="connsiteX9-19" fmla="*/ 488220 w 9378540"/>
              <a:gd name="connsiteY9-20" fmla="*/ 5484315 h 7291226"/>
              <a:gd name="connsiteX10-21" fmla="*/ 779421 w 9378540"/>
              <a:gd name="connsiteY10-22" fmla="*/ 6125606 h 7291226"/>
              <a:gd name="connsiteX11-23" fmla="*/ 618065 w 9378540"/>
              <a:gd name="connsiteY11-24" fmla="*/ 5770263 h 7291226"/>
              <a:gd name="connsiteX12-25" fmla="*/ 4897528 w 9378540"/>
              <a:gd name="connsiteY12-26" fmla="*/ 111354 h 7291226"/>
              <a:gd name="connsiteX13-27" fmla="*/ 5324893 w 9378540"/>
              <a:gd name="connsiteY13-28" fmla="*/ 141768 h 7291226"/>
              <a:gd name="connsiteX14-29" fmla="*/ 779421 w 9378540"/>
              <a:gd name="connsiteY14-30" fmla="*/ 6125606 h 7291226"/>
              <a:gd name="connsiteX15-31" fmla="*/ 1099910 w 9378540"/>
              <a:gd name="connsiteY15-32" fmla="*/ 6831395 h 7291226"/>
              <a:gd name="connsiteX16-33" fmla="*/ 919656 w 9378540"/>
              <a:gd name="connsiteY16-34" fmla="*/ 6434435 h 7291226"/>
              <a:gd name="connsiteX17-35" fmla="*/ 5668965 w 9378540"/>
              <a:gd name="connsiteY17-36" fmla="*/ 166254 h 7291226"/>
              <a:gd name="connsiteX18-37" fmla="*/ 6114044 w 9378540"/>
              <a:gd name="connsiteY18-38" fmla="*/ 197929 h 7291226"/>
              <a:gd name="connsiteX19-39" fmla="*/ 1099910 w 9378540"/>
              <a:gd name="connsiteY19-40" fmla="*/ 6831395 h 7291226"/>
              <a:gd name="connsiteX20-41" fmla="*/ 7106560 w 9378540"/>
              <a:gd name="connsiteY20-42" fmla="*/ 7291226 h 7291226"/>
              <a:gd name="connsiteX21-43" fmla="*/ 6670875 w 9378540"/>
              <a:gd name="connsiteY21-44" fmla="*/ 7291226 h 7291226"/>
              <a:gd name="connsiteX22-45" fmla="*/ 3849932 w 9378540"/>
              <a:gd name="connsiteY22-46" fmla="*/ 3596670 h 7291226"/>
              <a:gd name="connsiteX23-47" fmla="*/ 4086202 w 9378540"/>
              <a:gd name="connsiteY23-48" fmla="*/ 3287229 h 7291226"/>
              <a:gd name="connsiteX24-49" fmla="*/ 7106560 w 9378540"/>
              <a:gd name="connsiteY24-50" fmla="*/ 7291226 h 7291226"/>
              <a:gd name="connsiteX25-51" fmla="*/ 7934229 w 9378540"/>
              <a:gd name="connsiteY25-52" fmla="*/ 7291226 h 7291226"/>
              <a:gd name="connsiteX26-53" fmla="*/ 7444802 w 9378540"/>
              <a:gd name="connsiteY26-54" fmla="*/ 7291226 h 7291226"/>
              <a:gd name="connsiteX27-55" fmla="*/ 4245793 w 9378540"/>
              <a:gd name="connsiteY27-56" fmla="*/ 3078214 h 7291226"/>
              <a:gd name="connsiteX28-57" fmla="*/ 4490696 w 9378540"/>
              <a:gd name="connsiteY28-58" fmla="*/ 2757469 h 7291226"/>
              <a:gd name="connsiteX29-59" fmla="*/ 7934229 w 9378540"/>
              <a:gd name="connsiteY29-60" fmla="*/ 7291226 h 7291226"/>
              <a:gd name="connsiteX30-61" fmla="*/ 8687764 w 9378540"/>
              <a:gd name="connsiteY30-62" fmla="*/ 7291226 h 7291226"/>
              <a:gd name="connsiteX31-63" fmla="*/ 8270226 w 9378540"/>
              <a:gd name="connsiteY31-64" fmla="*/ 7291226 h 7291226"/>
              <a:gd name="connsiteX32" fmla="*/ 4650570 w 9378540"/>
              <a:gd name="connsiteY32" fmla="*/ 2548084 h 7291226"/>
              <a:gd name="connsiteX33" fmla="*/ 4869244 w 9378540"/>
              <a:gd name="connsiteY33" fmla="*/ 2261689 h 7291226"/>
              <a:gd name="connsiteX34" fmla="*/ 8687764 w 9378540"/>
              <a:gd name="connsiteY34" fmla="*/ 7291226 h 7291226"/>
              <a:gd name="connsiteX35" fmla="*/ 9378540 w 9378540"/>
              <a:gd name="connsiteY35" fmla="*/ 7097262 h 7291226"/>
              <a:gd name="connsiteX36" fmla="*/ 9050647 w 9378540"/>
              <a:gd name="connsiteY36" fmla="*/ 7291226 h 7291226"/>
              <a:gd name="connsiteX37" fmla="*/ 5045299 w 9378540"/>
              <a:gd name="connsiteY37" fmla="*/ 2031113 h 7291226"/>
              <a:gd name="connsiteX38" fmla="*/ 5273037 w 9378540"/>
              <a:gd name="connsiteY38" fmla="*/ 1732846 h 7291226"/>
              <a:gd name="connsiteX39" fmla="*/ 9378540 w 9378540"/>
              <a:gd name="connsiteY39" fmla="*/ 7097262 h 7291226"/>
              <a:gd name="connsiteX0-65" fmla="*/ 168369 w 9378540"/>
              <a:gd name="connsiteY0-66" fmla="*/ 4779933 h 7291226"/>
              <a:gd name="connsiteX1-67" fmla="*/ 0 w 9378540"/>
              <a:gd name="connsiteY1-68" fmla="*/ 4409146 h 7291226"/>
              <a:gd name="connsiteX2-69" fmla="*/ 3332806 w 9378540"/>
              <a:gd name="connsiteY2-70" fmla="*/ 0 h 7291226"/>
              <a:gd name="connsiteX3-71" fmla="*/ 3794560 w 9378540"/>
              <a:gd name="connsiteY3-72" fmla="*/ 32861 h 7291226"/>
              <a:gd name="connsiteX4-73" fmla="*/ 168369 w 9378540"/>
              <a:gd name="connsiteY4-74" fmla="*/ 4779933 h 7291226"/>
              <a:gd name="connsiteX5-75" fmla="*/ 488220 w 9378540"/>
              <a:gd name="connsiteY5-76" fmla="*/ 5484315 h 7291226"/>
              <a:gd name="connsiteX6-77" fmla="*/ 299082 w 9378540"/>
              <a:gd name="connsiteY6-78" fmla="*/ 5067791 h 7291226"/>
              <a:gd name="connsiteX7-79" fmla="*/ 4106456 w 9378540"/>
              <a:gd name="connsiteY7-80" fmla="*/ 55057 h 7291226"/>
              <a:gd name="connsiteX8-81" fmla="*/ 4585079 w 9378540"/>
              <a:gd name="connsiteY8-82" fmla="*/ 89119 h 7291226"/>
              <a:gd name="connsiteX9-83" fmla="*/ 488220 w 9378540"/>
              <a:gd name="connsiteY9-84" fmla="*/ 5484315 h 7291226"/>
              <a:gd name="connsiteX10-85" fmla="*/ 779421 w 9378540"/>
              <a:gd name="connsiteY10-86" fmla="*/ 6125606 h 7291226"/>
              <a:gd name="connsiteX11-87" fmla="*/ 618065 w 9378540"/>
              <a:gd name="connsiteY11-88" fmla="*/ 5770263 h 7291226"/>
              <a:gd name="connsiteX12-89" fmla="*/ 4897528 w 9378540"/>
              <a:gd name="connsiteY12-90" fmla="*/ 111354 h 7291226"/>
              <a:gd name="connsiteX13-91" fmla="*/ 5324893 w 9378540"/>
              <a:gd name="connsiteY13-92" fmla="*/ 141768 h 7291226"/>
              <a:gd name="connsiteX14-93" fmla="*/ 779421 w 9378540"/>
              <a:gd name="connsiteY14-94" fmla="*/ 6125606 h 7291226"/>
              <a:gd name="connsiteX15-95" fmla="*/ 1099910 w 9378540"/>
              <a:gd name="connsiteY15-96" fmla="*/ 6831395 h 7291226"/>
              <a:gd name="connsiteX16-97" fmla="*/ 919656 w 9378540"/>
              <a:gd name="connsiteY16-98" fmla="*/ 6434435 h 7291226"/>
              <a:gd name="connsiteX17-99" fmla="*/ 5668965 w 9378540"/>
              <a:gd name="connsiteY17-100" fmla="*/ 166254 h 7291226"/>
              <a:gd name="connsiteX18-101" fmla="*/ 6114044 w 9378540"/>
              <a:gd name="connsiteY18-102" fmla="*/ 197929 h 7291226"/>
              <a:gd name="connsiteX19-103" fmla="*/ 1099910 w 9378540"/>
              <a:gd name="connsiteY19-104" fmla="*/ 6831395 h 7291226"/>
              <a:gd name="connsiteX20-105" fmla="*/ 7106560 w 9378540"/>
              <a:gd name="connsiteY20-106" fmla="*/ 7291226 h 7291226"/>
              <a:gd name="connsiteX21-107" fmla="*/ 6670875 w 9378540"/>
              <a:gd name="connsiteY21-108" fmla="*/ 7291226 h 7291226"/>
              <a:gd name="connsiteX22-109" fmla="*/ 3849932 w 9378540"/>
              <a:gd name="connsiteY22-110" fmla="*/ 3596670 h 7291226"/>
              <a:gd name="connsiteX23-111" fmla="*/ 4086202 w 9378540"/>
              <a:gd name="connsiteY23-112" fmla="*/ 3287229 h 7291226"/>
              <a:gd name="connsiteX24-113" fmla="*/ 7106560 w 9378540"/>
              <a:gd name="connsiteY24-114" fmla="*/ 7291226 h 7291226"/>
              <a:gd name="connsiteX25-115" fmla="*/ 7934229 w 9378540"/>
              <a:gd name="connsiteY25-116" fmla="*/ 7291226 h 7291226"/>
              <a:gd name="connsiteX26-117" fmla="*/ 7444802 w 9378540"/>
              <a:gd name="connsiteY26-118" fmla="*/ 7291226 h 7291226"/>
              <a:gd name="connsiteX27-119" fmla="*/ 4245793 w 9378540"/>
              <a:gd name="connsiteY27-120" fmla="*/ 3078214 h 7291226"/>
              <a:gd name="connsiteX28-121" fmla="*/ 4490696 w 9378540"/>
              <a:gd name="connsiteY28-122" fmla="*/ 2757469 h 7291226"/>
              <a:gd name="connsiteX29-123" fmla="*/ 7934229 w 9378540"/>
              <a:gd name="connsiteY29-124" fmla="*/ 7291226 h 7291226"/>
              <a:gd name="connsiteX30-125" fmla="*/ 8687764 w 9378540"/>
              <a:gd name="connsiteY30-126" fmla="*/ 7291226 h 7291226"/>
              <a:gd name="connsiteX31-127" fmla="*/ 8270226 w 9378540"/>
              <a:gd name="connsiteY31-128" fmla="*/ 7291226 h 7291226"/>
              <a:gd name="connsiteX32-129" fmla="*/ 4650570 w 9378540"/>
              <a:gd name="connsiteY32-130" fmla="*/ 2548084 h 7291226"/>
              <a:gd name="connsiteX33-131" fmla="*/ 4869244 w 9378540"/>
              <a:gd name="connsiteY33-132" fmla="*/ 2261689 h 7291226"/>
              <a:gd name="connsiteX34-133" fmla="*/ 8687764 w 9378540"/>
              <a:gd name="connsiteY34-134" fmla="*/ 7291226 h 7291226"/>
              <a:gd name="connsiteX35-135" fmla="*/ 9378540 w 9378540"/>
              <a:gd name="connsiteY35-136" fmla="*/ 7097262 h 7291226"/>
              <a:gd name="connsiteX36-137" fmla="*/ 8921338 w 9378540"/>
              <a:gd name="connsiteY36-138" fmla="*/ 7115735 h 7291226"/>
              <a:gd name="connsiteX37-139" fmla="*/ 5045299 w 9378540"/>
              <a:gd name="connsiteY37-140" fmla="*/ 2031113 h 7291226"/>
              <a:gd name="connsiteX38-141" fmla="*/ 5273037 w 9378540"/>
              <a:gd name="connsiteY38-142" fmla="*/ 1732846 h 7291226"/>
              <a:gd name="connsiteX39-143" fmla="*/ 9378540 w 9378540"/>
              <a:gd name="connsiteY39-144" fmla="*/ 7097262 h 7291226"/>
              <a:gd name="connsiteX0-145" fmla="*/ 168369 w 9397013"/>
              <a:gd name="connsiteY0-146" fmla="*/ 4779933 h 7291226"/>
              <a:gd name="connsiteX1-147" fmla="*/ 0 w 9397013"/>
              <a:gd name="connsiteY1-148" fmla="*/ 4409146 h 7291226"/>
              <a:gd name="connsiteX2-149" fmla="*/ 3332806 w 9397013"/>
              <a:gd name="connsiteY2-150" fmla="*/ 0 h 7291226"/>
              <a:gd name="connsiteX3-151" fmla="*/ 3794560 w 9397013"/>
              <a:gd name="connsiteY3-152" fmla="*/ 32861 h 7291226"/>
              <a:gd name="connsiteX4-153" fmla="*/ 168369 w 9397013"/>
              <a:gd name="connsiteY4-154" fmla="*/ 4779933 h 7291226"/>
              <a:gd name="connsiteX5-155" fmla="*/ 488220 w 9397013"/>
              <a:gd name="connsiteY5-156" fmla="*/ 5484315 h 7291226"/>
              <a:gd name="connsiteX6-157" fmla="*/ 299082 w 9397013"/>
              <a:gd name="connsiteY6-158" fmla="*/ 5067791 h 7291226"/>
              <a:gd name="connsiteX7-159" fmla="*/ 4106456 w 9397013"/>
              <a:gd name="connsiteY7-160" fmla="*/ 55057 h 7291226"/>
              <a:gd name="connsiteX8-161" fmla="*/ 4585079 w 9397013"/>
              <a:gd name="connsiteY8-162" fmla="*/ 89119 h 7291226"/>
              <a:gd name="connsiteX9-163" fmla="*/ 488220 w 9397013"/>
              <a:gd name="connsiteY9-164" fmla="*/ 5484315 h 7291226"/>
              <a:gd name="connsiteX10-165" fmla="*/ 779421 w 9397013"/>
              <a:gd name="connsiteY10-166" fmla="*/ 6125606 h 7291226"/>
              <a:gd name="connsiteX11-167" fmla="*/ 618065 w 9397013"/>
              <a:gd name="connsiteY11-168" fmla="*/ 5770263 h 7291226"/>
              <a:gd name="connsiteX12-169" fmla="*/ 4897528 w 9397013"/>
              <a:gd name="connsiteY12-170" fmla="*/ 111354 h 7291226"/>
              <a:gd name="connsiteX13-171" fmla="*/ 5324893 w 9397013"/>
              <a:gd name="connsiteY13-172" fmla="*/ 141768 h 7291226"/>
              <a:gd name="connsiteX14-173" fmla="*/ 779421 w 9397013"/>
              <a:gd name="connsiteY14-174" fmla="*/ 6125606 h 7291226"/>
              <a:gd name="connsiteX15-175" fmla="*/ 1099910 w 9397013"/>
              <a:gd name="connsiteY15-176" fmla="*/ 6831395 h 7291226"/>
              <a:gd name="connsiteX16-177" fmla="*/ 919656 w 9397013"/>
              <a:gd name="connsiteY16-178" fmla="*/ 6434435 h 7291226"/>
              <a:gd name="connsiteX17-179" fmla="*/ 5668965 w 9397013"/>
              <a:gd name="connsiteY17-180" fmla="*/ 166254 h 7291226"/>
              <a:gd name="connsiteX18-181" fmla="*/ 6114044 w 9397013"/>
              <a:gd name="connsiteY18-182" fmla="*/ 197929 h 7291226"/>
              <a:gd name="connsiteX19-183" fmla="*/ 1099910 w 9397013"/>
              <a:gd name="connsiteY19-184" fmla="*/ 6831395 h 7291226"/>
              <a:gd name="connsiteX20-185" fmla="*/ 7106560 w 9397013"/>
              <a:gd name="connsiteY20-186" fmla="*/ 7291226 h 7291226"/>
              <a:gd name="connsiteX21-187" fmla="*/ 6670875 w 9397013"/>
              <a:gd name="connsiteY21-188" fmla="*/ 7291226 h 7291226"/>
              <a:gd name="connsiteX22-189" fmla="*/ 3849932 w 9397013"/>
              <a:gd name="connsiteY22-190" fmla="*/ 3596670 h 7291226"/>
              <a:gd name="connsiteX23-191" fmla="*/ 4086202 w 9397013"/>
              <a:gd name="connsiteY23-192" fmla="*/ 3287229 h 7291226"/>
              <a:gd name="connsiteX24-193" fmla="*/ 7106560 w 9397013"/>
              <a:gd name="connsiteY24-194" fmla="*/ 7291226 h 7291226"/>
              <a:gd name="connsiteX25-195" fmla="*/ 7934229 w 9397013"/>
              <a:gd name="connsiteY25-196" fmla="*/ 7291226 h 7291226"/>
              <a:gd name="connsiteX26-197" fmla="*/ 7444802 w 9397013"/>
              <a:gd name="connsiteY26-198" fmla="*/ 7291226 h 7291226"/>
              <a:gd name="connsiteX27-199" fmla="*/ 4245793 w 9397013"/>
              <a:gd name="connsiteY27-200" fmla="*/ 3078214 h 7291226"/>
              <a:gd name="connsiteX28-201" fmla="*/ 4490696 w 9397013"/>
              <a:gd name="connsiteY28-202" fmla="*/ 2757469 h 7291226"/>
              <a:gd name="connsiteX29-203" fmla="*/ 7934229 w 9397013"/>
              <a:gd name="connsiteY29-204" fmla="*/ 7291226 h 7291226"/>
              <a:gd name="connsiteX30-205" fmla="*/ 8687764 w 9397013"/>
              <a:gd name="connsiteY30-206" fmla="*/ 7291226 h 7291226"/>
              <a:gd name="connsiteX31-207" fmla="*/ 8270226 w 9397013"/>
              <a:gd name="connsiteY31-208" fmla="*/ 7291226 h 7291226"/>
              <a:gd name="connsiteX32-209" fmla="*/ 4650570 w 9397013"/>
              <a:gd name="connsiteY32-210" fmla="*/ 2548084 h 7291226"/>
              <a:gd name="connsiteX33-211" fmla="*/ 4869244 w 9397013"/>
              <a:gd name="connsiteY33-212" fmla="*/ 2261689 h 7291226"/>
              <a:gd name="connsiteX34-213" fmla="*/ 8687764 w 9397013"/>
              <a:gd name="connsiteY34-214" fmla="*/ 7291226 h 7291226"/>
              <a:gd name="connsiteX35-215" fmla="*/ 9397013 w 9397013"/>
              <a:gd name="connsiteY35-216" fmla="*/ 7134207 h 7291226"/>
              <a:gd name="connsiteX36-217" fmla="*/ 8921338 w 9397013"/>
              <a:gd name="connsiteY36-218" fmla="*/ 7115735 h 7291226"/>
              <a:gd name="connsiteX37-219" fmla="*/ 5045299 w 9397013"/>
              <a:gd name="connsiteY37-220" fmla="*/ 2031113 h 7291226"/>
              <a:gd name="connsiteX38-221" fmla="*/ 5273037 w 9397013"/>
              <a:gd name="connsiteY38-222" fmla="*/ 1732846 h 7291226"/>
              <a:gd name="connsiteX39-223" fmla="*/ 9397013 w 9397013"/>
              <a:gd name="connsiteY39-224" fmla="*/ 7134207 h 7291226"/>
              <a:gd name="connsiteX0-225" fmla="*/ 168369 w 9397013"/>
              <a:gd name="connsiteY0-226" fmla="*/ 4779933 h 7291226"/>
              <a:gd name="connsiteX1-227" fmla="*/ 0 w 9397013"/>
              <a:gd name="connsiteY1-228" fmla="*/ 4409146 h 7291226"/>
              <a:gd name="connsiteX2-229" fmla="*/ 3332806 w 9397013"/>
              <a:gd name="connsiteY2-230" fmla="*/ 0 h 7291226"/>
              <a:gd name="connsiteX3-231" fmla="*/ 3794560 w 9397013"/>
              <a:gd name="connsiteY3-232" fmla="*/ 32861 h 7291226"/>
              <a:gd name="connsiteX4-233" fmla="*/ 168369 w 9397013"/>
              <a:gd name="connsiteY4-234" fmla="*/ 4779933 h 7291226"/>
              <a:gd name="connsiteX5-235" fmla="*/ 488220 w 9397013"/>
              <a:gd name="connsiteY5-236" fmla="*/ 5484315 h 7291226"/>
              <a:gd name="connsiteX6-237" fmla="*/ 299082 w 9397013"/>
              <a:gd name="connsiteY6-238" fmla="*/ 5067791 h 7291226"/>
              <a:gd name="connsiteX7-239" fmla="*/ 4106456 w 9397013"/>
              <a:gd name="connsiteY7-240" fmla="*/ 55057 h 7291226"/>
              <a:gd name="connsiteX8-241" fmla="*/ 4585079 w 9397013"/>
              <a:gd name="connsiteY8-242" fmla="*/ 89119 h 7291226"/>
              <a:gd name="connsiteX9-243" fmla="*/ 488220 w 9397013"/>
              <a:gd name="connsiteY9-244" fmla="*/ 5484315 h 7291226"/>
              <a:gd name="connsiteX10-245" fmla="*/ 779421 w 9397013"/>
              <a:gd name="connsiteY10-246" fmla="*/ 6125606 h 7291226"/>
              <a:gd name="connsiteX11-247" fmla="*/ 618065 w 9397013"/>
              <a:gd name="connsiteY11-248" fmla="*/ 5770263 h 7291226"/>
              <a:gd name="connsiteX12-249" fmla="*/ 4897528 w 9397013"/>
              <a:gd name="connsiteY12-250" fmla="*/ 111354 h 7291226"/>
              <a:gd name="connsiteX13-251" fmla="*/ 5324893 w 9397013"/>
              <a:gd name="connsiteY13-252" fmla="*/ 141768 h 7291226"/>
              <a:gd name="connsiteX14-253" fmla="*/ 779421 w 9397013"/>
              <a:gd name="connsiteY14-254" fmla="*/ 6125606 h 7291226"/>
              <a:gd name="connsiteX15-255" fmla="*/ 1099910 w 9397013"/>
              <a:gd name="connsiteY15-256" fmla="*/ 6831395 h 7291226"/>
              <a:gd name="connsiteX16-257" fmla="*/ 919656 w 9397013"/>
              <a:gd name="connsiteY16-258" fmla="*/ 6434435 h 7291226"/>
              <a:gd name="connsiteX17-259" fmla="*/ 5668965 w 9397013"/>
              <a:gd name="connsiteY17-260" fmla="*/ 166254 h 7291226"/>
              <a:gd name="connsiteX18-261" fmla="*/ 6114044 w 9397013"/>
              <a:gd name="connsiteY18-262" fmla="*/ 197929 h 7291226"/>
              <a:gd name="connsiteX19-263" fmla="*/ 1099910 w 9397013"/>
              <a:gd name="connsiteY19-264" fmla="*/ 6831395 h 7291226"/>
              <a:gd name="connsiteX20-265" fmla="*/ 7106560 w 9397013"/>
              <a:gd name="connsiteY20-266" fmla="*/ 7291226 h 7291226"/>
              <a:gd name="connsiteX21-267" fmla="*/ 6670875 w 9397013"/>
              <a:gd name="connsiteY21-268" fmla="*/ 7291226 h 7291226"/>
              <a:gd name="connsiteX22-269" fmla="*/ 3849932 w 9397013"/>
              <a:gd name="connsiteY22-270" fmla="*/ 3596670 h 7291226"/>
              <a:gd name="connsiteX23-271" fmla="*/ 4086202 w 9397013"/>
              <a:gd name="connsiteY23-272" fmla="*/ 3287229 h 7291226"/>
              <a:gd name="connsiteX24-273" fmla="*/ 7106560 w 9397013"/>
              <a:gd name="connsiteY24-274" fmla="*/ 7291226 h 7291226"/>
              <a:gd name="connsiteX25-275" fmla="*/ 7934229 w 9397013"/>
              <a:gd name="connsiteY25-276" fmla="*/ 7291226 h 7291226"/>
              <a:gd name="connsiteX26-277" fmla="*/ 7444802 w 9397013"/>
              <a:gd name="connsiteY26-278" fmla="*/ 7291226 h 7291226"/>
              <a:gd name="connsiteX27-279" fmla="*/ 4245793 w 9397013"/>
              <a:gd name="connsiteY27-280" fmla="*/ 3078214 h 7291226"/>
              <a:gd name="connsiteX28-281" fmla="*/ 4490696 w 9397013"/>
              <a:gd name="connsiteY28-282" fmla="*/ 2757469 h 7291226"/>
              <a:gd name="connsiteX29-283" fmla="*/ 7934229 w 9397013"/>
              <a:gd name="connsiteY29-284" fmla="*/ 7291226 h 7291226"/>
              <a:gd name="connsiteX30-285" fmla="*/ 8530746 w 9397013"/>
              <a:gd name="connsiteY30-286" fmla="*/ 7088026 h 7291226"/>
              <a:gd name="connsiteX31-287" fmla="*/ 8270226 w 9397013"/>
              <a:gd name="connsiteY31-288" fmla="*/ 7291226 h 7291226"/>
              <a:gd name="connsiteX32-289" fmla="*/ 4650570 w 9397013"/>
              <a:gd name="connsiteY32-290" fmla="*/ 2548084 h 7291226"/>
              <a:gd name="connsiteX33-291" fmla="*/ 4869244 w 9397013"/>
              <a:gd name="connsiteY33-292" fmla="*/ 2261689 h 7291226"/>
              <a:gd name="connsiteX34-293" fmla="*/ 8530746 w 9397013"/>
              <a:gd name="connsiteY34-294" fmla="*/ 7088026 h 7291226"/>
              <a:gd name="connsiteX35-295" fmla="*/ 9397013 w 9397013"/>
              <a:gd name="connsiteY35-296" fmla="*/ 7134207 h 7291226"/>
              <a:gd name="connsiteX36-297" fmla="*/ 8921338 w 9397013"/>
              <a:gd name="connsiteY36-298" fmla="*/ 7115735 h 7291226"/>
              <a:gd name="connsiteX37-299" fmla="*/ 5045299 w 9397013"/>
              <a:gd name="connsiteY37-300" fmla="*/ 2031113 h 7291226"/>
              <a:gd name="connsiteX38-301" fmla="*/ 5273037 w 9397013"/>
              <a:gd name="connsiteY38-302" fmla="*/ 1732846 h 7291226"/>
              <a:gd name="connsiteX39-303" fmla="*/ 9397013 w 9397013"/>
              <a:gd name="connsiteY39-304" fmla="*/ 7134207 h 7291226"/>
              <a:gd name="connsiteX0-305" fmla="*/ 168369 w 9397013"/>
              <a:gd name="connsiteY0-306" fmla="*/ 4779933 h 7291226"/>
              <a:gd name="connsiteX1-307" fmla="*/ 0 w 9397013"/>
              <a:gd name="connsiteY1-308" fmla="*/ 4409146 h 7291226"/>
              <a:gd name="connsiteX2-309" fmla="*/ 3332806 w 9397013"/>
              <a:gd name="connsiteY2-310" fmla="*/ 0 h 7291226"/>
              <a:gd name="connsiteX3-311" fmla="*/ 3794560 w 9397013"/>
              <a:gd name="connsiteY3-312" fmla="*/ 32861 h 7291226"/>
              <a:gd name="connsiteX4-313" fmla="*/ 168369 w 9397013"/>
              <a:gd name="connsiteY4-314" fmla="*/ 4779933 h 7291226"/>
              <a:gd name="connsiteX5-315" fmla="*/ 488220 w 9397013"/>
              <a:gd name="connsiteY5-316" fmla="*/ 5484315 h 7291226"/>
              <a:gd name="connsiteX6-317" fmla="*/ 299082 w 9397013"/>
              <a:gd name="connsiteY6-318" fmla="*/ 5067791 h 7291226"/>
              <a:gd name="connsiteX7-319" fmla="*/ 4106456 w 9397013"/>
              <a:gd name="connsiteY7-320" fmla="*/ 55057 h 7291226"/>
              <a:gd name="connsiteX8-321" fmla="*/ 4585079 w 9397013"/>
              <a:gd name="connsiteY8-322" fmla="*/ 89119 h 7291226"/>
              <a:gd name="connsiteX9-323" fmla="*/ 488220 w 9397013"/>
              <a:gd name="connsiteY9-324" fmla="*/ 5484315 h 7291226"/>
              <a:gd name="connsiteX10-325" fmla="*/ 779421 w 9397013"/>
              <a:gd name="connsiteY10-326" fmla="*/ 6125606 h 7291226"/>
              <a:gd name="connsiteX11-327" fmla="*/ 618065 w 9397013"/>
              <a:gd name="connsiteY11-328" fmla="*/ 5770263 h 7291226"/>
              <a:gd name="connsiteX12-329" fmla="*/ 4897528 w 9397013"/>
              <a:gd name="connsiteY12-330" fmla="*/ 111354 h 7291226"/>
              <a:gd name="connsiteX13-331" fmla="*/ 5324893 w 9397013"/>
              <a:gd name="connsiteY13-332" fmla="*/ 141768 h 7291226"/>
              <a:gd name="connsiteX14-333" fmla="*/ 779421 w 9397013"/>
              <a:gd name="connsiteY14-334" fmla="*/ 6125606 h 7291226"/>
              <a:gd name="connsiteX15-335" fmla="*/ 1099910 w 9397013"/>
              <a:gd name="connsiteY15-336" fmla="*/ 6831395 h 7291226"/>
              <a:gd name="connsiteX16-337" fmla="*/ 919656 w 9397013"/>
              <a:gd name="connsiteY16-338" fmla="*/ 6434435 h 7291226"/>
              <a:gd name="connsiteX17-339" fmla="*/ 5668965 w 9397013"/>
              <a:gd name="connsiteY17-340" fmla="*/ 166254 h 7291226"/>
              <a:gd name="connsiteX18-341" fmla="*/ 6114044 w 9397013"/>
              <a:gd name="connsiteY18-342" fmla="*/ 197929 h 7291226"/>
              <a:gd name="connsiteX19-343" fmla="*/ 1099910 w 9397013"/>
              <a:gd name="connsiteY19-344" fmla="*/ 6831395 h 7291226"/>
              <a:gd name="connsiteX20-345" fmla="*/ 7106560 w 9397013"/>
              <a:gd name="connsiteY20-346" fmla="*/ 7291226 h 7291226"/>
              <a:gd name="connsiteX21-347" fmla="*/ 6670875 w 9397013"/>
              <a:gd name="connsiteY21-348" fmla="*/ 7291226 h 7291226"/>
              <a:gd name="connsiteX22-349" fmla="*/ 3849932 w 9397013"/>
              <a:gd name="connsiteY22-350" fmla="*/ 3596670 h 7291226"/>
              <a:gd name="connsiteX23-351" fmla="*/ 4086202 w 9397013"/>
              <a:gd name="connsiteY23-352" fmla="*/ 3287229 h 7291226"/>
              <a:gd name="connsiteX24-353" fmla="*/ 7106560 w 9397013"/>
              <a:gd name="connsiteY24-354" fmla="*/ 7291226 h 7291226"/>
              <a:gd name="connsiteX25-355" fmla="*/ 7934229 w 9397013"/>
              <a:gd name="connsiteY25-356" fmla="*/ 7291226 h 7291226"/>
              <a:gd name="connsiteX26-357" fmla="*/ 7444802 w 9397013"/>
              <a:gd name="connsiteY26-358" fmla="*/ 7291226 h 7291226"/>
              <a:gd name="connsiteX27-359" fmla="*/ 4245793 w 9397013"/>
              <a:gd name="connsiteY27-360" fmla="*/ 3078214 h 7291226"/>
              <a:gd name="connsiteX28-361" fmla="*/ 4490696 w 9397013"/>
              <a:gd name="connsiteY28-362" fmla="*/ 2757469 h 7291226"/>
              <a:gd name="connsiteX29-363" fmla="*/ 7934229 w 9397013"/>
              <a:gd name="connsiteY29-364" fmla="*/ 7291226 h 7291226"/>
              <a:gd name="connsiteX30-365" fmla="*/ 8530746 w 9397013"/>
              <a:gd name="connsiteY30-366" fmla="*/ 7088026 h 7291226"/>
              <a:gd name="connsiteX31-367" fmla="*/ 8150153 w 9397013"/>
              <a:gd name="connsiteY31-368" fmla="*/ 7097262 h 7291226"/>
              <a:gd name="connsiteX32-369" fmla="*/ 4650570 w 9397013"/>
              <a:gd name="connsiteY32-370" fmla="*/ 2548084 h 7291226"/>
              <a:gd name="connsiteX33-371" fmla="*/ 4869244 w 9397013"/>
              <a:gd name="connsiteY33-372" fmla="*/ 2261689 h 7291226"/>
              <a:gd name="connsiteX34-373" fmla="*/ 8530746 w 9397013"/>
              <a:gd name="connsiteY34-374" fmla="*/ 7088026 h 7291226"/>
              <a:gd name="connsiteX35-375" fmla="*/ 9397013 w 9397013"/>
              <a:gd name="connsiteY35-376" fmla="*/ 7134207 h 7291226"/>
              <a:gd name="connsiteX36-377" fmla="*/ 8921338 w 9397013"/>
              <a:gd name="connsiteY36-378" fmla="*/ 7115735 h 7291226"/>
              <a:gd name="connsiteX37-379" fmla="*/ 5045299 w 9397013"/>
              <a:gd name="connsiteY37-380" fmla="*/ 2031113 h 7291226"/>
              <a:gd name="connsiteX38-381" fmla="*/ 5273037 w 9397013"/>
              <a:gd name="connsiteY38-382" fmla="*/ 1732846 h 7291226"/>
              <a:gd name="connsiteX39-383" fmla="*/ 9397013 w 9397013"/>
              <a:gd name="connsiteY39-384" fmla="*/ 7134207 h 7291226"/>
              <a:gd name="connsiteX0-385" fmla="*/ 168369 w 9397013"/>
              <a:gd name="connsiteY0-386" fmla="*/ 4779933 h 7291226"/>
              <a:gd name="connsiteX1-387" fmla="*/ 0 w 9397013"/>
              <a:gd name="connsiteY1-388" fmla="*/ 4409146 h 7291226"/>
              <a:gd name="connsiteX2-389" fmla="*/ 3332806 w 9397013"/>
              <a:gd name="connsiteY2-390" fmla="*/ 0 h 7291226"/>
              <a:gd name="connsiteX3-391" fmla="*/ 3794560 w 9397013"/>
              <a:gd name="connsiteY3-392" fmla="*/ 32861 h 7291226"/>
              <a:gd name="connsiteX4-393" fmla="*/ 168369 w 9397013"/>
              <a:gd name="connsiteY4-394" fmla="*/ 4779933 h 7291226"/>
              <a:gd name="connsiteX5-395" fmla="*/ 488220 w 9397013"/>
              <a:gd name="connsiteY5-396" fmla="*/ 5484315 h 7291226"/>
              <a:gd name="connsiteX6-397" fmla="*/ 299082 w 9397013"/>
              <a:gd name="connsiteY6-398" fmla="*/ 5067791 h 7291226"/>
              <a:gd name="connsiteX7-399" fmla="*/ 4106456 w 9397013"/>
              <a:gd name="connsiteY7-400" fmla="*/ 55057 h 7291226"/>
              <a:gd name="connsiteX8-401" fmla="*/ 4585079 w 9397013"/>
              <a:gd name="connsiteY8-402" fmla="*/ 89119 h 7291226"/>
              <a:gd name="connsiteX9-403" fmla="*/ 488220 w 9397013"/>
              <a:gd name="connsiteY9-404" fmla="*/ 5484315 h 7291226"/>
              <a:gd name="connsiteX10-405" fmla="*/ 779421 w 9397013"/>
              <a:gd name="connsiteY10-406" fmla="*/ 6125606 h 7291226"/>
              <a:gd name="connsiteX11-407" fmla="*/ 618065 w 9397013"/>
              <a:gd name="connsiteY11-408" fmla="*/ 5770263 h 7291226"/>
              <a:gd name="connsiteX12-409" fmla="*/ 4897528 w 9397013"/>
              <a:gd name="connsiteY12-410" fmla="*/ 111354 h 7291226"/>
              <a:gd name="connsiteX13-411" fmla="*/ 5324893 w 9397013"/>
              <a:gd name="connsiteY13-412" fmla="*/ 141768 h 7291226"/>
              <a:gd name="connsiteX14-413" fmla="*/ 779421 w 9397013"/>
              <a:gd name="connsiteY14-414" fmla="*/ 6125606 h 7291226"/>
              <a:gd name="connsiteX15-415" fmla="*/ 1099910 w 9397013"/>
              <a:gd name="connsiteY15-416" fmla="*/ 6831395 h 7291226"/>
              <a:gd name="connsiteX16-417" fmla="*/ 919656 w 9397013"/>
              <a:gd name="connsiteY16-418" fmla="*/ 6434435 h 7291226"/>
              <a:gd name="connsiteX17-419" fmla="*/ 5668965 w 9397013"/>
              <a:gd name="connsiteY17-420" fmla="*/ 166254 h 7291226"/>
              <a:gd name="connsiteX18-421" fmla="*/ 6114044 w 9397013"/>
              <a:gd name="connsiteY18-422" fmla="*/ 197929 h 7291226"/>
              <a:gd name="connsiteX19-423" fmla="*/ 1099910 w 9397013"/>
              <a:gd name="connsiteY19-424" fmla="*/ 6831395 h 7291226"/>
              <a:gd name="connsiteX20-425" fmla="*/ 7106560 w 9397013"/>
              <a:gd name="connsiteY20-426" fmla="*/ 7291226 h 7291226"/>
              <a:gd name="connsiteX21-427" fmla="*/ 6670875 w 9397013"/>
              <a:gd name="connsiteY21-428" fmla="*/ 7291226 h 7291226"/>
              <a:gd name="connsiteX22-429" fmla="*/ 3849932 w 9397013"/>
              <a:gd name="connsiteY22-430" fmla="*/ 3596670 h 7291226"/>
              <a:gd name="connsiteX23-431" fmla="*/ 4086202 w 9397013"/>
              <a:gd name="connsiteY23-432" fmla="*/ 3287229 h 7291226"/>
              <a:gd name="connsiteX24-433" fmla="*/ 7106560 w 9397013"/>
              <a:gd name="connsiteY24-434" fmla="*/ 7291226 h 7291226"/>
              <a:gd name="connsiteX25-435" fmla="*/ 7934229 w 9397013"/>
              <a:gd name="connsiteY25-436" fmla="*/ 7291226 h 7291226"/>
              <a:gd name="connsiteX26-437" fmla="*/ 7444802 w 9397013"/>
              <a:gd name="connsiteY26-438" fmla="*/ 7291226 h 7291226"/>
              <a:gd name="connsiteX27-439" fmla="*/ 4245793 w 9397013"/>
              <a:gd name="connsiteY27-440" fmla="*/ 3078214 h 7291226"/>
              <a:gd name="connsiteX28-441" fmla="*/ 4490696 w 9397013"/>
              <a:gd name="connsiteY28-442" fmla="*/ 2757469 h 7291226"/>
              <a:gd name="connsiteX29-443" fmla="*/ 7934229 w 9397013"/>
              <a:gd name="connsiteY29-444" fmla="*/ 7291226 h 7291226"/>
              <a:gd name="connsiteX30-445" fmla="*/ 8567691 w 9397013"/>
              <a:gd name="connsiteY30-446" fmla="*/ 7124971 h 7291226"/>
              <a:gd name="connsiteX31-447" fmla="*/ 8150153 w 9397013"/>
              <a:gd name="connsiteY31-448" fmla="*/ 7097262 h 7291226"/>
              <a:gd name="connsiteX32-449" fmla="*/ 4650570 w 9397013"/>
              <a:gd name="connsiteY32-450" fmla="*/ 2548084 h 7291226"/>
              <a:gd name="connsiteX33-451" fmla="*/ 4869244 w 9397013"/>
              <a:gd name="connsiteY33-452" fmla="*/ 2261689 h 7291226"/>
              <a:gd name="connsiteX34-453" fmla="*/ 8567691 w 9397013"/>
              <a:gd name="connsiteY34-454" fmla="*/ 7124971 h 7291226"/>
              <a:gd name="connsiteX35-455" fmla="*/ 9397013 w 9397013"/>
              <a:gd name="connsiteY35-456" fmla="*/ 7134207 h 7291226"/>
              <a:gd name="connsiteX36-457" fmla="*/ 8921338 w 9397013"/>
              <a:gd name="connsiteY36-458" fmla="*/ 7115735 h 7291226"/>
              <a:gd name="connsiteX37-459" fmla="*/ 5045299 w 9397013"/>
              <a:gd name="connsiteY37-460" fmla="*/ 2031113 h 7291226"/>
              <a:gd name="connsiteX38-461" fmla="*/ 5273037 w 9397013"/>
              <a:gd name="connsiteY38-462" fmla="*/ 1732846 h 7291226"/>
              <a:gd name="connsiteX39-463" fmla="*/ 9397013 w 9397013"/>
              <a:gd name="connsiteY39-464" fmla="*/ 7134207 h 7291226"/>
              <a:gd name="connsiteX0-465" fmla="*/ 168369 w 9397013"/>
              <a:gd name="connsiteY0-466" fmla="*/ 4779933 h 7291226"/>
              <a:gd name="connsiteX1-467" fmla="*/ 0 w 9397013"/>
              <a:gd name="connsiteY1-468" fmla="*/ 4409146 h 7291226"/>
              <a:gd name="connsiteX2-469" fmla="*/ 3332806 w 9397013"/>
              <a:gd name="connsiteY2-470" fmla="*/ 0 h 7291226"/>
              <a:gd name="connsiteX3-471" fmla="*/ 3794560 w 9397013"/>
              <a:gd name="connsiteY3-472" fmla="*/ 32861 h 7291226"/>
              <a:gd name="connsiteX4-473" fmla="*/ 168369 w 9397013"/>
              <a:gd name="connsiteY4-474" fmla="*/ 4779933 h 7291226"/>
              <a:gd name="connsiteX5-475" fmla="*/ 488220 w 9397013"/>
              <a:gd name="connsiteY5-476" fmla="*/ 5484315 h 7291226"/>
              <a:gd name="connsiteX6-477" fmla="*/ 299082 w 9397013"/>
              <a:gd name="connsiteY6-478" fmla="*/ 5067791 h 7291226"/>
              <a:gd name="connsiteX7-479" fmla="*/ 4106456 w 9397013"/>
              <a:gd name="connsiteY7-480" fmla="*/ 55057 h 7291226"/>
              <a:gd name="connsiteX8-481" fmla="*/ 4585079 w 9397013"/>
              <a:gd name="connsiteY8-482" fmla="*/ 89119 h 7291226"/>
              <a:gd name="connsiteX9-483" fmla="*/ 488220 w 9397013"/>
              <a:gd name="connsiteY9-484" fmla="*/ 5484315 h 7291226"/>
              <a:gd name="connsiteX10-485" fmla="*/ 779421 w 9397013"/>
              <a:gd name="connsiteY10-486" fmla="*/ 6125606 h 7291226"/>
              <a:gd name="connsiteX11-487" fmla="*/ 618065 w 9397013"/>
              <a:gd name="connsiteY11-488" fmla="*/ 5770263 h 7291226"/>
              <a:gd name="connsiteX12-489" fmla="*/ 4897528 w 9397013"/>
              <a:gd name="connsiteY12-490" fmla="*/ 111354 h 7291226"/>
              <a:gd name="connsiteX13-491" fmla="*/ 5324893 w 9397013"/>
              <a:gd name="connsiteY13-492" fmla="*/ 141768 h 7291226"/>
              <a:gd name="connsiteX14-493" fmla="*/ 779421 w 9397013"/>
              <a:gd name="connsiteY14-494" fmla="*/ 6125606 h 7291226"/>
              <a:gd name="connsiteX15-495" fmla="*/ 1099910 w 9397013"/>
              <a:gd name="connsiteY15-496" fmla="*/ 6831395 h 7291226"/>
              <a:gd name="connsiteX16-497" fmla="*/ 919656 w 9397013"/>
              <a:gd name="connsiteY16-498" fmla="*/ 6434435 h 7291226"/>
              <a:gd name="connsiteX17-499" fmla="*/ 5668965 w 9397013"/>
              <a:gd name="connsiteY17-500" fmla="*/ 166254 h 7291226"/>
              <a:gd name="connsiteX18-501" fmla="*/ 6114044 w 9397013"/>
              <a:gd name="connsiteY18-502" fmla="*/ 197929 h 7291226"/>
              <a:gd name="connsiteX19-503" fmla="*/ 1099910 w 9397013"/>
              <a:gd name="connsiteY19-504" fmla="*/ 6831395 h 7291226"/>
              <a:gd name="connsiteX20-505" fmla="*/ 7106560 w 9397013"/>
              <a:gd name="connsiteY20-506" fmla="*/ 7291226 h 7291226"/>
              <a:gd name="connsiteX21-507" fmla="*/ 6670875 w 9397013"/>
              <a:gd name="connsiteY21-508" fmla="*/ 7291226 h 7291226"/>
              <a:gd name="connsiteX22-509" fmla="*/ 3849932 w 9397013"/>
              <a:gd name="connsiteY22-510" fmla="*/ 3596670 h 7291226"/>
              <a:gd name="connsiteX23-511" fmla="*/ 4086202 w 9397013"/>
              <a:gd name="connsiteY23-512" fmla="*/ 3287229 h 7291226"/>
              <a:gd name="connsiteX24-513" fmla="*/ 7106560 w 9397013"/>
              <a:gd name="connsiteY24-514" fmla="*/ 7291226 h 7291226"/>
              <a:gd name="connsiteX25-515" fmla="*/ 7934229 w 9397013"/>
              <a:gd name="connsiteY25-516" fmla="*/ 7291226 h 7291226"/>
              <a:gd name="connsiteX26-517" fmla="*/ 7444802 w 9397013"/>
              <a:gd name="connsiteY26-518" fmla="*/ 7291226 h 7291226"/>
              <a:gd name="connsiteX27-519" fmla="*/ 4245793 w 9397013"/>
              <a:gd name="connsiteY27-520" fmla="*/ 3078214 h 7291226"/>
              <a:gd name="connsiteX28-521" fmla="*/ 4490696 w 9397013"/>
              <a:gd name="connsiteY28-522" fmla="*/ 2757469 h 7291226"/>
              <a:gd name="connsiteX29-523" fmla="*/ 7934229 w 9397013"/>
              <a:gd name="connsiteY29-524" fmla="*/ 7291226 h 7291226"/>
              <a:gd name="connsiteX30-525" fmla="*/ 8567691 w 9397013"/>
              <a:gd name="connsiteY30-526" fmla="*/ 7124971 h 7291226"/>
              <a:gd name="connsiteX31-527" fmla="*/ 8159389 w 9397013"/>
              <a:gd name="connsiteY31-528" fmla="*/ 7134208 h 7291226"/>
              <a:gd name="connsiteX32-529" fmla="*/ 4650570 w 9397013"/>
              <a:gd name="connsiteY32-530" fmla="*/ 2548084 h 7291226"/>
              <a:gd name="connsiteX33-531" fmla="*/ 4869244 w 9397013"/>
              <a:gd name="connsiteY33-532" fmla="*/ 2261689 h 7291226"/>
              <a:gd name="connsiteX34-533" fmla="*/ 8567691 w 9397013"/>
              <a:gd name="connsiteY34-534" fmla="*/ 7124971 h 7291226"/>
              <a:gd name="connsiteX35-535" fmla="*/ 9397013 w 9397013"/>
              <a:gd name="connsiteY35-536" fmla="*/ 7134207 h 7291226"/>
              <a:gd name="connsiteX36-537" fmla="*/ 8921338 w 9397013"/>
              <a:gd name="connsiteY36-538" fmla="*/ 7115735 h 7291226"/>
              <a:gd name="connsiteX37-539" fmla="*/ 5045299 w 9397013"/>
              <a:gd name="connsiteY37-540" fmla="*/ 2031113 h 7291226"/>
              <a:gd name="connsiteX38-541" fmla="*/ 5273037 w 9397013"/>
              <a:gd name="connsiteY38-542" fmla="*/ 1732846 h 7291226"/>
              <a:gd name="connsiteX39-543" fmla="*/ 9397013 w 9397013"/>
              <a:gd name="connsiteY39-544" fmla="*/ 7134207 h 7291226"/>
              <a:gd name="connsiteX0-545" fmla="*/ 168369 w 9397013"/>
              <a:gd name="connsiteY0-546" fmla="*/ 4779933 h 7291226"/>
              <a:gd name="connsiteX1-547" fmla="*/ 0 w 9397013"/>
              <a:gd name="connsiteY1-548" fmla="*/ 4409146 h 7291226"/>
              <a:gd name="connsiteX2-549" fmla="*/ 3332806 w 9397013"/>
              <a:gd name="connsiteY2-550" fmla="*/ 0 h 7291226"/>
              <a:gd name="connsiteX3-551" fmla="*/ 3794560 w 9397013"/>
              <a:gd name="connsiteY3-552" fmla="*/ 32861 h 7291226"/>
              <a:gd name="connsiteX4-553" fmla="*/ 168369 w 9397013"/>
              <a:gd name="connsiteY4-554" fmla="*/ 4779933 h 7291226"/>
              <a:gd name="connsiteX5-555" fmla="*/ 488220 w 9397013"/>
              <a:gd name="connsiteY5-556" fmla="*/ 5484315 h 7291226"/>
              <a:gd name="connsiteX6-557" fmla="*/ 299082 w 9397013"/>
              <a:gd name="connsiteY6-558" fmla="*/ 5067791 h 7291226"/>
              <a:gd name="connsiteX7-559" fmla="*/ 4106456 w 9397013"/>
              <a:gd name="connsiteY7-560" fmla="*/ 55057 h 7291226"/>
              <a:gd name="connsiteX8-561" fmla="*/ 4585079 w 9397013"/>
              <a:gd name="connsiteY8-562" fmla="*/ 89119 h 7291226"/>
              <a:gd name="connsiteX9-563" fmla="*/ 488220 w 9397013"/>
              <a:gd name="connsiteY9-564" fmla="*/ 5484315 h 7291226"/>
              <a:gd name="connsiteX10-565" fmla="*/ 779421 w 9397013"/>
              <a:gd name="connsiteY10-566" fmla="*/ 6125606 h 7291226"/>
              <a:gd name="connsiteX11-567" fmla="*/ 618065 w 9397013"/>
              <a:gd name="connsiteY11-568" fmla="*/ 5770263 h 7291226"/>
              <a:gd name="connsiteX12-569" fmla="*/ 4897528 w 9397013"/>
              <a:gd name="connsiteY12-570" fmla="*/ 111354 h 7291226"/>
              <a:gd name="connsiteX13-571" fmla="*/ 5324893 w 9397013"/>
              <a:gd name="connsiteY13-572" fmla="*/ 141768 h 7291226"/>
              <a:gd name="connsiteX14-573" fmla="*/ 779421 w 9397013"/>
              <a:gd name="connsiteY14-574" fmla="*/ 6125606 h 7291226"/>
              <a:gd name="connsiteX15-575" fmla="*/ 1099910 w 9397013"/>
              <a:gd name="connsiteY15-576" fmla="*/ 6831395 h 7291226"/>
              <a:gd name="connsiteX16-577" fmla="*/ 919656 w 9397013"/>
              <a:gd name="connsiteY16-578" fmla="*/ 6434435 h 7291226"/>
              <a:gd name="connsiteX17-579" fmla="*/ 5668965 w 9397013"/>
              <a:gd name="connsiteY17-580" fmla="*/ 166254 h 7291226"/>
              <a:gd name="connsiteX18-581" fmla="*/ 6114044 w 9397013"/>
              <a:gd name="connsiteY18-582" fmla="*/ 197929 h 7291226"/>
              <a:gd name="connsiteX19-583" fmla="*/ 1099910 w 9397013"/>
              <a:gd name="connsiteY19-584" fmla="*/ 6831395 h 7291226"/>
              <a:gd name="connsiteX20-585" fmla="*/ 7106560 w 9397013"/>
              <a:gd name="connsiteY20-586" fmla="*/ 7291226 h 7291226"/>
              <a:gd name="connsiteX21-587" fmla="*/ 6670875 w 9397013"/>
              <a:gd name="connsiteY21-588" fmla="*/ 7291226 h 7291226"/>
              <a:gd name="connsiteX22-589" fmla="*/ 3849932 w 9397013"/>
              <a:gd name="connsiteY22-590" fmla="*/ 3596670 h 7291226"/>
              <a:gd name="connsiteX23-591" fmla="*/ 4086202 w 9397013"/>
              <a:gd name="connsiteY23-592" fmla="*/ 3287229 h 7291226"/>
              <a:gd name="connsiteX24-593" fmla="*/ 7106560 w 9397013"/>
              <a:gd name="connsiteY24-594" fmla="*/ 7291226 h 7291226"/>
              <a:gd name="connsiteX25-595" fmla="*/ 7777211 w 9397013"/>
              <a:gd name="connsiteY25-596" fmla="*/ 7124972 h 7291226"/>
              <a:gd name="connsiteX26-597" fmla="*/ 7444802 w 9397013"/>
              <a:gd name="connsiteY26-598" fmla="*/ 7291226 h 7291226"/>
              <a:gd name="connsiteX27-599" fmla="*/ 4245793 w 9397013"/>
              <a:gd name="connsiteY27-600" fmla="*/ 3078214 h 7291226"/>
              <a:gd name="connsiteX28-601" fmla="*/ 4490696 w 9397013"/>
              <a:gd name="connsiteY28-602" fmla="*/ 2757469 h 7291226"/>
              <a:gd name="connsiteX29-603" fmla="*/ 7777211 w 9397013"/>
              <a:gd name="connsiteY29-604" fmla="*/ 7124972 h 7291226"/>
              <a:gd name="connsiteX30-605" fmla="*/ 8567691 w 9397013"/>
              <a:gd name="connsiteY30-606" fmla="*/ 7124971 h 7291226"/>
              <a:gd name="connsiteX31-607" fmla="*/ 8159389 w 9397013"/>
              <a:gd name="connsiteY31-608" fmla="*/ 7134208 h 7291226"/>
              <a:gd name="connsiteX32-609" fmla="*/ 4650570 w 9397013"/>
              <a:gd name="connsiteY32-610" fmla="*/ 2548084 h 7291226"/>
              <a:gd name="connsiteX33-611" fmla="*/ 4869244 w 9397013"/>
              <a:gd name="connsiteY33-612" fmla="*/ 2261689 h 7291226"/>
              <a:gd name="connsiteX34-613" fmla="*/ 8567691 w 9397013"/>
              <a:gd name="connsiteY34-614" fmla="*/ 7124971 h 7291226"/>
              <a:gd name="connsiteX35-615" fmla="*/ 9397013 w 9397013"/>
              <a:gd name="connsiteY35-616" fmla="*/ 7134207 h 7291226"/>
              <a:gd name="connsiteX36-617" fmla="*/ 8921338 w 9397013"/>
              <a:gd name="connsiteY36-618" fmla="*/ 7115735 h 7291226"/>
              <a:gd name="connsiteX37-619" fmla="*/ 5045299 w 9397013"/>
              <a:gd name="connsiteY37-620" fmla="*/ 2031113 h 7291226"/>
              <a:gd name="connsiteX38-621" fmla="*/ 5273037 w 9397013"/>
              <a:gd name="connsiteY38-622" fmla="*/ 1732846 h 7291226"/>
              <a:gd name="connsiteX39-623" fmla="*/ 9397013 w 9397013"/>
              <a:gd name="connsiteY39-624" fmla="*/ 7134207 h 7291226"/>
              <a:gd name="connsiteX0-625" fmla="*/ 168369 w 9397013"/>
              <a:gd name="connsiteY0-626" fmla="*/ 4779933 h 7291226"/>
              <a:gd name="connsiteX1-627" fmla="*/ 0 w 9397013"/>
              <a:gd name="connsiteY1-628" fmla="*/ 4409146 h 7291226"/>
              <a:gd name="connsiteX2-629" fmla="*/ 3332806 w 9397013"/>
              <a:gd name="connsiteY2-630" fmla="*/ 0 h 7291226"/>
              <a:gd name="connsiteX3-631" fmla="*/ 3794560 w 9397013"/>
              <a:gd name="connsiteY3-632" fmla="*/ 32861 h 7291226"/>
              <a:gd name="connsiteX4-633" fmla="*/ 168369 w 9397013"/>
              <a:gd name="connsiteY4-634" fmla="*/ 4779933 h 7291226"/>
              <a:gd name="connsiteX5-635" fmla="*/ 488220 w 9397013"/>
              <a:gd name="connsiteY5-636" fmla="*/ 5484315 h 7291226"/>
              <a:gd name="connsiteX6-637" fmla="*/ 299082 w 9397013"/>
              <a:gd name="connsiteY6-638" fmla="*/ 5067791 h 7291226"/>
              <a:gd name="connsiteX7-639" fmla="*/ 4106456 w 9397013"/>
              <a:gd name="connsiteY7-640" fmla="*/ 55057 h 7291226"/>
              <a:gd name="connsiteX8-641" fmla="*/ 4585079 w 9397013"/>
              <a:gd name="connsiteY8-642" fmla="*/ 89119 h 7291226"/>
              <a:gd name="connsiteX9-643" fmla="*/ 488220 w 9397013"/>
              <a:gd name="connsiteY9-644" fmla="*/ 5484315 h 7291226"/>
              <a:gd name="connsiteX10-645" fmla="*/ 779421 w 9397013"/>
              <a:gd name="connsiteY10-646" fmla="*/ 6125606 h 7291226"/>
              <a:gd name="connsiteX11-647" fmla="*/ 618065 w 9397013"/>
              <a:gd name="connsiteY11-648" fmla="*/ 5770263 h 7291226"/>
              <a:gd name="connsiteX12-649" fmla="*/ 4897528 w 9397013"/>
              <a:gd name="connsiteY12-650" fmla="*/ 111354 h 7291226"/>
              <a:gd name="connsiteX13-651" fmla="*/ 5324893 w 9397013"/>
              <a:gd name="connsiteY13-652" fmla="*/ 141768 h 7291226"/>
              <a:gd name="connsiteX14-653" fmla="*/ 779421 w 9397013"/>
              <a:gd name="connsiteY14-654" fmla="*/ 6125606 h 7291226"/>
              <a:gd name="connsiteX15-655" fmla="*/ 1099910 w 9397013"/>
              <a:gd name="connsiteY15-656" fmla="*/ 6831395 h 7291226"/>
              <a:gd name="connsiteX16-657" fmla="*/ 919656 w 9397013"/>
              <a:gd name="connsiteY16-658" fmla="*/ 6434435 h 7291226"/>
              <a:gd name="connsiteX17-659" fmla="*/ 5668965 w 9397013"/>
              <a:gd name="connsiteY17-660" fmla="*/ 166254 h 7291226"/>
              <a:gd name="connsiteX18-661" fmla="*/ 6114044 w 9397013"/>
              <a:gd name="connsiteY18-662" fmla="*/ 197929 h 7291226"/>
              <a:gd name="connsiteX19-663" fmla="*/ 1099910 w 9397013"/>
              <a:gd name="connsiteY19-664" fmla="*/ 6831395 h 7291226"/>
              <a:gd name="connsiteX20-665" fmla="*/ 7106560 w 9397013"/>
              <a:gd name="connsiteY20-666" fmla="*/ 7291226 h 7291226"/>
              <a:gd name="connsiteX21-667" fmla="*/ 6670875 w 9397013"/>
              <a:gd name="connsiteY21-668" fmla="*/ 7291226 h 7291226"/>
              <a:gd name="connsiteX22-669" fmla="*/ 3849932 w 9397013"/>
              <a:gd name="connsiteY22-670" fmla="*/ 3596670 h 7291226"/>
              <a:gd name="connsiteX23-671" fmla="*/ 4086202 w 9397013"/>
              <a:gd name="connsiteY23-672" fmla="*/ 3287229 h 7291226"/>
              <a:gd name="connsiteX24-673" fmla="*/ 7106560 w 9397013"/>
              <a:gd name="connsiteY24-674" fmla="*/ 7291226 h 7291226"/>
              <a:gd name="connsiteX25-675" fmla="*/ 7777211 w 9397013"/>
              <a:gd name="connsiteY25-676" fmla="*/ 7124972 h 7291226"/>
              <a:gd name="connsiteX26-677" fmla="*/ 7324729 w 9397013"/>
              <a:gd name="connsiteY26-678" fmla="*/ 7124972 h 7291226"/>
              <a:gd name="connsiteX27-679" fmla="*/ 4245793 w 9397013"/>
              <a:gd name="connsiteY27-680" fmla="*/ 3078214 h 7291226"/>
              <a:gd name="connsiteX28-681" fmla="*/ 4490696 w 9397013"/>
              <a:gd name="connsiteY28-682" fmla="*/ 2757469 h 7291226"/>
              <a:gd name="connsiteX29-683" fmla="*/ 7777211 w 9397013"/>
              <a:gd name="connsiteY29-684" fmla="*/ 7124972 h 7291226"/>
              <a:gd name="connsiteX30-685" fmla="*/ 8567691 w 9397013"/>
              <a:gd name="connsiteY30-686" fmla="*/ 7124971 h 7291226"/>
              <a:gd name="connsiteX31-687" fmla="*/ 8159389 w 9397013"/>
              <a:gd name="connsiteY31-688" fmla="*/ 7134208 h 7291226"/>
              <a:gd name="connsiteX32-689" fmla="*/ 4650570 w 9397013"/>
              <a:gd name="connsiteY32-690" fmla="*/ 2548084 h 7291226"/>
              <a:gd name="connsiteX33-691" fmla="*/ 4869244 w 9397013"/>
              <a:gd name="connsiteY33-692" fmla="*/ 2261689 h 7291226"/>
              <a:gd name="connsiteX34-693" fmla="*/ 8567691 w 9397013"/>
              <a:gd name="connsiteY34-694" fmla="*/ 7124971 h 7291226"/>
              <a:gd name="connsiteX35-695" fmla="*/ 9397013 w 9397013"/>
              <a:gd name="connsiteY35-696" fmla="*/ 7134207 h 7291226"/>
              <a:gd name="connsiteX36-697" fmla="*/ 8921338 w 9397013"/>
              <a:gd name="connsiteY36-698" fmla="*/ 7115735 h 7291226"/>
              <a:gd name="connsiteX37-699" fmla="*/ 5045299 w 9397013"/>
              <a:gd name="connsiteY37-700" fmla="*/ 2031113 h 7291226"/>
              <a:gd name="connsiteX38-701" fmla="*/ 5273037 w 9397013"/>
              <a:gd name="connsiteY38-702" fmla="*/ 1732846 h 7291226"/>
              <a:gd name="connsiteX39-703" fmla="*/ 9397013 w 9397013"/>
              <a:gd name="connsiteY39-704" fmla="*/ 7134207 h 7291226"/>
              <a:gd name="connsiteX0-705" fmla="*/ 168369 w 9397013"/>
              <a:gd name="connsiteY0-706" fmla="*/ 4779933 h 7291226"/>
              <a:gd name="connsiteX1-707" fmla="*/ 0 w 9397013"/>
              <a:gd name="connsiteY1-708" fmla="*/ 4409146 h 7291226"/>
              <a:gd name="connsiteX2-709" fmla="*/ 3332806 w 9397013"/>
              <a:gd name="connsiteY2-710" fmla="*/ 0 h 7291226"/>
              <a:gd name="connsiteX3-711" fmla="*/ 3794560 w 9397013"/>
              <a:gd name="connsiteY3-712" fmla="*/ 32861 h 7291226"/>
              <a:gd name="connsiteX4-713" fmla="*/ 168369 w 9397013"/>
              <a:gd name="connsiteY4-714" fmla="*/ 4779933 h 7291226"/>
              <a:gd name="connsiteX5-715" fmla="*/ 488220 w 9397013"/>
              <a:gd name="connsiteY5-716" fmla="*/ 5484315 h 7291226"/>
              <a:gd name="connsiteX6-717" fmla="*/ 299082 w 9397013"/>
              <a:gd name="connsiteY6-718" fmla="*/ 5067791 h 7291226"/>
              <a:gd name="connsiteX7-719" fmla="*/ 4106456 w 9397013"/>
              <a:gd name="connsiteY7-720" fmla="*/ 55057 h 7291226"/>
              <a:gd name="connsiteX8-721" fmla="*/ 4585079 w 9397013"/>
              <a:gd name="connsiteY8-722" fmla="*/ 89119 h 7291226"/>
              <a:gd name="connsiteX9-723" fmla="*/ 488220 w 9397013"/>
              <a:gd name="connsiteY9-724" fmla="*/ 5484315 h 7291226"/>
              <a:gd name="connsiteX10-725" fmla="*/ 779421 w 9397013"/>
              <a:gd name="connsiteY10-726" fmla="*/ 6125606 h 7291226"/>
              <a:gd name="connsiteX11-727" fmla="*/ 618065 w 9397013"/>
              <a:gd name="connsiteY11-728" fmla="*/ 5770263 h 7291226"/>
              <a:gd name="connsiteX12-729" fmla="*/ 4897528 w 9397013"/>
              <a:gd name="connsiteY12-730" fmla="*/ 111354 h 7291226"/>
              <a:gd name="connsiteX13-731" fmla="*/ 5324893 w 9397013"/>
              <a:gd name="connsiteY13-732" fmla="*/ 141768 h 7291226"/>
              <a:gd name="connsiteX14-733" fmla="*/ 779421 w 9397013"/>
              <a:gd name="connsiteY14-734" fmla="*/ 6125606 h 7291226"/>
              <a:gd name="connsiteX15-735" fmla="*/ 1099910 w 9397013"/>
              <a:gd name="connsiteY15-736" fmla="*/ 6831395 h 7291226"/>
              <a:gd name="connsiteX16-737" fmla="*/ 919656 w 9397013"/>
              <a:gd name="connsiteY16-738" fmla="*/ 6434435 h 7291226"/>
              <a:gd name="connsiteX17-739" fmla="*/ 5668965 w 9397013"/>
              <a:gd name="connsiteY17-740" fmla="*/ 166254 h 7291226"/>
              <a:gd name="connsiteX18-741" fmla="*/ 6114044 w 9397013"/>
              <a:gd name="connsiteY18-742" fmla="*/ 197929 h 7291226"/>
              <a:gd name="connsiteX19-743" fmla="*/ 1099910 w 9397013"/>
              <a:gd name="connsiteY19-744" fmla="*/ 6831395 h 7291226"/>
              <a:gd name="connsiteX20-745" fmla="*/ 6968015 w 9397013"/>
              <a:gd name="connsiteY20-746" fmla="*/ 7143444 h 7291226"/>
              <a:gd name="connsiteX21-747" fmla="*/ 6670875 w 9397013"/>
              <a:gd name="connsiteY21-748" fmla="*/ 7291226 h 7291226"/>
              <a:gd name="connsiteX22-749" fmla="*/ 3849932 w 9397013"/>
              <a:gd name="connsiteY22-750" fmla="*/ 3596670 h 7291226"/>
              <a:gd name="connsiteX23-751" fmla="*/ 4086202 w 9397013"/>
              <a:gd name="connsiteY23-752" fmla="*/ 3287229 h 7291226"/>
              <a:gd name="connsiteX24-753" fmla="*/ 6968015 w 9397013"/>
              <a:gd name="connsiteY24-754" fmla="*/ 7143444 h 7291226"/>
              <a:gd name="connsiteX25-755" fmla="*/ 7777211 w 9397013"/>
              <a:gd name="connsiteY25-756" fmla="*/ 7124972 h 7291226"/>
              <a:gd name="connsiteX26-757" fmla="*/ 7324729 w 9397013"/>
              <a:gd name="connsiteY26-758" fmla="*/ 7124972 h 7291226"/>
              <a:gd name="connsiteX27-759" fmla="*/ 4245793 w 9397013"/>
              <a:gd name="connsiteY27-760" fmla="*/ 3078214 h 7291226"/>
              <a:gd name="connsiteX28-761" fmla="*/ 4490696 w 9397013"/>
              <a:gd name="connsiteY28-762" fmla="*/ 2757469 h 7291226"/>
              <a:gd name="connsiteX29-763" fmla="*/ 7777211 w 9397013"/>
              <a:gd name="connsiteY29-764" fmla="*/ 7124972 h 7291226"/>
              <a:gd name="connsiteX30-765" fmla="*/ 8567691 w 9397013"/>
              <a:gd name="connsiteY30-766" fmla="*/ 7124971 h 7291226"/>
              <a:gd name="connsiteX31-767" fmla="*/ 8159389 w 9397013"/>
              <a:gd name="connsiteY31-768" fmla="*/ 7134208 h 7291226"/>
              <a:gd name="connsiteX32-769" fmla="*/ 4650570 w 9397013"/>
              <a:gd name="connsiteY32-770" fmla="*/ 2548084 h 7291226"/>
              <a:gd name="connsiteX33-771" fmla="*/ 4869244 w 9397013"/>
              <a:gd name="connsiteY33-772" fmla="*/ 2261689 h 7291226"/>
              <a:gd name="connsiteX34-773" fmla="*/ 8567691 w 9397013"/>
              <a:gd name="connsiteY34-774" fmla="*/ 7124971 h 7291226"/>
              <a:gd name="connsiteX35-775" fmla="*/ 9397013 w 9397013"/>
              <a:gd name="connsiteY35-776" fmla="*/ 7134207 h 7291226"/>
              <a:gd name="connsiteX36-777" fmla="*/ 8921338 w 9397013"/>
              <a:gd name="connsiteY36-778" fmla="*/ 7115735 h 7291226"/>
              <a:gd name="connsiteX37-779" fmla="*/ 5045299 w 9397013"/>
              <a:gd name="connsiteY37-780" fmla="*/ 2031113 h 7291226"/>
              <a:gd name="connsiteX38-781" fmla="*/ 5273037 w 9397013"/>
              <a:gd name="connsiteY38-782" fmla="*/ 1732846 h 7291226"/>
              <a:gd name="connsiteX39-783" fmla="*/ 9397013 w 9397013"/>
              <a:gd name="connsiteY39-784" fmla="*/ 7134207 h 7291226"/>
              <a:gd name="connsiteX0-785" fmla="*/ 168369 w 9397013"/>
              <a:gd name="connsiteY0-786" fmla="*/ 4779933 h 7143444"/>
              <a:gd name="connsiteX1-787" fmla="*/ 0 w 9397013"/>
              <a:gd name="connsiteY1-788" fmla="*/ 4409146 h 7143444"/>
              <a:gd name="connsiteX2-789" fmla="*/ 3332806 w 9397013"/>
              <a:gd name="connsiteY2-790" fmla="*/ 0 h 7143444"/>
              <a:gd name="connsiteX3-791" fmla="*/ 3794560 w 9397013"/>
              <a:gd name="connsiteY3-792" fmla="*/ 32861 h 7143444"/>
              <a:gd name="connsiteX4-793" fmla="*/ 168369 w 9397013"/>
              <a:gd name="connsiteY4-794" fmla="*/ 4779933 h 7143444"/>
              <a:gd name="connsiteX5-795" fmla="*/ 488220 w 9397013"/>
              <a:gd name="connsiteY5-796" fmla="*/ 5484315 h 7143444"/>
              <a:gd name="connsiteX6-797" fmla="*/ 299082 w 9397013"/>
              <a:gd name="connsiteY6-798" fmla="*/ 5067791 h 7143444"/>
              <a:gd name="connsiteX7-799" fmla="*/ 4106456 w 9397013"/>
              <a:gd name="connsiteY7-800" fmla="*/ 55057 h 7143444"/>
              <a:gd name="connsiteX8-801" fmla="*/ 4585079 w 9397013"/>
              <a:gd name="connsiteY8-802" fmla="*/ 89119 h 7143444"/>
              <a:gd name="connsiteX9-803" fmla="*/ 488220 w 9397013"/>
              <a:gd name="connsiteY9-804" fmla="*/ 5484315 h 7143444"/>
              <a:gd name="connsiteX10-805" fmla="*/ 779421 w 9397013"/>
              <a:gd name="connsiteY10-806" fmla="*/ 6125606 h 7143444"/>
              <a:gd name="connsiteX11-807" fmla="*/ 618065 w 9397013"/>
              <a:gd name="connsiteY11-808" fmla="*/ 5770263 h 7143444"/>
              <a:gd name="connsiteX12-809" fmla="*/ 4897528 w 9397013"/>
              <a:gd name="connsiteY12-810" fmla="*/ 111354 h 7143444"/>
              <a:gd name="connsiteX13-811" fmla="*/ 5324893 w 9397013"/>
              <a:gd name="connsiteY13-812" fmla="*/ 141768 h 7143444"/>
              <a:gd name="connsiteX14-813" fmla="*/ 779421 w 9397013"/>
              <a:gd name="connsiteY14-814" fmla="*/ 6125606 h 7143444"/>
              <a:gd name="connsiteX15-815" fmla="*/ 1099910 w 9397013"/>
              <a:gd name="connsiteY15-816" fmla="*/ 6831395 h 7143444"/>
              <a:gd name="connsiteX16-817" fmla="*/ 919656 w 9397013"/>
              <a:gd name="connsiteY16-818" fmla="*/ 6434435 h 7143444"/>
              <a:gd name="connsiteX17-819" fmla="*/ 5668965 w 9397013"/>
              <a:gd name="connsiteY17-820" fmla="*/ 166254 h 7143444"/>
              <a:gd name="connsiteX18-821" fmla="*/ 6114044 w 9397013"/>
              <a:gd name="connsiteY18-822" fmla="*/ 197929 h 7143444"/>
              <a:gd name="connsiteX19-823" fmla="*/ 1099910 w 9397013"/>
              <a:gd name="connsiteY19-824" fmla="*/ 6831395 h 7143444"/>
              <a:gd name="connsiteX20-825" fmla="*/ 6968015 w 9397013"/>
              <a:gd name="connsiteY20-826" fmla="*/ 7143444 h 7143444"/>
              <a:gd name="connsiteX21-827" fmla="*/ 6550802 w 9397013"/>
              <a:gd name="connsiteY21-828" fmla="*/ 7143444 h 7143444"/>
              <a:gd name="connsiteX22-829" fmla="*/ 3849932 w 9397013"/>
              <a:gd name="connsiteY22-830" fmla="*/ 3596670 h 7143444"/>
              <a:gd name="connsiteX23-831" fmla="*/ 4086202 w 9397013"/>
              <a:gd name="connsiteY23-832" fmla="*/ 3287229 h 7143444"/>
              <a:gd name="connsiteX24-833" fmla="*/ 6968015 w 9397013"/>
              <a:gd name="connsiteY24-834" fmla="*/ 7143444 h 7143444"/>
              <a:gd name="connsiteX25-835" fmla="*/ 7777211 w 9397013"/>
              <a:gd name="connsiteY25-836" fmla="*/ 7124972 h 7143444"/>
              <a:gd name="connsiteX26-837" fmla="*/ 7324729 w 9397013"/>
              <a:gd name="connsiteY26-838" fmla="*/ 7124972 h 7143444"/>
              <a:gd name="connsiteX27-839" fmla="*/ 4245793 w 9397013"/>
              <a:gd name="connsiteY27-840" fmla="*/ 3078214 h 7143444"/>
              <a:gd name="connsiteX28-841" fmla="*/ 4490696 w 9397013"/>
              <a:gd name="connsiteY28-842" fmla="*/ 2757469 h 7143444"/>
              <a:gd name="connsiteX29-843" fmla="*/ 7777211 w 9397013"/>
              <a:gd name="connsiteY29-844" fmla="*/ 7124972 h 7143444"/>
              <a:gd name="connsiteX30-845" fmla="*/ 8567691 w 9397013"/>
              <a:gd name="connsiteY30-846" fmla="*/ 7124971 h 7143444"/>
              <a:gd name="connsiteX31-847" fmla="*/ 8159389 w 9397013"/>
              <a:gd name="connsiteY31-848" fmla="*/ 7134208 h 7143444"/>
              <a:gd name="connsiteX32-849" fmla="*/ 4650570 w 9397013"/>
              <a:gd name="connsiteY32-850" fmla="*/ 2548084 h 7143444"/>
              <a:gd name="connsiteX33-851" fmla="*/ 4869244 w 9397013"/>
              <a:gd name="connsiteY33-852" fmla="*/ 2261689 h 7143444"/>
              <a:gd name="connsiteX34-853" fmla="*/ 8567691 w 9397013"/>
              <a:gd name="connsiteY34-854" fmla="*/ 7124971 h 7143444"/>
              <a:gd name="connsiteX35-855" fmla="*/ 9397013 w 9397013"/>
              <a:gd name="connsiteY35-856" fmla="*/ 7134207 h 7143444"/>
              <a:gd name="connsiteX36-857" fmla="*/ 8921338 w 9397013"/>
              <a:gd name="connsiteY36-858" fmla="*/ 7115735 h 7143444"/>
              <a:gd name="connsiteX37-859" fmla="*/ 5045299 w 9397013"/>
              <a:gd name="connsiteY37-860" fmla="*/ 2031113 h 7143444"/>
              <a:gd name="connsiteX38-861" fmla="*/ 5273037 w 9397013"/>
              <a:gd name="connsiteY38-862" fmla="*/ 1732846 h 7143444"/>
              <a:gd name="connsiteX39-863" fmla="*/ 9397013 w 9397013"/>
              <a:gd name="connsiteY39-864" fmla="*/ 7134207 h 7143444"/>
              <a:gd name="connsiteX0-865" fmla="*/ 168369 w 9397013"/>
              <a:gd name="connsiteY0-866" fmla="*/ 4779933 h 7143444"/>
              <a:gd name="connsiteX1-867" fmla="*/ 0 w 9397013"/>
              <a:gd name="connsiteY1-868" fmla="*/ 4409146 h 7143444"/>
              <a:gd name="connsiteX2-869" fmla="*/ 3332806 w 9397013"/>
              <a:gd name="connsiteY2-870" fmla="*/ 0 h 7143444"/>
              <a:gd name="connsiteX3-871" fmla="*/ 3794560 w 9397013"/>
              <a:gd name="connsiteY3-872" fmla="*/ 32861 h 7143444"/>
              <a:gd name="connsiteX4-873" fmla="*/ 168369 w 9397013"/>
              <a:gd name="connsiteY4-874" fmla="*/ 4779933 h 7143444"/>
              <a:gd name="connsiteX5-875" fmla="*/ 488220 w 9397013"/>
              <a:gd name="connsiteY5-876" fmla="*/ 5484315 h 7143444"/>
              <a:gd name="connsiteX6-877" fmla="*/ 299082 w 9397013"/>
              <a:gd name="connsiteY6-878" fmla="*/ 5067791 h 7143444"/>
              <a:gd name="connsiteX7-879" fmla="*/ 4106456 w 9397013"/>
              <a:gd name="connsiteY7-880" fmla="*/ 55057 h 7143444"/>
              <a:gd name="connsiteX8-881" fmla="*/ 4585079 w 9397013"/>
              <a:gd name="connsiteY8-882" fmla="*/ 89119 h 7143444"/>
              <a:gd name="connsiteX9-883" fmla="*/ 488220 w 9397013"/>
              <a:gd name="connsiteY9-884" fmla="*/ 5484315 h 7143444"/>
              <a:gd name="connsiteX10-885" fmla="*/ 779421 w 9397013"/>
              <a:gd name="connsiteY10-886" fmla="*/ 6125606 h 7143444"/>
              <a:gd name="connsiteX11-887" fmla="*/ 618065 w 9397013"/>
              <a:gd name="connsiteY11-888" fmla="*/ 5770263 h 7143444"/>
              <a:gd name="connsiteX12-889" fmla="*/ 4897528 w 9397013"/>
              <a:gd name="connsiteY12-890" fmla="*/ 111354 h 7143444"/>
              <a:gd name="connsiteX13-891" fmla="*/ 5324893 w 9397013"/>
              <a:gd name="connsiteY13-892" fmla="*/ 141768 h 7143444"/>
              <a:gd name="connsiteX14-893" fmla="*/ 779421 w 9397013"/>
              <a:gd name="connsiteY14-894" fmla="*/ 6125606 h 7143444"/>
              <a:gd name="connsiteX15-895" fmla="*/ 1099910 w 9397013"/>
              <a:gd name="connsiteY15-896" fmla="*/ 6831395 h 7143444"/>
              <a:gd name="connsiteX16-897" fmla="*/ 919656 w 9397013"/>
              <a:gd name="connsiteY16-898" fmla="*/ 6434435 h 7143444"/>
              <a:gd name="connsiteX17-899" fmla="*/ 5668965 w 9397013"/>
              <a:gd name="connsiteY17-900" fmla="*/ 166254 h 7143444"/>
              <a:gd name="connsiteX18-901" fmla="*/ 6114044 w 9397013"/>
              <a:gd name="connsiteY18-902" fmla="*/ 197929 h 7143444"/>
              <a:gd name="connsiteX19-903" fmla="*/ 1099910 w 9397013"/>
              <a:gd name="connsiteY19-904" fmla="*/ 6831395 h 7143444"/>
              <a:gd name="connsiteX20-905" fmla="*/ 6958778 w 9397013"/>
              <a:gd name="connsiteY20-906" fmla="*/ 7124971 h 7143444"/>
              <a:gd name="connsiteX21-907" fmla="*/ 6550802 w 9397013"/>
              <a:gd name="connsiteY21-908" fmla="*/ 7143444 h 7143444"/>
              <a:gd name="connsiteX22-909" fmla="*/ 3849932 w 9397013"/>
              <a:gd name="connsiteY22-910" fmla="*/ 3596670 h 7143444"/>
              <a:gd name="connsiteX23-911" fmla="*/ 4086202 w 9397013"/>
              <a:gd name="connsiteY23-912" fmla="*/ 3287229 h 7143444"/>
              <a:gd name="connsiteX24-913" fmla="*/ 6958778 w 9397013"/>
              <a:gd name="connsiteY24-914" fmla="*/ 7124971 h 7143444"/>
              <a:gd name="connsiteX25-915" fmla="*/ 7777211 w 9397013"/>
              <a:gd name="connsiteY25-916" fmla="*/ 7124972 h 7143444"/>
              <a:gd name="connsiteX26-917" fmla="*/ 7324729 w 9397013"/>
              <a:gd name="connsiteY26-918" fmla="*/ 7124972 h 7143444"/>
              <a:gd name="connsiteX27-919" fmla="*/ 4245793 w 9397013"/>
              <a:gd name="connsiteY27-920" fmla="*/ 3078214 h 7143444"/>
              <a:gd name="connsiteX28-921" fmla="*/ 4490696 w 9397013"/>
              <a:gd name="connsiteY28-922" fmla="*/ 2757469 h 7143444"/>
              <a:gd name="connsiteX29-923" fmla="*/ 7777211 w 9397013"/>
              <a:gd name="connsiteY29-924" fmla="*/ 7124972 h 7143444"/>
              <a:gd name="connsiteX30-925" fmla="*/ 8567691 w 9397013"/>
              <a:gd name="connsiteY30-926" fmla="*/ 7124971 h 7143444"/>
              <a:gd name="connsiteX31-927" fmla="*/ 8159389 w 9397013"/>
              <a:gd name="connsiteY31-928" fmla="*/ 7134208 h 7143444"/>
              <a:gd name="connsiteX32-929" fmla="*/ 4650570 w 9397013"/>
              <a:gd name="connsiteY32-930" fmla="*/ 2548084 h 7143444"/>
              <a:gd name="connsiteX33-931" fmla="*/ 4869244 w 9397013"/>
              <a:gd name="connsiteY33-932" fmla="*/ 2261689 h 7143444"/>
              <a:gd name="connsiteX34-933" fmla="*/ 8567691 w 9397013"/>
              <a:gd name="connsiteY34-934" fmla="*/ 7124971 h 7143444"/>
              <a:gd name="connsiteX35-935" fmla="*/ 9397013 w 9397013"/>
              <a:gd name="connsiteY35-936" fmla="*/ 7134207 h 7143444"/>
              <a:gd name="connsiteX36-937" fmla="*/ 8921338 w 9397013"/>
              <a:gd name="connsiteY36-938" fmla="*/ 7115735 h 7143444"/>
              <a:gd name="connsiteX37-939" fmla="*/ 5045299 w 9397013"/>
              <a:gd name="connsiteY37-940" fmla="*/ 2031113 h 7143444"/>
              <a:gd name="connsiteX38-941" fmla="*/ 5273037 w 9397013"/>
              <a:gd name="connsiteY38-942" fmla="*/ 1732846 h 7143444"/>
              <a:gd name="connsiteX39-943" fmla="*/ 9397013 w 9397013"/>
              <a:gd name="connsiteY39-944" fmla="*/ 7134207 h 7143444"/>
              <a:gd name="connsiteX0-945" fmla="*/ 168369 w 9397013"/>
              <a:gd name="connsiteY0-946" fmla="*/ 4779933 h 7134208"/>
              <a:gd name="connsiteX1-947" fmla="*/ 0 w 9397013"/>
              <a:gd name="connsiteY1-948" fmla="*/ 4409146 h 7134208"/>
              <a:gd name="connsiteX2-949" fmla="*/ 3332806 w 9397013"/>
              <a:gd name="connsiteY2-950" fmla="*/ 0 h 7134208"/>
              <a:gd name="connsiteX3-951" fmla="*/ 3794560 w 9397013"/>
              <a:gd name="connsiteY3-952" fmla="*/ 32861 h 7134208"/>
              <a:gd name="connsiteX4-953" fmla="*/ 168369 w 9397013"/>
              <a:gd name="connsiteY4-954" fmla="*/ 4779933 h 7134208"/>
              <a:gd name="connsiteX5-955" fmla="*/ 488220 w 9397013"/>
              <a:gd name="connsiteY5-956" fmla="*/ 5484315 h 7134208"/>
              <a:gd name="connsiteX6-957" fmla="*/ 299082 w 9397013"/>
              <a:gd name="connsiteY6-958" fmla="*/ 5067791 h 7134208"/>
              <a:gd name="connsiteX7-959" fmla="*/ 4106456 w 9397013"/>
              <a:gd name="connsiteY7-960" fmla="*/ 55057 h 7134208"/>
              <a:gd name="connsiteX8-961" fmla="*/ 4585079 w 9397013"/>
              <a:gd name="connsiteY8-962" fmla="*/ 89119 h 7134208"/>
              <a:gd name="connsiteX9-963" fmla="*/ 488220 w 9397013"/>
              <a:gd name="connsiteY9-964" fmla="*/ 5484315 h 7134208"/>
              <a:gd name="connsiteX10-965" fmla="*/ 779421 w 9397013"/>
              <a:gd name="connsiteY10-966" fmla="*/ 6125606 h 7134208"/>
              <a:gd name="connsiteX11-967" fmla="*/ 618065 w 9397013"/>
              <a:gd name="connsiteY11-968" fmla="*/ 5770263 h 7134208"/>
              <a:gd name="connsiteX12-969" fmla="*/ 4897528 w 9397013"/>
              <a:gd name="connsiteY12-970" fmla="*/ 111354 h 7134208"/>
              <a:gd name="connsiteX13-971" fmla="*/ 5324893 w 9397013"/>
              <a:gd name="connsiteY13-972" fmla="*/ 141768 h 7134208"/>
              <a:gd name="connsiteX14-973" fmla="*/ 779421 w 9397013"/>
              <a:gd name="connsiteY14-974" fmla="*/ 6125606 h 7134208"/>
              <a:gd name="connsiteX15-975" fmla="*/ 1099910 w 9397013"/>
              <a:gd name="connsiteY15-976" fmla="*/ 6831395 h 7134208"/>
              <a:gd name="connsiteX16-977" fmla="*/ 919656 w 9397013"/>
              <a:gd name="connsiteY16-978" fmla="*/ 6434435 h 7134208"/>
              <a:gd name="connsiteX17-979" fmla="*/ 5668965 w 9397013"/>
              <a:gd name="connsiteY17-980" fmla="*/ 166254 h 7134208"/>
              <a:gd name="connsiteX18-981" fmla="*/ 6114044 w 9397013"/>
              <a:gd name="connsiteY18-982" fmla="*/ 197929 h 7134208"/>
              <a:gd name="connsiteX19-983" fmla="*/ 1099910 w 9397013"/>
              <a:gd name="connsiteY19-984" fmla="*/ 6831395 h 7134208"/>
              <a:gd name="connsiteX20-985" fmla="*/ 6958778 w 9397013"/>
              <a:gd name="connsiteY20-986" fmla="*/ 7124971 h 7134208"/>
              <a:gd name="connsiteX21-987" fmla="*/ 6541566 w 9397013"/>
              <a:gd name="connsiteY21-988" fmla="*/ 7115735 h 7134208"/>
              <a:gd name="connsiteX22-989" fmla="*/ 3849932 w 9397013"/>
              <a:gd name="connsiteY22-990" fmla="*/ 3596670 h 7134208"/>
              <a:gd name="connsiteX23-991" fmla="*/ 4086202 w 9397013"/>
              <a:gd name="connsiteY23-992" fmla="*/ 3287229 h 7134208"/>
              <a:gd name="connsiteX24-993" fmla="*/ 6958778 w 9397013"/>
              <a:gd name="connsiteY24-994" fmla="*/ 7124971 h 7134208"/>
              <a:gd name="connsiteX25-995" fmla="*/ 7777211 w 9397013"/>
              <a:gd name="connsiteY25-996" fmla="*/ 7124972 h 7134208"/>
              <a:gd name="connsiteX26-997" fmla="*/ 7324729 w 9397013"/>
              <a:gd name="connsiteY26-998" fmla="*/ 7124972 h 7134208"/>
              <a:gd name="connsiteX27-999" fmla="*/ 4245793 w 9397013"/>
              <a:gd name="connsiteY27-1000" fmla="*/ 3078214 h 7134208"/>
              <a:gd name="connsiteX28-1001" fmla="*/ 4490696 w 9397013"/>
              <a:gd name="connsiteY28-1002" fmla="*/ 2757469 h 7134208"/>
              <a:gd name="connsiteX29-1003" fmla="*/ 7777211 w 9397013"/>
              <a:gd name="connsiteY29-1004" fmla="*/ 7124972 h 7134208"/>
              <a:gd name="connsiteX30-1005" fmla="*/ 8567691 w 9397013"/>
              <a:gd name="connsiteY30-1006" fmla="*/ 7124971 h 7134208"/>
              <a:gd name="connsiteX31-1007" fmla="*/ 8159389 w 9397013"/>
              <a:gd name="connsiteY31-1008" fmla="*/ 7134208 h 7134208"/>
              <a:gd name="connsiteX32-1009" fmla="*/ 4650570 w 9397013"/>
              <a:gd name="connsiteY32-1010" fmla="*/ 2548084 h 7134208"/>
              <a:gd name="connsiteX33-1011" fmla="*/ 4869244 w 9397013"/>
              <a:gd name="connsiteY33-1012" fmla="*/ 2261689 h 7134208"/>
              <a:gd name="connsiteX34-1013" fmla="*/ 8567691 w 9397013"/>
              <a:gd name="connsiteY34-1014" fmla="*/ 7124971 h 7134208"/>
              <a:gd name="connsiteX35-1015" fmla="*/ 9397013 w 9397013"/>
              <a:gd name="connsiteY35-1016" fmla="*/ 7134207 h 7134208"/>
              <a:gd name="connsiteX36-1017" fmla="*/ 8921338 w 9397013"/>
              <a:gd name="connsiteY36-1018" fmla="*/ 7115735 h 7134208"/>
              <a:gd name="connsiteX37-1019" fmla="*/ 5045299 w 9397013"/>
              <a:gd name="connsiteY37-1020" fmla="*/ 2031113 h 7134208"/>
              <a:gd name="connsiteX38-1021" fmla="*/ 5273037 w 9397013"/>
              <a:gd name="connsiteY38-1022" fmla="*/ 1732846 h 7134208"/>
              <a:gd name="connsiteX39-1023" fmla="*/ 9397013 w 9397013"/>
              <a:gd name="connsiteY39-1024" fmla="*/ 7134207 h 7134208"/>
              <a:gd name="connsiteX0-1025" fmla="*/ 168369 w 9397013"/>
              <a:gd name="connsiteY0-1026" fmla="*/ 4779933 h 7134208"/>
              <a:gd name="connsiteX1-1027" fmla="*/ 0 w 9397013"/>
              <a:gd name="connsiteY1-1028" fmla="*/ 4409146 h 7134208"/>
              <a:gd name="connsiteX2-1029" fmla="*/ 3332806 w 9397013"/>
              <a:gd name="connsiteY2-1030" fmla="*/ 0 h 7134208"/>
              <a:gd name="connsiteX3-1031" fmla="*/ 3794560 w 9397013"/>
              <a:gd name="connsiteY3-1032" fmla="*/ 32861 h 7134208"/>
              <a:gd name="connsiteX4-1033" fmla="*/ 168369 w 9397013"/>
              <a:gd name="connsiteY4-1034" fmla="*/ 4779933 h 7134208"/>
              <a:gd name="connsiteX5-1035" fmla="*/ 488220 w 9397013"/>
              <a:gd name="connsiteY5-1036" fmla="*/ 5484315 h 7134208"/>
              <a:gd name="connsiteX6-1037" fmla="*/ 299082 w 9397013"/>
              <a:gd name="connsiteY6-1038" fmla="*/ 5067791 h 7134208"/>
              <a:gd name="connsiteX7-1039" fmla="*/ 4106456 w 9397013"/>
              <a:gd name="connsiteY7-1040" fmla="*/ 55057 h 7134208"/>
              <a:gd name="connsiteX8-1041" fmla="*/ 4585079 w 9397013"/>
              <a:gd name="connsiteY8-1042" fmla="*/ 89119 h 7134208"/>
              <a:gd name="connsiteX9-1043" fmla="*/ 488220 w 9397013"/>
              <a:gd name="connsiteY9-1044" fmla="*/ 5484315 h 7134208"/>
              <a:gd name="connsiteX10-1045" fmla="*/ 779421 w 9397013"/>
              <a:gd name="connsiteY10-1046" fmla="*/ 6125606 h 7134208"/>
              <a:gd name="connsiteX11-1047" fmla="*/ 618065 w 9397013"/>
              <a:gd name="connsiteY11-1048" fmla="*/ 5770263 h 7134208"/>
              <a:gd name="connsiteX12-1049" fmla="*/ 4897528 w 9397013"/>
              <a:gd name="connsiteY12-1050" fmla="*/ 111354 h 7134208"/>
              <a:gd name="connsiteX13-1051" fmla="*/ 5324893 w 9397013"/>
              <a:gd name="connsiteY13-1052" fmla="*/ 141768 h 7134208"/>
              <a:gd name="connsiteX14-1053" fmla="*/ 779421 w 9397013"/>
              <a:gd name="connsiteY14-1054" fmla="*/ 6125606 h 7134208"/>
              <a:gd name="connsiteX15-1055" fmla="*/ 1099910 w 9397013"/>
              <a:gd name="connsiteY15-1056" fmla="*/ 6831395 h 7134208"/>
              <a:gd name="connsiteX16-1057" fmla="*/ 919656 w 9397013"/>
              <a:gd name="connsiteY16-1058" fmla="*/ 6434435 h 7134208"/>
              <a:gd name="connsiteX17-1059" fmla="*/ 5668965 w 9397013"/>
              <a:gd name="connsiteY17-1060" fmla="*/ 166254 h 7134208"/>
              <a:gd name="connsiteX18-1061" fmla="*/ 6114044 w 9397013"/>
              <a:gd name="connsiteY18-1062" fmla="*/ 197929 h 7134208"/>
              <a:gd name="connsiteX19-1063" fmla="*/ 1099910 w 9397013"/>
              <a:gd name="connsiteY19-1064" fmla="*/ 6831395 h 7134208"/>
              <a:gd name="connsiteX20-1065" fmla="*/ 6958778 w 9397013"/>
              <a:gd name="connsiteY20-1066" fmla="*/ 7124971 h 7134208"/>
              <a:gd name="connsiteX21-1067" fmla="*/ 6560038 w 9397013"/>
              <a:gd name="connsiteY21-1068" fmla="*/ 7134207 h 7134208"/>
              <a:gd name="connsiteX22-1069" fmla="*/ 3849932 w 9397013"/>
              <a:gd name="connsiteY22-1070" fmla="*/ 3596670 h 7134208"/>
              <a:gd name="connsiteX23-1071" fmla="*/ 4086202 w 9397013"/>
              <a:gd name="connsiteY23-1072" fmla="*/ 3287229 h 7134208"/>
              <a:gd name="connsiteX24-1073" fmla="*/ 6958778 w 9397013"/>
              <a:gd name="connsiteY24-1074" fmla="*/ 7124971 h 7134208"/>
              <a:gd name="connsiteX25-1075" fmla="*/ 7777211 w 9397013"/>
              <a:gd name="connsiteY25-1076" fmla="*/ 7124972 h 7134208"/>
              <a:gd name="connsiteX26-1077" fmla="*/ 7324729 w 9397013"/>
              <a:gd name="connsiteY26-1078" fmla="*/ 7124972 h 7134208"/>
              <a:gd name="connsiteX27-1079" fmla="*/ 4245793 w 9397013"/>
              <a:gd name="connsiteY27-1080" fmla="*/ 3078214 h 7134208"/>
              <a:gd name="connsiteX28-1081" fmla="*/ 4490696 w 9397013"/>
              <a:gd name="connsiteY28-1082" fmla="*/ 2757469 h 7134208"/>
              <a:gd name="connsiteX29-1083" fmla="*/ 7777211 w 9397013"/>
              <a:gd name="connsiteY29-1084" fmla="*/ 7124972 h 7134208"/>
              <a:gd name="connsiteX30-1085" fmla="*/ 8567691 w 9397013"/>
              <a:gd name="connsiteY30-1086" fmla="*/ 7124971 h 7134208"/>
              <a:gd name="connsiteX31-1087" fmla="*/ 8159389 w 9397013"/>
              <a:gd name="connsiteY31-1088" fmla="*/ 7134208 h 7134208"/>
              <a:gd name="connsiteX32-1089" fmla="*/ 4650570 w 9397013"/>
              <a:gd name="connsiteY32-1090" fmla="*/ 2548084 h 7134208"/>
              <a:gd name="connsiteX33-1091" fmla="*/ 4869244 w 9397013"/>
              <a:gd name="connsiteY33-1092" fmla="*/ 2261689 h 7134208"/>
              <a:gd name="connsiteX34-1093" fmla="*/ 8567691 w 9397013"/>
              <a:gd name="connsiteY34-1094" fmla="*/ 7124971 h 7134208"/>
              <a:gd name="connsiteX35-1095" fmla="*/ 9397013 w 9397013"/>
              <a:gd name="connsiteY35-1096" fmla="*/ 7134207 h 7134208"/>
              <a:gd name="connsiteX36-1097" fmla="*/ 8921338 w 9397013"/>
              <a:gd name="connsiteY36-1098" fmla="*/ 7115735 h 7134208"/>
              <a:gd name="connsiteX37-1099" fmla="*/ 5045299 w 9397013"/>
              <a:gd name="connsiteY37-1100" fmla="*/ 2031113 h 7134208"/>
              <a:gd name="connsiteX38-1101" fmla="*/ 5273037 w 9397013"/>
              <a:gd name="connsiteY38-1102" fmla="*/ 1732846 h 7134208"/>
              <a:gd name="connsiteX39-1103" fmla="*/ 9397013 w 9397013"/>
              <a:gd name="connsiteY39-1104" fmla="*/ 7134207 h 7134208"/>
              <a:gd name="connsiteX0-1105" fmla="*/ 168369 w 9397013"/>
              <a:gd name="connsiteY0-1106" fmla="*/ 4779933 h 7134208"/>
              <a:gd name="connsiteX1-1107" fmla="*/ 0 w 9397013"/>
              <a:gd name="connsiteY1-1108" fmla="*/ 4409146 h 7134208"/>
              <a:gd name="connsiteX2-1109" fmla="*/ 3332806 w 9397013"/>
              <a:gd name="connsiteY2-1110" fmla="*/ 0 h 7134208"/>
              <a:gd name="connsiteX3-1111" fmla="*/ 3794560 w 9397013"/>
              <a:gd name="connsiteY3-1112" fmla="*/ 32861 h 7134208"/>
              <a:gd name="connsiteX4-1113" fmla="*/ 168369 w 9397013"/>
              <a:gd name="connsiteY4-1114" fmla="*/ 4779933 h 7134208"/>
              <a:gd name="connsiteX5-1115" fmla="*/ 488220 w 9397013"/>
              <a:gd name="connsiteY5-1116" fmla="*/ 5484315 h 7134208"/>
              <a:gd name="connsiteX6-1117" fmla="*/ 299082 w 9397013"/>
              <a:gd name="connsiteY6-1118" fmla="*/ 5067791 h 7134208"/>
              <a:gd name="connsiteX7-1119" fmla="*/ 4106456 w 9397013"/>
              <a:gd name="connsiteY7-1120" fmla="*/ 55057 h 7134208"/>
              <a:gd name="connsiteX8-1121" fmla="*/ 4585079 w 9397013"/>
              <a:gd name="connsiteY8-1122" fmla="*/ 89119 h 7134208"/>
              <a:gd name="connsiteX9-1123" fmla="*/ 488220 w 9397013"/>
              <a:gd name="connsiteY9-1124" fmla="*/ 5484315 h 7134208"/>
              <a:gd name="connsiteX10-1125" fmla="*/ 779421 w 9397013"/>
              <a:gd name="connsiteY10-1126" fmla="*/ 6125606 h 7134208"/>
              <a:gd name="connsiteX11-1127" fmla="*/ 618065 w 9397013"/>
              <a:gd name="connsiteY11-1128" fmla="*/ 5770263 h 7134208"/>
              <a:gd name="connsiteX12-1129" fmla="*/ 4897528 w 9397013"/>
              <a:gd name="connsiteY12-1130" fmla="*/ 111354 h 7134208"/>
              <a:gd name="connsiteX13-1131" fmla="*/ 5324893 w 9397013"/>
              <a:gd name="connsiteY13-1132" fmla="*/ 141768 h 7134208"/>
              <a:gd name="connsiteX14-1133" fmla="*/ 779421 w 9397013"/>
              <a:gd name="connsiteY14-1134" fmla="*/ 6125606 h 7134208"/>
              <a:gd name="connsiteX15-1135" fmla="*/ 1099910 w 9397013"/>
              <a:gd name="connsiteY15-1136" fmla="*/ 6831395 h 7134208"/>
              <a:gd name="connsiteX16-1137" fmla="*/ 919656 w 9397013"/>
              <a:gd name="connsiteY16-1138" fmla="*/ 6434435 h 7134208"/>
              <a:gd name="connsiteX17-1139" fmla="*/ 5668965 w 9397013"/>
              <a:gd name="connsiteY17-1140" fmla="*/ 166254 h 7134208"/>
              <a:gd name="connsiteX18-1141" fmla="*/ 6077099 w 9397013"/>
              <a:gd name="connsiteY18-1142" fmla="*/ 225638 h 7134208"/>
              <a:gd name="connsiteX19-1143" fmla="*/ 1099910 w 9397013"/>
              <a:gd name="connsiteY19-1144" fmla="*/ 6831395 h 7134208"/>
              <a:gd name="connsiteX20-1145" fmla="*/ 6958778 w 9397013"/>
              <a:gd name="connsiteY20-1146" fmla="*/ 7124971 h 7134208"/>
              <a:gd name="connsiteX21-1147" fmla="*/ 6560038 w 9397013"/>
              <a:gd name="connsiteY21-1148" fmla="*/ 7134207 h 7134208"/>
              <a:gd name="connsiteX22-1149" fmla="*/ 3849932 w 9397013"/>
              <a:gd name="connsiteY22-1150" fmla="*/ 3596670 h 7134208"/>
              <a:gd name="connsiteX23-1151" fmla="*/ 4086202 w 9397013"/>
              <a:gd name="connsiteY23-1152" fmla="*/ 3287229 h 7134208"/>
              <a:gd name="connsiteX24-1153" fmla="*/ 6958778 w 9397013"/>
              <a:gd name="connsiteY24-1154" fmla="*/ 7124971 h 7134208"/>
              <a:gd name="connsiteX25-1155" fmla="*/ 7777211 w 9397013"/>
              <a:gd name="connsiteY25-1156" fmla="*/ 7124972 h 7134208"/>
              <a:gd name="connsiteX26-1157" fmla="*/ 7324729 w 9397013"/>
              <a:gd name="connsiteY26-1158" fmla="*/ 7124972 h 7134208"/>
              <a:gd name="connsiteX27-1159" fmla="*/ 4245793 w 9397013"/>
              <a:gd name="connsiteY27-1160" fmla="*/ 3078214 h 7134208"/>
              <a:gd name="connsiteX28-1161" fmla="*/ 4490696 w 9397013"/>
              <a:gd name="connsiteY28-1162" fmla="*/ 2757469 h 7134208"/>
              <a:gd name="connsiteX29-1163" fmla="*/ 7777211 w 9397013"/>
              <a:gd name="connsiteY29-1164" fmla="*/ 7124972 h 7134208"/>
              <a:gd name="connsiteX30-1165" fmla="*/ 8567691 w 9397013"/>
              <a:gd name="connsiteY30-1166" fmla="*/ 7124971 h 7134208"/>
              <a:gd name="connsiteX31-1167" fmla="*/ 8159389 w 9397013"/>
              <a:gd name="connsiteY31-1168" fmla="*/ 7134208 h 7134208"/>
              <a:gd name="connsiteX32-1169" fmla="*/ 4650570 w 9397013"/>
              <a:gd name="connsiteY32-1170" fmla="*/ 2548084 h 7134208"/>
              <a:gd name="connsiteX33-1171" fmla="*/ 4869244 w 9397013"/>
              <a:gd name="connsiteY33-1172" fmla="*/ 2261689 h 7134208"/>
              <a:gd name="connsiteX34-1173" fmla="*/ 8567691 w 9397013"/>
              <a:gd name="connsiteY34-1174" fmla="*/ 7124971 h 7134208"/>
              <a:gd name="connsiteX35-1175" fmla="*/ 9397013 w 9397013"/>
              <a:gd name="connsiteY35-1176" fmla="*/ 7134207 h 7134208"/>
              <a:gd name="connsiteX36-1177" fmla="*/ 8921338 w 9397013"/>
              <a:gd name="connsiteY36-1178" fmla="*/ 7115735 h 7134208"/>
              <a:gd name="connsiteX37-1179" fmla="*/ 5045299 w 9397013"/>
              <a:gd name="connsiteY37-1180" fmla="*/ 2031113 h 7134208"/>
              <a:gd name="connsiteX38-1181" fmla="*/ 5273037 w 9397013"/>
              <a:gd name="connsiteY38-1182" fmla="*/ 1732846 h 7134208"/>
              <a:gd name="connsiteX39-1183" fmla="*/ 9397013 w 9397013"/>
              <a:gd name="connsiteY39-1184" fmla="*/ 7134207 h 7134208"/>
              <a:gd name="connsiteX0-1185" fmla="*/ 168369 w 9397013"/>
              <a:gd name="connsiteY0-1186" fmla="*/ 4779933 h 7134208"/>
              <a:gd name="connsiteX1-1187" fmla="*/ 0 w 9397013"/>
              <a:gd name="connsiteY1-1188" fmla="*/ 4409146 h 7134208"/>
              <a:gd name="connsiteX2-1189" fmla="*/ 3332806 w 9397013"/>
              <a:gd name="connsiteY2-1190" fmla="*/ 0 h 7134208"/>
              <a:gd name="connsiteX3-1191" fmla="*/ 3794560 w 9397013"/>
              <a:gd name="connsiteY3-1192" fmla="*/ 32861 h 7134208"/>
              <a:gd name="connsiteX4-1193" fmla="*/ 168369 w 9397013"/>
              <a:gd name="connsiteY4-1194" fmla="*/ 4779933 h 7134208"/>
              <a:gd name="connsiteX5-1195" fmla="*/ 488220 w 9397013"/>
              <a:gd name="connsiteY5-1196" fmla="*/ 5484315 h 7134208"/>
              <a:gd name="connsiteX6-1197" fmla="*/ 299082 w 9397013"/>
              <a:gd name="connsiteY6-1198" fmla="*/ 5067791 h 7134208"/>
              <a:gd name="connsiteX7-1199" fmla="*/ 4106456 w 9397013"/>
              <a:gd name="connsiteY7-1200" fmla="*/ 55057 h 7134208"/>
              <a:gd name="connsiteX8-1201" fmla="*/ 4585079 w 9397013"/>
              <a:gd name="connsiteY8-1202" fmla="*/ 89119 h 7134208"/>
              <a:gd name="connsiteX9-1203" fmla="*/ 488220 w 9397013"/>
              <a:gd name="connsiteY9-1204" fmla="*/ 5484315 h 7134208"/>
              <a:gd name="connsiteX10-1205" fmla="*/ 779421 w 9397013"/>
              <a:gd name="connsiteY10-1206" fmla="*/ 6125606 h 7134208"/>
              <a:gd name="connsiteX11-1207" fmla="*/ 618065 w 9397013"/>
              <a:gd name="connsiteY11-1208" fmla="*/ 5770263 h 7134208"/>
              <a:gd name="connsiteX12-1209" fmla="*/ 4897528 w 9397013"/>
              <a:gd name="connsiteY12-1210" fmla="*/ 111354 h 7134208"/>
              <a:gd name="connsiteX13-1211" fmla="*/ 5324893 w 9397013"/>
              <a:gd name="connsiteY13-1212" fmla="*/ 141768 h 7134208"/>
              <a:gd name="connsiteX14-1213" fmla="*/ 779421 w 9397013"/>
              <a:gd name="connsiteY14-1214" fmla="*/ 6125606 h 7134208"/>
              <a:gd name="connsiteX15-1215" fmla="*/ 1099910 w 9397013"/>
              <a:gd name="connsiteY15-1216" fmla="*/ 6831395 h 7134208"/>
              <a:gd name="connsiteX16-1217" fmla="*/ 919656 w 9397013"/>
              <a:gd name="connsiteY16-1218" fmla="*/ 6434435 h 7134208"/>
              <a:gd name="connsiteX17-1219" fmla="*/ 5613547 w 9397013"/>
              <a:gd name="connsiteY17-1220" fmla="*/ 240145 h 7134208"/>
              <a:gd name="connsiteX18-1221" fmla="*/ 6077099 w 9397013"/>
              <a:gd name="connsiteY18-1222" fmla="*/ 225638 h 7134208"/>
              <a:gd name="connsiteX19-1223" fmla="*/ 1099910 w 9397013"/>
              <a:gd name="connsiteY19-1224" fmla="*/ 6831395 h 7134208"/>
              <a:gd name="connsiteX20-1225" fmla="*/ 6958778 w 9397013"/>
              <a:gd name="connsiteY20-1226" fmla="*/ 7124971 h 7134208"/>
              <a:gd name="connsiteX21-1227" fmla="*/ 6560038 w 9397013"/>
              <a:gd name="connsiteY21-1228" fmla="*/ 7134207 h 7134208"/>
              <a:gd name="connsiteX22-1229" fmla="*/ 3849932 w 9397013"/>
              <a:gd name="connsiteY22-1230" fmla="*/ 3596670 h 7134208"/>
              <a:gd name="connsiteX23-1231" fmla="*/ 4086202 w 9397013"/>
              <a:gd name="connsiteY23-1232" fmla="*/ 3287229 h 7134208"/>
              <a:gd name="connsiteX24-1233" fmla="*/ 6958778 w 9397013"/>
              <a:gd name="connsiteY24-1234" fmla="*/ 7124971 h 7134208"/>
              <a:gd name="connsiteX25-1235" fmla="*/ 7777211 w 9397013"/>
              <a:gd name="connsiteY25-1236" fmla="*/ 7124972 h 7134208"/>
              <a:gd name="connsiteX26-1237" fmla="*/ 7324729 w 9397013"/>
              <a:gd name="connsiteY26-1238" fmla="*/ 7124972 h 7134208"/>
              <a:gd name="connsiteX27-1239" fmla="*/ 4245793 w 9397013"/>
              <a:gd name="connsiteY27-1240" fmla="*/ 3078214 h 7134208"/>
              <a:gd name="connsiteX28-1241" fmla="*/ 4490696 w 9397013"/>
              <a:gd name="connsiteY28-1242" fmla="*/ 2757469 h 7134208"/>
              <a:gd name="connsiteX29-1243" fmla="*/ 7777211 w 9397013"/>
              <a:gd name="connsiteY29-1244" fmla="*/ 7124972 h 7134208"/>
              <a:gd name="connsiteX30-1245" fmla="*/ 8567691 w 9397013"/>
              <a:gd name="connsiteY30-1246" fmla="*/ 7124971 h 7134208"/>
              <a:gd name="connsiteX31-1247" fmla="*/ 8159389 w 9397013"/>
              <a:gd name="connsiteY31-1248" fmla="*/ 7134208 h 7134208"/>
              <a:gd name="connsiteX32-1249" fmla="*/ 4650570 w 9397013"/>
              <a:gd name="connsiteY32-1250" fmla="*/ 2548084 h 7134208"/>
              <a:gd name="connsiteX33-1251" fmla="*/ 4869244 w 9397013"/>
              <a:gd name="connsiteY33-1252" fmla="*/ 2261689 h 7134208"/>
              <a:gd name="connsiteX34-1253" fmla="*/ 8567691 w 9397013"/>
              <a:gd name="connsiteY34-1254" fmla="*/ 7124971 h 7134208"/>
              <a:gd name="connsiteX35-1255" fmla="*/ 9397013 w 9397013"/>
              <a:gd name="connsiteY35-1256" fmla="*/ 7134207 h 7134208"/>
              <a:gd name="connsiteX36-1257" fmla="*/ 8921338 w 9397013"/>
              <a:gd name="connsiteY36-1258" fmla="*/ 7115735 h 7134208"/>
              <a:gd name="connsiteX37-1259" fmla="*/ 5045299 w 9397013"/>
              <a:gd name="connsiteY37-1260" fmla="*/ 2031113 h 7134208"/>
              <a:gd name="connsiteX38-1261" fmla="*/ 5273037 w 9397013"/>
              <a:gd name="connsiteY38-1262" fmla="*/ 1732846 h 7134208"/>
              <a:gd name="connsiteX39-1263" fmla="*/ 9397013 w 9397013"/>
              <a:gd name="connsiteY39-1264" fmla="*/ 7134207 h 7134208"/>
              <a:gd name="connsiteX0-1265" fmla="*/ 168369 w 9397013"/>
              <a:gd name="connsiteY0-1266" fmla="*/ 4779933 h 7134208"/>
              <a:gd name="connsiteX1-1267" fmla="*/ 0 w 9397013"/>
              <a:gd name="connsiteY1-1268" fmla="*/ 4409146 h 7134208"/>
              <a:gd name="connsiteX2-1269" fmla="*/ 3332806 w 9397013"/>
              <a:gd name="connsiteY2-1270" fmla="*/ 0 h 7134208"/>
              <a:gd name="connsiteX3-1271" fmla="*/ 3794560 w 9397013"/>
              <a:gd name="connsiteY3-1272" fmla="*/ 32861 h 7134208"/>
              <a:gd name="connsiteX4-1273" fmla="*/ 168369 w 9397013"/>
              <a:gd name="connsiteY4-1274" fmla="*/ 4779933 h 7134208"/>
              <a:gd name="connsiteX5-1275" fmla="*/ 488220 w 9397013"/>
              <a:gd name="connsiteY5-1276" fmla="*/ 5484315 h 7134208"/>
              <a:gd name="connsiteX6-1277" fmla="*/ 299082 w 9397013"/>
              <a:gd name="connsiteY6-1278" fmla="*/ 5067791 h 7134208"/>
              <a:gd name="connsiteX7-1279" fmla="*/ 4106456 w 9397013"/>
              <a:gd name="connsiteY7-1280" fmla="*/ 55057 h 7134208"/>
              <a:gd name="connsiteX8-1281" fmla="*/ 4585079 w 9397013"/>
              <a:gd name="connsiteY8-1282" fmla="*/ 89119 h 7134208"/>
              <a:gd name="connsiteX9-1283" fmla="*/ 488220 w 9397013"/>
              <a:gd name="connsiteY9-1284" fmla="*/ 5484315 h 7134208"/>
              <a:gd name="connsiteX10-1285" fmla="*/ 779421 w 9397013"/>
              <a:gd name="connsiteY10-1286" fmla="*/ 6125606 h 7134208"/>
              <a:gd name="connsiteX11-1287" fmla="*/ 618065 w 9397013"/>
              <a:gd name="connsiteY11-1288" fmla="*/ 5770263 h 7134208"/>
              <a:gd name="connsiteX12-1289" fmla="*/ 4897528 w 9397013"/>
              <a:gd name="connsiteY12-1290" fmla="*/ 111354 h 7134208"/>
              <a:gd name="connsiteX13-1291" fmla="*/ 5324893 w 9397013"/>
              <a:gd name="connsiteY13-1292" fmla="*/ 141768 h 7134208"/>
              <a:gd name="connsiteX14-1293" fmla="*/ 779421 w 9397013"/>
              <a:gd name="connsiteY14-1294" fmla="*/ 6125606 h 7134208"/>
              <a:gd name="connsiteX15-1295" fmla="*/ 1099910 w 9397013"/>
              <a:gd name="connsiteY15-1296" fmla="*/ 6831395 h 7134208"/>
              <a:gd name="connsiteX16-1297" fmla="*/ 919656 w 9397013"/>
              <a:gd name="connsiteY16-1298" fmla="*/ 6434435 h 7134208"/>
              <a:gd name="connsiteX17-1299" fmla="*/ 5641256 w 9397013"/>
              <a:gd name="connsiteY17-1300" fmla="*/ 212436 h 7134208"/>
              <a:gd name="connsiteX18-1301" fmla="*/ 6077099 w 9397013"/>
              <a:gd name="connsiteY18-1302" fmla="*/ 225638 h 7134208"/>
              <a:gd name="connsiteX19-1303" fmla="*/ 1099910 w 9397013"/>
              <a:gd name="connsiteY19-1304" fmla="*/ 6831395 h 7134208"/>
              <a:gd name="connsiteX20-1305" fmla="*/ 6958778 w 9397013"/>
              <a:gd name="connsiteY20-1306" fmla="*/ 7124971 h 7134208"/>
              <a:gd name="connsiteX21-1307" fmla="*/ 6560038 w 9397013"/>
              <a:gd name="connsiteY21-1308" fmla="*/ 7134207 h 7134208"/>
              <a:gd name="connsiteX22-1309" fmla="*/ 3849932 w 9397013"/>
              <a:gd name="connsiteY22-1310" fmla="*/ 3596670 h 7134208"/>
              <a:gd name="connsiteX23-1311" fmla="*/ 4086202 w 9397013"/>
              <a:gd name="connsiteY23-1312" fmla="*/ 3287229 h 7134208"/>
              <a:gd name="connsiteX24-1313" fmla="*/ 6958778 w 9397013"/>
              <a:gd name="connsiteY24-1314" fmla="*/ 7124971 h 7134208"/>
              <a:gd name="connsiteX25-1315" fmla="*/ 7777211 w 9397013"/>
              <a:gd name="connsiteY25-1316" fmla="*/ 7124972 h 7134208"/>
              <a:gd name="connsiteX26-1317" fmla="*/ 7324729 w 9397013"/>
              <a:gd name="connsiteY26-1318" fmla="*/ 7124972 h 7134208"/>
              <a:gd name="connsiteX27-1319" fmla="*/ 4245793 w 9397013"/>
              <a:gd name="connsiteY27-1320" fmla="*/ 3078214 h 7134208"/>
              <a:gd name="connsiteX28-1321" fmla="*/ 4490696 w 9397013"/>
              <a:gd name="connsiteY28-1322" fmla="*/ 2757469 h 7134208"/>
              <a:gd name="connsiteX29-1323" fmla="*/ 7777211 w 9397013"/>
              <a:gd name="connsiteY29-1324" fmla="*/ 7124972 h 7134208"/>
              <a:gd name="connsiteX30-1325" fmla="*/ 8567691 w 9397013"/>
              <a:gd name="connsiteY30-1326" fmla="*/ 7124971 h 7134208"/>
              <a:gd name="connsiteX31-1327" fmla="*/ 8159389 w 9397013"/>
              <a:gd name="connsiteY31-1328" fmla="*/ 7134208 h 7134208"/>
              <a:gd name="connsiteX32-1329" fmla="*/ 4650570 w 9397013"/>
              <a:gd name="connsiteY32-1330" fmla="*/ 2548084 h 7134208"/>
              <a:gd name="connsiteX33-1331" fmla="*/ 4869244 w 9397013"/>
              <a:gd name="connsiteY33-1332" fmla="*/ 2261689 h 7134208"/>
              <a:gd name="connsiteX34-1333" fmla="*/ 8567691 w 9397013"/>
              <a:gd name="connsiteY34-1334" fmla="*/ 7124971 h 7134208"/>
              <a:gd name="connsiteX35-1335" fmla="*/ 9397013 w 9397013"/>
              <a:gd name="connsiteY35-1336" fmla="*/ 7134207 h 7134208"/>
              <a:gd name="connsiteX36-1337" fmla="*/ 8921338 w 9397013"/>
              <a:gd name="connsiteY36-1338" fmla="*/ 7115735 h 7134208"/>
              <a:gd name="connsiteX37-1339" fmla="*/ 5045299 w 9397013"/>
              <a:gd name="connsiteY37-1340" fmla="*/ 2031113 h 7134208"/>
              <a:gd name="connsiteX38-1341" fmla="*/ 5273037 w 9397013"/>
              <a:gd name="connsiteY38-1342" fmla="*/ 1732846 h 7134208"/>
              <a:gd name="connsiteX39-1343" fmla="*/ 9397013 w 9397013"/>
              <a:gd name="connsiteY39-1344" fmla="*/ 7134207 h 7134208"/>
              <a:gd name="connsiteX0-1345" fmla="*/ 168369 w 9397013"/>
              <a:gd name="connsiteY0-1346" fmla="*/ 4779933 h 7134208"/>
              <a:gd name="connsiteX1-1347" fmla="*/ 0 w 9397013"/>
              <a:gd name="connsiteY1-1348" fmla="*/ 4409146 h 7134208"/>
              <a:gd name="connsiteX2-1349" fmla="*/ 3332806 w 9397013"/>
              <a:gd name="connsiteY2-1350" fmla="*/ 0 h 7134208"/>
              <a:gd name="connsiteX3-1351" fmla="*/ 3794560 w 9397013"/>
              <a:gd name="connsiteY3-1352" fmla="*/ 32861 h 7134208"/>
              <a:gd name="connsiteX4-1353" fmla="*/ 168369 w 9397013"/>
              <a:gd name="connsiteY4-1354" fmla="*/ 4779933 h 7134208"/>
              <a:gd name="connsiteX5-1355" fmla="*/ 488220 w 9397013"/>
              <a:gd name="connsiteY5-1356" fmla="*/ 5484315 h 7134208"/>
              <a:gd name="connsiteX6-1357" fmla="*/ 299082 w 9397013"/>
              <a:gd name="connsiteY6-1358" fmla="*/ 5067791 h 7134208"/>
              <a:gd name="connsiteX7-1359" fmla="*/ 4106456 w 9397013"/>
              <a:gd name="connsiteY7-1360" fmla="*/ 55057 h 7134208"/>
              <a:gd name="connsiteX8-1361" fmla="*/ 4585079 w 9397013"/>
              <a:gd name="connsiteY8-1362" fmla="*/ 89119 h 7134208"/>
              <a:gd name="connsiteX9-1363" fmla="*/ 488220 w 9397013"/>
              <a:gd name="connsiteY9-1364" fmla="*/ 5484315 h 7134208"/>
              <a:gd name="connsiteX10-1365" fmla="*/ 779421 w 9397013"/>
              <a:gd name="connsiteY10-1366" fmla="*/ 6125606 h 7134208"/>
              <a:gd name="connsiteX11-1367" fmla="*/ 618065 w 9397013"/>
              <a:gd name="connsiteY11-1368" fmla="*/ 5770263 h 7134208"/>
              <a:gd name="connsiteX12-1369" fmla="*/ 4897528 w 9397013"/>
              <a:gd name="connsiteY12-1370" fmla="*/ 111354 h 7134208"/>
              <a:gd name="connsiteX13-1371" fmla="*/ 5260238 w 9397013"/>
              <a:gd name="connsiteY13-1372" fmla="*/ 234131 h 7134208"/>
              <a:gd name="connsiteX14-1373" fmla="*/ 779421 w 9397013"/>
              <a:gd name="connsiteY14-1374" fmla="*/ 6125606 h 7134208"/>
              <a:gd name="connsiteX15-1375" fmla="*/ 1099910 w 9397013"/>
              <a:gd name="connsiteY15-1376" fmla="*/ 6831395 h 7134208"/>
              <a:gd name="connsiteX16-1377" fmla="*/ 919656 w 9397013"/>
              <a:gd name="connsiteY16-1378" fmla="*/ 6434435 h 7134208"/>
              <a:gd name="connsiteX17-1379" fmla="*/ 5641256 w 9397013"/>
              <a:gd name="connsiteY17-1380" fmla="*/ 212436 h 7134208"/>
              <a:gd name="connsiteX18-1381" fmla="*/ 6077099 w 9397013"/>
              <a:gd name="connsiteY18-1382" fmla="*/ 225638 h 7134208"/>
              <a:gd name="connsiteX19-1383" fmla="*/ 1099910 w 9397013"/>
              <a:gd name="connsiteY19-1384" fmla="*/ 6831395 h 7134208"/>
              <a:gd name="connsiteX20-1385" fmla="*/ 6958778 w 9397013"/>
              <a:gd name="connsiteY20-1386" fmla="*/ 7124971 h 7134208"/>
              <a:gd name="connsiteX21-1387" fmla="*/ 6560038 w 9397013"/>
              <a:gd name="connsiteY21-1388" fmla="*/ 7134207 h 7134208"/>
              <a:gd name="connsiteX22-1389" fmla="*/ 3849932 w 9397013"/>
              <a:gd name="connsiteY22-1390" fmla="*/ 3596670 h 7134208"/>
              <a:gd name="connsiteX23-1391" fmla="*/ 4086202 w 9397013"/>
              <a:gd name="connsiteY23-1392" fmla="*/ 3287229 h 7134208"/>
              <a:gd name="connsiteX24-1393" fmla="*/ 6958778 w 9397013"/>
              <a:gd name="connsiteY24-1394" fmla="*/ 7124971 h 7134208"/>
              <a:gd name="connsiteX25-1395" fmla="*/ 7777211 w 9397013"/>
              <a:gd name="connsiteY25-1396" fmla="*/ 7124972 h 7134208"/>
              <a:gd name="connsiteX26-1397" fmla="*/ 7324729 w 9397013"/>
              <a:gd name="connsiteY26-1398" fmla="*/ 7124972 h 7134208"/>
              <a:gd name="connsiteX27-1399" fmla="*/ 4245793 w 9397013"/>
              <a:gd name="connsiteY27-1400" fmla="*/ 3078214 h 7134208"/>
              <a:gd name="connsiteX28-1401" fmla="*/ 4490696 w 9397013"/>
              <a:gd name="connsiteY28-1402" fmla="*/ 2757469 h 7134208"/>
              <a:gd name="connsiteX29-1403" fmla="*/ 7777211 w 9397013"/>
              <a:gd name="connsiteY29-1404" fmla="*/ 7124972 h 7134208"/>
              <a:gd name="connsiteX30-1405" fmla="*/ 8567691 w 9397013"/>
              <a:gd name="connsiteY30-1406" fmla="*/ 7124971 h 7134208"/>
              <a:gd name="connsiteX31-1407" fmla="*/ 8159389 w 9397013"/>
              <a:gd name="connsiteY31-1408" fmla="*/ 7134208 h 7134208"/>
              <a:gd name="connsiteX32-1409" fmla="*/ 4650570 w 9397013"/>
              <a:gd name="connsiteY32-1410" fmla="*/ 2548084 h 7134208"/>
              <a:gd name="connsiteX33-1411" fmla="*/ 4869244 w 9397013"/>
              <a:gd name="connsiteY33-1412" fmla="*/ 2261689 h 7134208"/>
              <a:gd name="connsiteX34-1413" fmla="*/ 8567691 w 9397013"/>
              <a:gd name="connsiteY34-1414" fmla="*/ 7124971 h 7134208"/>
              <a:gd name="connsiteX35-1415" fmla="*/ 9397013 w 9397013"/>
              <a:gd name="connsiteY35-1416" fmla="*/ 7134207 h 7134208"/>
              <a:gd name="connsiteX36-1417" fmla="*/ 8921338 w 9397013"/>
              <a:gd name="connsiteY36-1418" fmla="*/ 7115735 h 7134208"/>
              <a:gd name="connsiteX37-1419" fmla="*/ 5045299 w 9397013"/>
              <a:gd name="connsiteY37-1420" fmla="*/ 2031113 h 7134208"/>
              <a:gd name="connsiteX38-1421" fmla="*/ 5273037 w 9397013"/>
              <a:gd name="connsiteY38-1422" fmla="*/ 1732846 h 7134208"/>
              <a:gd name="connsiteX39-1423" fmla="*/ 9397013 w 9397013"/>
              <a:gd name="connsiteY39-1424" fmla="*/ 7134207 h 7134208"/>
              <a:gd name="connsiteX0-1425" fmla="*/ 168369 w 9397013"/>
              <a:gd name="connsiteY0-1426" fmla="*/ 4779933 h 7134208"/>
              <a:gd name="connsiteX1-1427" fmla="*/ 0 w 9397013"/>
              <a:gd name="connsiteY1-1428" fmla="*/ 4409146 h 7134208"/>
              <a:gd name="connsiteX2-1429" fmla="*/ 3332806 w 9397013"/>
              <a:gd name="connsiteY2-1430" fmla="*/ 0 h 7134208"/>
              <a:gd name="connsiteX3-1431" fmla="*/ 3794560 w 9397013"/>
              <a:gd name="connsiteY3-1432" fmla="*/ 32861 h 7134208"/>
              <a:gd name="connsiteX4-1433" fmla="*/ 168369 w 9397013"/>
              <a:gd name="connsiteY4-1434" fmla="*/ 4779933 h 7134208"/>
              <a:gd name="connsiteX5-1435" fmla="*/ 488220 w 9397013"/>
              <a:gd name="connsiteY5-1436" fmla="*/ 5484315 h 7134208"/>
              <a:gd name="connsiteX6-1437" fmla="*/ 299082 w 9397013"/>
              <a:gd name="connsiteY6-1438" fmla="*/ 5067791 h 7134208"/>
              <a:gd name="connsiteX7-1439" fmla="*/ 4106456 w 9397013"/>
              <a:gd name="connsiteY7-1440" fmla="*/ 55057 h 7134208"/>
              <a:gd name="connsiteX8-1441" fmla="*/ 4585079 w 9397013"/>
              <a:gd name="connsiteY8-1442" fmla="*/ 89119 h 7134208"/>
              <a:gd name="connsiteX9-1443" fmla="*/ 488220 w 9397013"/>
              <a:gd name="connsiteY9-1444" fmla="*/ 5484315 h 7134208"/>
              <a:gd name="connsiteX10-1445" fmla="*/ 779421 w 9397013"/>
              <a:gd name="connsiteY10-1446" fmla="*/ 6125606 h 7134208"/>
              <a:gd name="connsiteX11-1447" fmla="*/ 618065 w 9397013"/>
              <a:gd name="connsiteY11-1448" fmla="*/ 5770263 h 7134208"/>
              <a:gd name="connsiteX12-1449" fmla="*/ 4805164 w 9397013"/>
              <a:gd name="connsiteY12-1450" fmla="*/ 212954 h 7134208"/>
              <a:gd name="connsiteX13-1451" fmla="*/ 5260238 w 9397013"/>
              <a:gd name="connsiteY13-1452" fmla="*/ 234131 h 7134208"/>
              <a:gd name="connsiteX14-1453" fmla="*/ 779421 w 9397013"/>
              <a:gd name="connsiteY14-1454" fmla="*/ 6125606 h 7134208"/>
              <a:gd name="connsiteX15-1455" fmla="*/ 1099910 w 9397013"/>
              <a:gd name="connsiteY15-1456" fmla="*/ 6831395 h 7134208"/>
              <a:gd name="connsiteX16-1457" fmla="*/ 919656 w 9397013"/>
              <a:gd name="connsiteY16-1458" fmla="*/ 6434435 h 7134208"/>
              <a:gd name="connsiteX17-1459" fmla="*/ 5641256 w 9397013"/>
              <a:gd name="connsiteY17-1460" fmla="*/ 212436 h 7134208"/>
              <a:gd name="connsiteX18-1461" fmla="*/ 6077099 w 9397013"/>
              <a:gd name="connsiteY18-1462" fmla="*/ 225638 h 7134208"/>
              <a:gd name="connsiteX19-1463" fmla="*/ 1099910 w 9397013"/>
              <a:gd name="connsiteY19-1464" fmla="*/ 6831395 h 7134208"/>
              <a:gd name="connsiteX20-1465" fmla="*/ 6958778 w 9397013"/>
              <a:gd name="connsiteY20-1466" fmla="*/ 7124971 h 7134208"/>
              <a:gd name="connsiteX21-1467" fmla="*/ 6560038 w 9397013"/>
              <a:gd name="connsiteY21-1468" fmla="*/ 7134207 h 7134208"/>
              <a:gd name="connsiteX22-1469" fmla="*/ 3849932 w 9397013"/>
              <a:gd name="connsiteY22-1470" fmla="*/ 3596670 h 7134208"/>
              <a:gd name="connsiteX23-1471" fmla="*/ 4086202 w 9397013"/>
              <a:gd name="connsiteY23-1472" fmla="*/ 3287229 h 7134208"/>
              <a:gd name="connsiteX24-1473" fmla="*/ 6958778 w 9397013"/>
              <a:gd name="connsiteY24-1474" fmla="*/ 7124971 h 7134208"/>
              <a:gd name="connsiteX25-1475" fmla="*/ 7777211 w 9397013"/>
              <a:gd name="connsiteY25-1476" fmla="*/ 7124972 h 7134208"/>
              <a:gd name="connsiteX26-1477" fmla="*/ 7324729 w 9397013"/>
              <a:gd name="connsiteY26-1478" fmla="*/ 7124972 h 7134208"/>
              <a:gd name="connsiteX27-1479" fmla="*/ 4245793 w 9397013"/>
              <a:gd name="connsiteY27-1480" fmla="*/ 3078214 h 7134208"/>
              <a:gd name="connsiteX28-1481" fmla="*/ 4490696 w 9397013"/>
              <a:gd name="connsiteY28-1482" fmla="*/ 2757469 h 7134208"/>
              <a:gd name="connsiteX29-1483" fmla="*/ 7777211 w 9397013"/>
              <a:gd name="connsiteY29-1484" fmla="*/ 7124972 h 7134208"/>
              <a:gd name="connsiteX30-1485" fmla="*/ 8567691 w 9397013"/>
              <a:gd name="connsiteY30-1486" fmla="*/ 7124971 h 7134208"/>
              <a:gd name="connsiteX31-1487" fmla="*/ 8159389 w 9397013"/>
              <a:gd name="connsiteY31-1488" fmla="*/ 7134208 h 7134208"/>
              <a:gd name="connsiteX32-1489" fmla="*/ 4650570 w 9397013"/>
              <a:gd name="connsiteY32-1490" fmla="*/ 2548084 h 7134208"/>
              <a:gd name="connsiteX33-1491" fmla="*/ 4869244 w 9397013"/>
              <a:gd name="connsiteY33-1492" fmla="*/ 2261689 h 7134208"/>
              <a:gd name="connsiteX34-1493" fmla="*/ 8567691 w 9397013"/>
              <a:gd name="connsiteY34-1494" fmla="*/ 7124971 h 7134208"/>
              <a:gd name="connsiteX35-1495" fmla="*/ 9397013 w 9397013"/>
              <a:gd name="connsiteY35-1496" fmla="*/ 7134207 h 7134208"/>
              <a:gd name="connsiteX36-1497" fmla="*/ 8921338 w 9397013"/>
              <a:gd name="connsiteY36-1498" fmla="*/ 7115735 h 7134208"/>
              <a:gd name="connsiteX37-1499" fmla="*/ 5045299 w 9397013"/>
              <a:gd name="connsiteY37-1500" fmla="*/ 2031113 h 7134208"/>
              <a:gd name="connsiteX38-1501" fmla="*/ 5273037 w 9397013"/>
              <a:gd name="connsiteY38-1502" fmla="*/ 1732846 h 7134208"/>
              <a:gd name="connsiteX39-1503" fmla="*/ 9397013 w 9397013"/>
              <a:gd name="connsiteY39-1504" fmla="*/ 7134207 h 7134208"/>
              <a:gd name="connsiteX0-1505" fmla="*/ 168369 w 9397013"/>
              <a:gd name="connsiteY0-1506" fmla="*/ 4779933 h 7134208"/>
              <a:gd name="connsiteX1-1507" fmla="*/ 0 w 9397013"/>
              <a:gd name="connsiteY1-1508" fmla="*/ 4409146 h 7134208"/>
              <a:gd name="connsiteX2-1509" fmla="*/ 3332806 w 9397013"/>
              <a:gd name="connsiteY2-1510" fmla="*/ 0 h 7134208"/>
              <a:gd name="connsiteX3-1511" fmla="*/ 3794560 w 9397013"/>
              <a:gd name="connsiteY3-1512" fmla="*/ 32861 h 7134208"/>
              <a:gd name="connsiteX4-1513" fmla="*/ 168369 w 9397013"/>
              <a:gd name="connsiteY4-1514" fmla="*/ 4779933 h 7134208"/>
              <a:gd name="connsiteX5-1515" fmla="*/ 488220 w 9397013"/>
              <a:gd name="connsiteY5-1516" fmla="*/ 5484315 h 7134208"/>
              <a:gd name="connsiteX6-1517" fmla="*/ 299082 w 9397013"/>
              <a:gd name="connsiteY6-1518" fmla="*/ 5067791 h 7134208"/>
              <a:gd name="connsiteX7-1519" fmla="*/ 4106456 w 9397013"/>
              <a:gd name="connsiteY7-1520" fmla="*/ 55057 h 7134208"/>
              <a:gd name="connsiteX8-1521" fmla="*/ 4465006 w 9397013"/>
              <a:gd name="connsiteY8-1522" fmla="*/ 209192 h 7134208"/>
              <a:gd name="connsiteX9-1523" fmla="*/ 488220 w 9397013"/>
              <a:gd name="connsiteY9-1524" fmla="*/ 5484315 h 7134208"/>
              <a:gd name="connsiteX10-1525" fmla="*/ 779421 w 9397013"/>
              <a:gd name="connsiteY10-1526" fmla="*/ 6125606 h 7134208"/>
              <a:gd name="connsiteX11-1527" fmla="*/ 618065 w 9397013"/>
              <a:gd name="connsiteY11-1528" fmla="*/ 5770263 h 7134208"/>
              <a:gd name="connsiteX12-1529" fmla="*/ 4805164 w 9397013"/>
              <a:gd name="connsiteY12-1530" fmla="*/ 212954 h 7134208"/>
              <a:gd name="connsiteX13-1531" fmla="*/ 5260238 w 9397013"/>
              <a:gd name="connsiteY13-1532" fmla="*/ 234131 h 7134208"/>
              <a:gd name="connsiteX14-1533" fmla="*/ 779421 w 9397013"/>
              <a:gd name="connsiteY14-1534" fmla="*/ 6125606 h 7134208"/>
              <a:gd name="connsiteX15-1535" fmla="*/ 1099910 w 9397013"/>
              <a:gd name="connsiteY15-1536" fmla="*/ 6831395 h 7134208"/>
              <a:gd name="connsiteX16-1537" fmla="*/ 919656 w 9397013"/>
              <a:gd name="connsiteY16-1538" fmla="*/ 6434435 h 7134208"/>
              <a:gd name="connsiteX17-1539" fmla="*/ 5641256 w 9397013"/>
              <a:gd name="connsiteY17-1540" fmla="*/ 212436 h 7134208"/>
              <a:gd name="connsiteX18-1541" fmla="*/ 6077099 w 9397013"/>
              <a:gd name="connsiteY18-1542" fmla="*/ 225638 h 7134208"/>
              <a:gd name="connsiteX19-1543" fmla="*/ 1099910 w 9397013"/>
              <a:gd name="connsiteY19-1544" fmla="*/ 6831395 h 7134208"/>
              <a:gd name="connsiteX20-1545" fmla="*/ 6958778 w 9397013"/>
              <a:gd name="connsiteY20-1546" fmla="*/ 7124971 h 7134208"/>
              <a:gd name="connsiteX21-1547" fmla="*/ 6560038 w 9397013"/>
              <a:gd name="connsiteY21-1548" fmla="*/ 7134207 h 7134208"/>
              <a:gd name="connsiteX22-1549" fmla="*/ 3849932 w 9397013"/>
              <a:gd name="connsiteY22-1550" fmla="*/ 3596670 h 7134208"/>
              <a:gd name="connsiteX23-1551" fmla="*/ 4086202 w 9397013"/>
              <a:gd name="connsiteY23-1552" fmla="*/ 3287229 h 7134208"/>
              <a:gd name="connsiteX24-1553" fmla="*/ 6958778 w 9397013"/>
              <a:gd name="connsiteY24-1554" fmla="*/ 7124971 h 7134208"/>
              <a:gd name="connsiteX25-1555" fmla="*/ 7777211 w 9397013"/>
              <a:gd name="connsiteY25-1556" fmla="*/ 7124972 h 7134208"/>
              <a:gd name="connsiteX26-1557" fmla="*/ 7324729 w 9397013"/>
              <a:gd name="connsiteY26-1558" fmla="*/ 7124972 h 7134208"/>
              <a:gd name="connsiteX27-1559" fmla="*/ 4245793 w 9397013"/>
              <a:gd name="connsiteY27-1560" fmla="*/ 3078214 h 7134208"/>
              <a:gd name="connsiteX28-1561" fmla="*/ 4490696 w 9397013"/>
              <a:gd name="connsiteY28-1562" fmla="*/ 2757469 h 7134208"/>
              <a:gd name="connsiteX29-1563" fmla="*/ 7777211 w 9397013"/>
              <a:gd name="connsiteY29-1564" fmla="*/ 7124972 h 7134208"/>
              <a:gd name="connsiteX30-1565" fmla="*/ 8567691 w 9397013"/>
              <a:gd name="connsiteY30-1566" fmla="*/ 7124971 h 7134208"/>
              <a:gd name="connsiteX31-1567" fmla="*/ 8159389 w 9397013"/>
              <a:gd name="connsiteY31-1568" fmla="*/ 7134208 h 7134208"/>
              <a:gd name="connsiteX32-1569" fmla="*/ 4650570 w 9397013"/>
              <a:gd name="connsiteY32-1570" fmla="*/ 2548084 h 7134208"/>
              <a:gd name="connsiteX33-1571" fmla="*/ 4869244 w 9397013"/>
              <a:gd name="connsiteY33-1572" fmla="*/ 2261689 h 7134208"/>
              <a:gd name="connsiteX34-1573" fmla="*/ 8567691 w 9397013"/>
              <a:gd name="connsiteY34-1574" fmla="*/ 7124971 h 7134208"/>
              <a:gd name="connsiteX35-1575" fmla="*/ 9397013 w 9397013"/>
              <a:gd name="connsiteY35-1576" fmla="*/ 7134207 h 7134208"/>
              <a:gd name="connsiteX36-1577" fmla="*/ 8921338 w 9397013"/>
              <a:gd name="connsiteY36-1578" fmla="*/ 7115735 h 7134208"/>
              <a:gd name="connsiteX37-1579" fmla="*/ 5045299 w 9397013"/>
              <a:gd name="connsiteY37-1580" fmla="*/ 2031113 h 7134208"/>
              <a:gd name="connsiteX38-1581" fmla="*/ 5273037 w 9397013"/>
              <a:gd name="connsiteY38-1582" fmla="*/ 1732846 h 7134208"/>
              <a:gd name="connsiteX39-1583" fmla="*/ 9397013 w 9397013"/>
              <a:gd name="connsiteY39-1584" fmla="*/ 7134207 h 7134208"/>
              <a:gd name="connsiteX0-1585" fmla="*/ 168369 w 9397013"/>
              <a:gd name="connsiteY0-1586" fmla="*/ 4779933 h 7134208"/>
              <a:gd name="connsiteX1-1587" fmla="*/ 0 w 9397013"/>
              <a:gd name="connsiteY1-1588" fmla="*/ 4409146 h 7134208"/>
              <a:gd name="connsiteX2-1589" fmla="*/ 3332806 w 9397013"/>
              <a:gd name="connsiteY2-1590" fmla="*/ 0 h 7134208"/>
              <a:gd name="connsiteX3-1591" fmla="*/ 3794560 w 9397013"/>
              <a:gd name="connsiteY3-1592" fmla="*/ 32861 h 7134208"/>
              <a:gd name="connsiteX4-1593" fmla="*/ 168369 w 9397013"/>
              <a:gd name="connsiteY4-1594" fmla="*/ 4779933 h 7134208"/>
              <a:gd name="connsiteX5-1595" fmla="*/ 488220 w 9397013"/>
              <a:gd name="connsiteY5-1596" fmla="*/ 5484315 h 7134208"/>
              <a:gd name="connsiteX6-1597" fmla="*/ 299082 w 9397013"/>
              <a:gd name="connsiteY6-1598" fmla="*/ 5067791 h 7134208"/>
              <a:gd name="connsiteX7-1599" fmla="*/ 3977147 w 9397013"/>
              <a:gd name="connsiteY7-1600" fmla="*/ 212075 h 7134208"/>
              <a:gd name="connsiteX8-1601" fmla="*/ 4465006 w 9397013"/>
              <a:gd name="connsiteY8-1602" fmla="*/ 209192 h 7134208"/>
              <a:gd name="connsiteX9-1603" fmla="*/ 488220 w 9397013"/>
              <a:gd name="connsiteY9-1604" fmla="*/ 5484315 h 7134208"/>
              <a:gd name="connsiteX10-1605" fmla="*/ 779421 w 9397013"/>
              <a:gd name="connsiteY10-1606" fmla="*/ 6125606 h 7134208"/>
              <a:gd name="connsiteX11-1607" fmla="*/ 618065 w 9397013"/>
              <a:gd name="connsiteY11-1608" fmla="*/ 5770263 h 7134208"/>
              <a:gd name="connsiteX12-1609" fmla="*/ 4805164 w 9397013"/>
              <a:gd name="connsiteY12-1610" fmla="*/ 212954 h 7134208"/>
              <a:gd name="connsiteX13-1611" fmla="*/ 5260238 w 9397013"/>
              <a:gd name="connsiteY13-1612" fmla="*/ 234131 h 7134208"/>
              <a:gd name="connsiteX14-1613" fmla="*/ 779421 w 9397013"/>
              <a:gd name="connsiteY14-1614" fmla="*/ 6125606 h 7134208"/>
              <a:gd name="connsiteX15-1615" fmla="*/ 1099910 w 9397013"/>
              <a:gd name="connsiteY15-1616" fmla="*/ 6831395 h 7134208"/>
              <a:gd name="connsiteX16-1617" fmla="*/ 919656 w 9397013"/>
              <a:gd name="connsiteY16-1618" fmla="*/ 6434435 h 7134208"/>
              <a:gd name="connsiteX17-1619" fmla="*/ 5641256 w 9397013"/>
              <a:gd name="connsiteY17-1620" fmla="*/ 212436 h 7134208"/>
              <a:gd name="connsiteX18-1621" fmla="*/ 6077099 w 9397013"/>
              <a:gd name="connsiteY18-1622" fmla="*/ 225638 h 7134208"/>
              <a:gd name="connsiteX19-1623" fmla="*/ 1099910 w 9397013"/>
              <a:gd name="connsiteY19-1624" fmla="*/ 6831395 h 7134208"/>
              <a:gd name="connsiteX20-1625" fmla="*/ 6958778 w 9397013"/>
              <a:gd name="connsiteY20-1626" fmla="*/ 7124971 h 7134208"/>
              <a:gd name="connsiteX21-1627" fmla="*/ 6560038 w 9397013"/>
              <a:gd name="connsiteY21-1628" fmla="*/ 7134207 h 7134208"/>
              <a:gd name="connsiteX22-1629" fmla="*/ 3849932 w 9397013"/>
              <a:gd name="connsiteY22-1630" fmla="*/ 3596670 h 7134208"/>
              <a:gd name="connsiteX23-1631" fmla="*/ 4086202 w 9397013"/>
              <a:gd name="connsiteY23-1632" fmla="*/ 3287229 h 7134208"/>
              <a:gd name="connsiteX24-1633" fmla="*/ 6958778 w 9397013"/>
              <a:gd name="connsiteY24-1634" fmla="*/ 7124971 h 7134208"/>
              <a:gd name="connsiteX25-1635" fmla="*/ 7777211 w 9397013"/>
              <a:gd name="connsiteY25-1636" fmla="*/ 7124972 h 7134208"/>
              <a:gd name="connsiteX26-1637" fmla="*/ 7324729 w 9397013"/>
              <a:gd name="connsiteY26-1638" fmla="*/ 7124972 h 7134208"/>
              <a:gd name="connsiteX27-1639" fmla="*/ 4245793 w 9397013"/>
              <a:gd name="connsiteY27-1640" fmla="*/ 3078214 h 7134208"/>
              <a:gd name="connsiteX28-1641" fmla="*/ 4490696 w 9397013"/>
              <a:gd name="connsiteY28-1642" fmla="*/ 2757469 h 7134208"/>
              <a:gd name="connsiteX29-1643" fmla="*/ 7777211 w 9397013"/>
              <a:gd name="connsiteY29-1644" fmla="*/ 7124972 h 7134208"/>
              <a:gd name="connsiteX30-1645" fmla="*/ 8567691 w 9397013"/>
              <a:gd name="connsiteY30-1646" fmla="*/ 7124971 h 7134208"/>
              <a:gd name="connsiteX31-1647" fmla="*/ 8159389 w 9397013"/>
              <a:gd name="connsiteY31-1648" fmla="*/ 7134208 h 7134208"/>
              <a:gd name="connsiteX32-1649" fmla="*/ 4650570 w 9397013"/>
              <a:gd name="connsiteY32-1650" fmla="*/ 2548084 h 7134208"/>
              <a:gd name="connsiteX33-1651" fmla="*/ 4869244 w 9397013"/>
              <a:gd name="connsiteY33-1652" fmla="*/ 2261689 h 7134208"/>
              <a:gd name="connsiteX34-1653" fmla="*/ 8567691 w 9397013"/>
              <a:gd name="connsiteY34-1654" fmla="*/ 7124971 h 7134208"/>
              <a:gd name="connsiteX35-1655" fmla="*/ 9397013 w 9397013"/>
              <a:gd name="connsiteY35-1656" fmla="*/ 7134207 h 7134208"/>
              <a:gd name="connsiteX36-1657" fmla="*/ 8921338 w 9397013"/>
              <a:gd name="connsiteY36-1658" fmla="*/ 7115735 h 7134208"/>
              <a:gd name="connsiteX37-1659" fmla="*/ 5045299 w 9397013"/>
              <a:gd name="connsiteY37-1660" fmla="*/ 2031113 h 7134208"/>
              <a:gd name="connsiteX38-1661" fmla="*/ 5273037 w 9397013"/>
              <a:gd name="connsiteY38-1662" fmla="*/ 1732846 h 7134208"/>
              <a:gd name="connsiteX39-1663" fmla="*/ 9397013 w 9397013"/>
              <a:gd name="connsiteY39-1664" fmla="*/ 7134207 h 7134208"/>
              <a:gd name="connsiteX0-1665" fmla="*/ 168369 w 9397013"/>
              <a:gd name="connsiteY0-1666" fmla="*/ 4779933 h 7134208"/>
              <a:gd name="connsiteX1-1667" fmla="*/ 0 w 9397013"/>
              <a:gd name="connsiteY1-1668" fmla="*/ 4409146 h 7134208"/>
              <a:gd name="connsiteX2-1669" fmla="*/ 3332806 w 9397013"/>
              <a:gd name="connsiteY2-1670" fmla="*/ 0 h 7134208"/>
              <a:gd name="connsiteX3-1671" fmla="*/ 3628305 w 9397013"/>
              <a:gd name="connsiteY3-1672" fmla="*/ 208352 h 7134208"/>
              <a:gd name="connsiteX4-1673" fmla="*/ 168369 w 9397013"/>
              <a:gd name="connsiteY4-1674" fmla="*/ 4779933 h 7134208"/>
              <a:gd name="connsiteX5-1675" fmla="*/ 488220 w 9397013"/>
              <a:gd name="connsiteY5-1676" fmla="*/ 5484315 h 7134208"/>
              <a:gd name="connsiteX6-1677" fmla="*/ 299082 w 9397013"/>
              <a:gd name="connsiteY6-1678" fmla="*/ 5067791 h 7134208"/>
              <a:gd name="connsiteX7-1679" fmla="*/ 3977147 w 9397013"/>
              <a:gd name="connsiteY7-1680" fmla="*/ 212075 h 7134208"/>
              <a:gd name="connsiteX8-1681" fmla="*/ 4465006 w 9397013"/>
              <a:gd name="connsiteY8-1682" fmla="*/ 209192 h 7134208"/>
              <a:gd name="connsiteX9-1683" fmla="*/ 488220 w 9397013"/>
              <a:gd name="connsiteY9-1684" fmla="*/ 5484315 h 7134208"/>
              <a:gd name="connsiteX10-1685" fmla="*/ 779421 w 9397013"/>
              <a:gd name="connsiteY10-1686" fmla="*/ 6125606 h 7134208"/>
              <a:gd name="connsiteX11-1687" fmla="*/ 618065 w 9397013"/>
              <a:gd name="connsiteY11-1688" fmla="*/ 5770263 h 7134208"/>
              <a:gd name="connsiteX12-1689" fmla="*/ 4805164 w 9397013"/>
              <a:gd name="connsiteY12-1690" fmla="*/ 212954 h 7134208"/>
              <a:gd name="connsiteX13-1691" fmla="*/ 5260238 w 9397013"/>
              <a:gd name="connsiteY13-1692" fmla="*/ 234131 h 7134208"/>
              <a:gd name="connsiteX14-1693" fmla="*/ 779421 w 9397013"/>
              <a:gd name="connsiteY14-1694" fmla="*/ 6125606 h 7134208"/>
              <a:gd name="connsiteX15-1695" fmla="*/ 1099910 w 9397013"/>
              <a:gd name="connsiteY15-1696" fmla="*/ 6831395 h 7134208"/>
              <a:gd name="connsiteX16-1697" fmla="*/ 919656 w 9397013"/>
              <a:gd name="connsiteY16-1698" fmla="*/ 6434435 h 7134208"/>
              <a:gd name="connsiteX17-1699" fmla="*/ 5641256 w 9397013"/>
              <a:gd name="connsiteY17-1700" fmla="*/ 212436 h 7134208"/>
              <a:gd name="connsiteX18-1701" fmla="*/ 6077099 w 9397013"/>
              <a:gd name="connsiteY18-1702" fmla="*/ 225638 h 7134208"/>
              <a:gd name="connsiteX19-1703" fmla="*/ 1099910 w 9397013"/>
              <a:gd name="connsiteY19-1704" fmla="*/ 6831395 h 7134208"/>
              <a:gd name="connsiteX20-1705" fmla="*/ 6958778 w 9397013"/>
              <a:gd name="connsiteY20-1706" fmla="*/ 7124971 h 7134208"/>
              <a:gd name="connsiteX21-1707" fmla="*/ 6560038 w 9397013"/>
              <a:gd name="connsiteY21-1708" fmla="*/ 7134207 h 7134208"/>
              <a:gd name="connsiteX22-1709" fmla="*/ 3849932 w 9397013"/>
              <a:gd name="connsiteY22-1710" fmla="*/ 3596670 h 7134208"/>
              <a:gd name="connsiteX23-1711" fmla="*/ 4086202 w 9397013"/>
              <a:gd name="connsiteY23-1712" fmla="*/ 3287229 h 7134208"/>
              <a:gd name="connsiteX24-1713" fmla="*/ 6958778 w 9397013"/>
              <a:gd name="connsiteY24-1714" fmla="*/ 7124971 h 7134208"/>
              <a:gd name="connsiteX25-1715" fmla="*/ 7777211 w 9397013"/>
              <a:gd name="connsiteY25-1716" fmla="*/ 7124972 h 7134208"/>
              <a:gd name="connsiteX26-1717" fmla="*/ 7324729 w 9397013"/>
              <a:gd name="connsiteY26-1718" fmla="*/ 7124972 h 7134208"/>
              <a:gd name="connsiteX27-1719" fmla="*/ 4245793 w 9397013"/>
              <a:gd name="connsiteY27-1720" fmla="*/ 3078214 h 7134208"/>
              <a:gd name="connsiteX28-1721" fmla="*/ 4490696 w 9397013"/>
              <a:gd name="connsiteY28-1722" fmla="*/ 2757469 h 7134208"/>
              <a:gd name="connsiteX29-1723" fmla="*/ 7777211 w 9397013"/>
              <a:gd name="connsiteY29-1724" fmla="*/ 7124972 h 7134208"/>
              <a:gd name="connsiteX30-1725" fmla="*/ 8567691 w 9397013"/>
              <a:gd name="connsiteY30-1726" fmla="*/ 7124971 h 7134208"/>
              <a:gd name="connsiteX31-1727" fmla="*/ 8159389 w 9397013"/>
              <a:gd name="connsiteY31-1728" fmla="*/ 7134208 h 7134208"/>
              <a:gd name="connsiteX32-1729" fmla="*/ 4650570 w 9397013"/>
              <a:gd name="connsiteY32-1730" fmla="*/ 2548084 h 7134208"/>
              <a:gd name="connsiteX33-1731" fmla="*/ 4869244 w 9397013"/>
              <a:gd name="connsiteY33-1732" fmla="*/ 2261689 h 7134208"/>
              <a:gd name="connsiteX34-1733" fmla="*/ 8567691 w 9397013"/>
              <a:gd name="connsiteY34-1734" fmla="*/ 7124971 h 7134208"/>
              <a:gd name="connsiteX35-1735" fmla="*/ 9397013 w 9397013"/>
              <a:gd name="connsiteY35-1736" fmla="*/ 7134207 h 7134208"/>
              <a:gd name="connsiteX36-1737" fmla="*/ 8921338 w 9397013"/>
              <a:gd name="connsiteY36-1738" fmla="*/ 7115735 h 7134208"/>
              <a:gd name="connsiteX37-1739" fmla="*/ 5045299 w 9397013"/>
              <a:gd name="connsiteY37-1740" fmla="*/ 2031113 h 7134208"/>
              <a:gd name="connsiteX38-1741" fmla="*/ 5273037 w 9397013"/>
              <a:gd name="connsiteY38-1742" fmla="*/ 1732846 h 7134208"/>
              <a:gd name="connsiteX39-1743" fmla="*/ 9397013 w 9397013"/>
              <a:gd name="connsiteY39-1744" fmla="*/ 7134207 h 7134208"/>
              <a:gd name="connsiteX0-1745" fmla="*/ 168369 w 9397013"/>
              <a:gd name="connsiteY0-1746" fmla="*/ 4571581 h 6925856"/>
              <a:gd name="connsiteX1-1747" fmla="*/ 0 w 9397013"/>
              <a:gd name="connsiteY1-1748" fmla="*/ 4200794 h 6925856"/>
              <a:gd name="connsiteX2-1749" fmla="*/ 3175788 w 9397013"/>
              <a:gd name="connsiteY2-1750" fmla="*/ 4084 h 6925856"/>
              <a:gd name="connsiteX3-1751" fmla="*/ 3628305 w 9397013"/>
              <a:gd name="connsiteY3-1752" fmla="*/ 0 h 6925856"/>
              <a:gd name="connsiteX4-1753" fmla="*/ 168369 w 9397013"/>
              <a:gd name="connsiteY4-1754" fmla="*/ 4571581 h 6925856"/>
              <a:gd name="connsiteX5-1755" fmla="*/ 488220 w 9397013"/>
              <a:gd name="connsiteY5-1756" fmla="*/ 5275963 h 6925856"/>
              <a:gd name="connsiteX6-1757" fmla="*/ 299082 w 9397013"/>
              <a:gd name="connsiteY6-1758" fmla="*/ 4859439 h 6925856"/>
              <a:gd name="connsiteX7-1759" fmla="*/ 3977147 w 9397013"/>
              <a:gd name="connsiteY7-1760" fmla="*/ 3723 h 6925856"/>
              <a:gd name="connsiteX8-1761" fmla="*/ 4465006 w 9397013"/>
              <a:gd name="connsiteY8-1762" fmla="*/ 840 h 6925856"/>
              <a:gd name="connsiteX9-1763" fmla="*/ 488220 w 9397013"/>
              <a:gd name="connsiteY9-1764" fmla="*/ 5275963 h 6925856"/>
              <a:gd name="connsiteX10-1765" fmla="*/ 779421 w 9397013"/>
              <a:gd name="connsiteY10-1766" fmla="*/ 5917254 h 6925856"/>
              <a:gd name="connsiteX11-1767" fmla="*/ 618065 w 9397013"/>
              <a:gd name="connsiteY11-1768" fmla="*/ 5561911 h 6925856"/>
              <a:gd name="connsiteX12-1769" fmla="*/ 4805164 w 9397013"/>
              <a:gd name="connsiteY12-1770" fmla="*/ 4602 h 6925856"/>
              <a:gd name="connsiteX13-1771" fmla="*/ 5260238 w 9397013"/>
              <a:gd name="connsiteY13-1772" fmla="*/ 25779 h 6925856"/>
              <a:gd name="connsiteX14-1773" fmla="*/ 779421 w 9397013"/>
              <a:gd name="connsiteY14-1774" fmla="*/ 5917254 h 6925856"/>
              <a:gd name="connsiteX15-1775" fmla="*/ 1099910 w 9397013"/>
              <a:gd name="connsiteY15-1776" fmla="*/ 6623043 h 6925856"/>
              <a:gd name="connsiteX16-1777" fmla="*/ 919656 w 9397013"/>
              <a:gd name="connsiteY16-1778" fmla="*/ 6226083 h 6925856"/>
              <a:gd name="connsiteX17-1779" fmla="*/ 5641256 w 9397013"/>
              <a:gd name="connsiteY17-1780" fmla="*/ 4084 h 6925856"/>
              <a:gd name="connsiteX18-1781" fmla="*/ 6077099 w 9397013"/>
              <a:gd name="connsiteY18-1782" fmla="*/ 17286 h 6925856"/>
              <a:gd name="connsiteX19-1783" fmla="*/ 1099910 w 9397013"/>
              <a:gd name="connsiteY19-1784" fmla="*/ 6623043 h 6925856"/>
              <a:gd name="connsiteX20-1785" fmla="*/ 6958778 w 9397013"/>
              <a:gd name="connsiteY20-1786" fmla="*/ 6916619 h 6925856"/>
              <a:gd name="connsiteX21-1787" fmla="*/ 6560038 w 9397013"/>
              <a:gd name="connsiteY21-1788" fmla="*/ 6925855 h 6925856"/>
              <a:gd name="connsiteX22-1789" fmla="*/ 3849932 w 9397013"/>
              <a:gd name="connsiteY22-1790" fmla="*/ 3388318 h 6925856"/>
              <a:gd name="connsiteX23-1791" fmla="*/ 4086202 w 9397013"/>
              <a:gd name="connsiteY23-1792" fmla="*/ 3078877 h 6925856"/>
              <a:gd name="connsiteX24-1793" fmla="*/ 6958778 w 9397013"/>
              <a:gd name="connsiteY24-1794" fmla="*/ 6916619 h 6925856"/>
              <a:gd name="connsiteX25-1795" fmla="*/ 7777211 w 9397013"/>
              <a:gd name="connsiteY25-1796" fmla="*/ 6916620 h 6925856"/>
              <a:gd name="connsiteX26-1797" fmla="*/ 7324729 w 9397013"/>
              <a:gd name="connsiteY26-1798" fmla="*/ 6916620 h 6925856"/>
              <a:gd name="connsiteX27-1799" fmla="*/ 4245793 w 9397013"/>
              <a:gd name="connsiteY27-1800" fmla="*/ 2869862 h 6925856"/>
              <a:gd name="connsiteX28-1801" fmla="*/ 4490696 w 9397013"/>
              <a:gd name="connsiteY28-1802" fmla="*/ 2549117 h 6925856"/>
              <a:gd name="connsiteX29-1803" fmla="*/ 7777211 w 9397013"/>
              <a:gd name="connsiteY29-1804" fmla="*/ 6916620 h 6925856"/>
              <a:gd name="connsiteX30-1805" fmla="*/ 8567691 w 9397013"/>
              <a:gd name="connsiteY30-1806" fmla="*/ 6916619 h 6925856"/>
              <a:gd name="connsiteX31-1807" fmla="*/ 8159389 w 9397013"/>
              <a:gd name="connsiteY31-1808" fmla="*/ 6925856 h 6925856"/>
              <a:gd name="connsiteX32-1809" fmla="*/ 4650570 w 9397013"/>
              <a:gd name="connsiteY32-1810" fmla="*/ 2339732 h 6925856"/>
              <a:gd name="connsiteX33-1811" fmla="*/ 4869244 w 9397013"/>
              <a:gd name="connsiteY33-1812" fmla="*/ 2053337 h 6925856"/>
              <a:gd name="connsiteX34-1813" fmla="*/ 8567691 w 9397013"/>
              <a:gd name="connsiteY34-1814" fmla="*/ 6916619 h 6925856"/>
              <a:gd name="connsiteX35-1815" fmla="*/ 9397013 w 9397013"/>
              <a:gd name="connsiteY35-1816" fmla="*/ 6925855 h 6925856"/>
              <a:gd name="connsiteX36-1817" fmla="*/ 8921338 w 9397013"/>
              <a:gd name="connsiteY36-1818" fmla="*/ 6907383 h 6925856"/>
              <a:gd name="connsiteX37-1819" fmla="*/ 5045299 w 9397013"/>
              <a:gd name="connsiteY37-1820" fmla="*/ 1822761 h 6925856"/>
              <a:gd name="connsiteX38-1821" fmla="*/ 5273037 w 9397013"/>
              <a:gd name="connsiteY38-1822" fmla="*/ 1524494 h 6925856"/>
              <a:gd name="connsiteX39-1823" fmla="*/ 9397013 w 9397013"/>
              <a:gd name="connsiteY39-1824" fmla="*/ 6925855 h 6925856"/>
              <a:gd name="connsiteX0-1825" fmla="*/ 168369 w 9397013"/>
              <a:gd name="connsiteY0-1826" fmla="*/ 4571581 h 6925856"/>
              <a:gd name="connsiteX1-1827" fmla="*/ 0 w 9397013"/>
              <a:gd name="connsiteY1-1828" fmla="*/ 4200794 h 6925856"/>
              <a:gd name="connsiteX2-1829" fmla="*/ 3175788 w 9397013"/>
              <a:gd name="connsiteY2-1830" fmla="*/ 4084 h 6925856"/>
              <a:gd name="connsiteX3-1831" fmla="*/ 3628305 w 9397013"/>
              <a:gd name="connsiteY3-1832" fmla="*/ 0 h 6925856"/>
              <a:gd name="connsiteX4-1833" fmla="*/ 168369 w 9397013"/>
              <a:gd name="connsiteY4-1834" fmla="*/ 4571581 h 6925856"/>
              <a:gd name="connsiteX5-1835" fmla="*/ 488220 w 9397013"/>
              <a:gd name="connsiteY5-1836" fmla="*/ 5275963 h 6925856"/>
              <a:gd name="connsiteX6-1837" fmla="*/ 299082 w 9397013"/>
              <a:gd name="connsiteY6-1838" fmla="*/ 4859439 h 6925856"/>
              <a:gd name="connsiteX7-1839" fmla="*/ 3977147 w 9397013"/>
              <a:gd name="connsiteY7-1840" fmla="*/ 3723 h 6925856"/>
              <a:gd name="connsiteX8-1841" fmla="*/ 4465006 w 9397013"/>
              <a:gd name="connsiteY8-1842" fmla="*/ 840 h 6925856"/>
              <a:gd name="connsiteX9-1843" fmla="*/ 488220 w 9397013"/>
              <a:gd name="connsiteY9-1844" fmla="*/ 5275963 h 6925856"/>
              <a:gd name="connsiteX10-1845" fmla="*/ 779421 w 9397013"/>
              <a:gd name="connsiteY10-1846" fmla="*/ 5917254 h 6925856"/>
              <a:gd name="connsiteX11-1847" fmla="*/ 618065 w 9397013"/>
              <a:gd name="connsiteY11-1848" fmla="*/ 5561911 h 6925856"/>
              <a:gd name="connsiteX12-1849" fmla="*/ 4805164 w 9397013"/>
              <a:gd name="connsiteY12-1850" fmla="*/ 4602 h 6925856"/>
              <a:gd name="connsiteX13-1851" fmla="*/ 5260238 w 9397013"/>
              <a:gd name="connsiteY13-1852" fmla="*/ 25779 h 6925856"/>
              <a:gd name="connsiteX14-1853" fmla="*/ 779421 w 9397013"/>
              <a:gd name="connsiteY14-1854" fmla="*/ 5917254 h 6925856"/>
              <a:gd name="connsiteX15-1855" fmla="*/ 1598673 w 9397013"/>
              <a:gd name="connsiteY15-1856" fmla="*/ 5976498 h 6925856"/>
              <a:gd name="connsiteX16-1857" fmla="*/ 919656 w 9397013"/>
              <a:gd name="connsiteY16-1858" fmla="*/ 6226083 h 6925856"/>
              <a:gd name="connsiteX17-1859" fmla="*/ 5641256 w 9397013"/>
              <a:gd name="connsiteY17-1860" fmla="*/ 4084 h 6925856"/>
              <a:gd name="connsiteX18-1861" fmla="*/ 6077099 w 9397013"/>
              <a:gd name="connsiteY18-1862" fmla="*/ 17286 h 6925856"/>
              <a:gd name="connsiteX19-1863" fmla="*/ 1598673 w 9397013"/>
              <a:gd name="connsiteY19-1864" fmla="*/ 5976498 h 6925856"/>
              <a:gd name="connsiteX20-1865" fmla="*/ 6958778 w 9397013"/>
              <a:gd name="connsiteY20-1866" fmla="*/ 6916619 h 6925856"/>
              <a:gd name="connsiteX21-1867" fmla="*/ 6560038 w 9397013"/>
              <a:gd name="connsiteY21-1868" fmla="*/ 6925855 h 6925856"/>
              <a:gd name="connsiteX22-1869" fmla="*/ 3849932 w 9397013"/>
              <a:gd name="connsiteY22-1870" fmla="*/ 3388318 h 6925856"/>
              <a:gd name="connsiteX23-1871" fmla="*/ 4086202 w 9397013"/>
              <a:gd name="connsiteY23-1872" fmla="*/ 3078877 h 6925856"/>
              <a:gd name="connsiteX24-1873" fmla="*/ 6958778 w 9397013"/>
              <a:gd name="connsiteY24-1874" fmla="*/ 6916619 h 6925856"/>
              <a:gd name="connsiteX25-1875" fmla="*/ 7777211 w 9397013"/>
              <a:gd name="connsiteY25-1876" fmla="*/ 6916620 h 6925856"/>
              <a:gd name="connsiteX26-1877" fmla="*/ 7324729 w 9397013"/>
              <a:gd name="connsiteY26-1878" fmla="*/ 6916620 h 6925856"/>
              <a:gd name="connsiteX27-1879" fmla="*/ 4245793 w 9397013"/>
              <a:gd name="connsiteY27-1880" fmla="*/ 2869862 h 6925856"/>
              <a:gd name="connsiteX28-1881" fmla="*/ 4490696 w 9397013"/>
              <a:gd name="connsiteY28-1882" fmla="*/ 2549117 h 6925856"/>
              <a:gd name="connsiteX29-1883" fmla="*/ 7777211 w 9397013"/>
              <a:gd name="connsiteY29-1884" fmla="*/ 6916620 h 6925856"/>
              <a:gd name="connsiteX30-1885" fmla="*/ 8567691 w 9397013"/>
              <a:gd name="connsiteY30-1886" fmla="*/ 6916619 h 6925856"/>
              <a:gd name="connsiteX31-1887" fmla="*/ 8159389 w 9397013"/>
              <a:gd name="connsiteY31-1888" fmla="*/ 6925856 h 6925856"/>
              <a:gd name="connsiteX32-1889" fmla="*/ 4650570 w 9397013"/>
              <a:gd name="connsiteY32-1890" fmla="*/ 2339732 h 6925856"/>
              <a:gd name="connsiteX33-1891" fmla="*/ 4869244 w 9397013"/>
              <a:gd name="connsiteY33-1892" fmla="*/ 2053337 h 6925856"/>
              <a:gd name="connsiteX34-1893" fmla="*/ 8567691 w 9397013"/>
              <a:gd name="connsiteY34-1894" fmla="*/ 6916619 h 6925856"/>
              <a:gd name="connsiteX35-1895" fmla="*/ 9397013 w 9397013"/>
              <a:gd name="connsiteY35-1896" fmla="*/ 6925855 h 6925856"/>
              <a:gd name="connsiteX36-1897" fmla="*/ 8921338 w 9397013"/>
              <a:gd name="connsiteY36-1898" fmla="*/ 6907383 h 6925856"/>
              <a:gd name="connsiteX37-1899" fmla="*/ 5045299 w 9397013"/>
              <a:gd name="connsiteY37-1900" fmla="*/ 1822761 h 6925856"/>
              <a:gd name="connsiteX38-1901" fmla="*/ 5273037 w 9397013"/>
              <a:gd name="connsiteY38-1902" fmla="*/ 1524494 h 6925856"/>
              <a:gd name="connsiteX39-1903" fmla="*/ 9397013 w 9397013"/>
              <a:gd name="connsiteY39-1904" fmla="*/ 6925855 h 6925856"/>
              <a:gd name="connsiteX0-1905" fmla="*/ 168369 w 9397013"/>
              <a:gd name="connsiteY0-1906" fmla="*/ 4571581 h 6925856"/>
              <a:gd name="connsiteX1-1907" fmla="*/ 0 w 9397013"/>
              <a:gd name="connsiteY1-1908" fmla="*/ 4200794 h 6925856"/>
              <a:gd name="connsiteX2-1909" fmla="*/ 3175788 w 9397013"/>
              <a:gd name="connsiteY2-1910" fmla="*/ 4084 h 6925856"/>
              <a:gd name="connsiteX3-1911" fmla="*/ 3628305 w 9397013"/>
              <a:gd name="connsiteY3-1912" fmla="*/ 0 h 6925856"/>
              <a:gd name="connsiteX4-1913" fmla="*/ 168369 w 9397013"/>
              <a:gd name="connsiteY4-1914" fmla="*/ 4571581 h 6925856"/>
              <a:gd name="connsiteX5-1915" fmla="*/ 488220 w 9397013"/>
              <a:gd name="connsiteY5-1916" fmla="*/ 5275963 h 6925856"/>
              <a:gd name="connsiteX6-1917" fmla="*/ 299082 w 9397013"/>
              <a:gd name="connsiteY6-1918" fmla="*/ 4859439 h 6925856"/>
              <a:gd name="connsiteX7-1919" fmla="*/ 3977147 w 9397013"/>
              <a:gd name="connsiteY7-1920" fmla="*/ 3723 h 6925856"/>
              <a:gd name="connsiteX8-1921" fmla="*/ 4465006 w 9397013"/>
              <a:gd name="connsiteY8-1922" fmla="*/ 840 h 6925856"/>
              <a:gd name="connsiteX9-1923" fmla="*/ 488220 w 9397013"/>
              <a:gd name="connsiteY9-1924" fmla="*/ 5275963 h 6925856"/>
              <a:gd name="connsiteX10-1925" fmla="*/ 779421 w 9397013"/>
              <a:gd name="connsiteY10-1926" fmla="*/ 5917254 h 6925856"/>
              <a:gd name="connsiteX11-1927" fmla="*/ 618065 w 9397013"/>
              <a:gd name="connsiteY11-1928" fmla="*/ 5561911 h 6925856"/>
              <a:gd name="connsiteX12-1929" fmla="*/ 4805164 w 9397013"/>
              <a:gd name="connsiteY12-1930" fmla="*/ 4602 h 6925856"/>
              <a:gd name="connsiteX13-1931" fmla="*/ 5260238 w 9397013"/>
              <a:gd name="connsiteY13-1932" fmla="*/ 25779 h 6925856"/>
              <a:gd name="connsiteX14-1933" fmla="*/ 779421 w 9397013"/>
              <a:gd name="connsiteY14-1934" fmla="*/ 5917254 h 6925856"/>
              <a:gd name="connsiteX15-1935" fmla="*/ 1598673 w 9397013"/>
              <a:gd name="connsiteY15-1936" fmla="*/ 5976498 h 6925856"/>
              <a:gd name="connsiteX16-1937" fmla="*/ 1566201 w 9397013"/>
              <a:gd name="connsiteY16-1938" fmla="*/ 5394811 h 6925856"/>
              <a:gd name="connsiteX17-1939" fmla="*/ 5641256 w 9397013"/>
              <a:gd name="connsiteY17-1940" fmla="*/ 4084 h 6925856"/>
              <a:gd name="connsiteX18-1941" fmla="*/ 6077099 w 9397013"/>
              <a:gd name="connsiteY18-1942" fmla="*/ 17286 h 6925856"/>
              <a:gd name="connsiteX19-1943" fmla="*/ 1598673 w 9397013"/>
              <a:gd name="connsiteY19-1944" fmla="*/ 5976498 h 6925856"/>
              <a:gd name="connsiteX20-1945" fmla="*/ 6958778 w 9397013"/>
              <a:gd name="connsiteY20-1946" fmla="*/ 6916619 h 6925856"/>
              <a:gd name="connsiteX21-1947" fmla="*/ 6560038 w 9397013"/>
              <a:gd name="connsiteY21-1948" fmla="*/ 6925855 h 6925856"/>
              <a:gd name="connsiteX22-1949" fmla="*/ 3849932 w 9397013"/>
              <a:gd name="connsiteY22-1950" fmla="*/ 3388318 h 6925856"/>
              <a:gd name="connsiteX23-1951" fmla="*/ 4086202 w 9397013"/>
              <a:gd name="connsiteY23-1952" fmla="*/ 3078877 h 6925856"/>
              <a:gd name="connsiteX24-1953" fmla="*/ 6958778 w 9397013"/>
              <a:gd name="connsiteY24-1954" fmla="*/ 6916619 h 6925856"/>
              <a:gd name="connsiteX25-1955" fmla="*/ 7777211 w 9397013"/>
              <a:gd name="connsiteY25-1956" fmla="*/ 6916620 h 6925856"/>
              <a:gd name="connsiteX26-1957" fmla="*/ 7324729 w 9397013"/>
              <a:gd name="connsiteY26-1958" fmla="*/ 6916620 h 6925856"/>
              <a:gd name="connsiteX27-1959" fmla="*/ 4245793 w 9397013"/>
              <a:gd name="connsiteY27-1960" fmla="*/ 2869862 h 6925856"/>
              <a:gd name="connsiteX28-1961" fmla="*/ 4490696 w 9397013"/>
              <a:gd name="connsiteY28-1962" fmla="*/ 2549117 h 6925856"/>
              <a:gd name="connsiteX29-1963" fmla="*/ 7777211 w 9397013"/>
              <a:gd name="connsiteY29-1964" fmla="*/ 6916620 h 6925856"/>
              <a:gd name="connsiteX30-1965" fmla="*/ 8567691 w 9397013"/>
              <a:gd name="connsiteY30-1966" fmla="*/ 6916619 h 6925856"/>
              <a:gd name="connsiteX31-1967" fmla="*/ 8159389 w 9397013"/>
              <a:gd name="connsiteY31-1968" fmla="*/ 6925856 h 6925856"/>
              <a:gd name="connsiteX32-1969" fmla="*/ 4650570 w 9397013"/>
              <a:gd name="connsiteY32-1970" fmla="*/ 2339732 h 6925856"/>
              <a:gd name="connsiteX33-1971" fmla="*/ 4869244 w 9397013"/>
              <a:gd name="connsiteY33-1972" fmla="*/ 2053337 h 6925856"/>
              <a:gd name="connsiteX34-1973" fmla="*/ 8567691 w 9397013"/>
              <a:gd name="connsiteY34-1974" fmla="*/ 6916619 h 6925856"/>
              <a:gd name="connsiteX35-1975" fmla="*/ 9397013 w 9397013"/>
              <a:gd name="connsiteY35-1976" fmla="*/ 6925855 h 6925856"/>
              <a:gd name="connsiteX36-1977" fmla="*/ 8921338 w 9397013"/>
              <a:gd name="connsiteY36-1978" fmla="*/ 6907383 h 6925856"/>
              <a:gd name="connsiteX37-1979" fmla="*/ 5045299 w 9397013"/>
              <a:gd name="connsiteY37-1980" fmla="*/ 1822761 h 6925856"/>
              <a:gd name="connsiteX38-1981" fmla="*/ 5273037 w 9397013"/>
              <a:gd name="connsiteY38-1982" fmla="*/ 1524494 h 6925856"/>
              <a:gd name="connsiteX39-1983" fmla="*/ 9397013 w 9397013"/>
              <a:gd name="connsiteY39-1984" fmla="*/ 6925855 h 6925856"/>
              <a:gd name="connsiteX0-1985" fmla="*/ 168369 w 9397013"/>
              <a:gd name="connsiteY0-1986" fmla="*/ 4571581 h 6925856"/>
              <a:gd name="connsiteX1-1987" fmla="*/ 0 w 9397013"/>
              <a:gd name="connsiteY1-1988" fmla="*/ 4200794 h 6925856"/>
              <a:gd name="connsiteX2-1989" fmla="*/ 3175788 w 9397013"/>
              <a:gd name="connsiteY2-1990" fmla="*/ 4084 h 6925856"/>
              <a:gd name="connsiteX3-1991" fmla="*/ 3628305 w 9397013"/>
              <a:gd name="connsiteY3-1992" fmla="*/ 0 h 6925856"/>
              <a:gd name="connsiteX4-1993" fmla="*/ 168369 w 9397013"/>
              <a:gd name="connsiteY4-1994" fmla="*/ 4571581 h 6925856"/>
              <a:gd name="connsiteX5-1995" fmla="*/ 488220 w 9397013"/>
              <a:gd name="connsiteY5-1996" fmla="*/ 5275963 h 6925856"/>
              <a:gd name="connsiteX6-1997" fmla="*/ 299082 w 9397013"/>
              <a:gd name="connsiteY6-1998" fmla="*/ 4859439 h 6925856"/>
              <a:gd name="connsiteX7-1999" fmla="*/ 3977147 w 9397013"/>
              <a:gd name="connsiteY7-2000" fmla="*/ 3723 h 6925856"/>
              <a:gd name="connsiteX8-2001" fmla="*/ 4465006 w 9397013"/>
              <a:gd name="connsiteY8-2002" fmla="*/ 840 h 6925856"/>
              <a:gd name="connsiteX9-2003" fmla="*/ 488220 w 9397013"/>
              <a:gd name="connsiteY9-2004" fmla="*/ 5275963 h 6925856"/>
              <a:gd name="connsiteX10-2005" fmla="*/ 779421 w 9397013"/>
              <a:gd name="connsiteY10-2006" fmla="*/ 5917254 h 6925856"/>
              <a:gd name="connsiteX11-2007" fmla="*/ 618065 w 9397013"/>
              <a:gd name="connsiteY11-2008" fmla="*/ 5561911 h 6925856"/>
              <a:gd name="connsiteX12-2009" fmla="*/ 4805164 w 9397013"/>
              <a:gd name="connsiteY12-2010" fmla="*/ 4602 h 6925856"/>
              <a:gd name="connsiteX13-2011" fmla="*/ 5260238 w 9397013"/>
              <a:gd name="connsiteY13-2012" fmla="*/ 25779 h 6925856"/>
              <a:gd name="connsiteX14-2013" fmla="*/ 779421 w 9397013"/>
              <a:gd name="connsiteY14-2014" fmla="*/ 5917254 h 6925856"/>
              <a:gd name="connsiteX15-2015" fmla="*/ 1580200 w 9397013"/>
              <a:gd name="connsiteY15-2016" fmla="*/ 5985735 h 6925856"/>
              <a:gd name="connsiteX16-2017" fmla="*/ 1566201 w 9397013"/>
              <a:gd name="connsiteY16-2018" fmla="*/ 5394811 h 6925856"/>
              <a:gd name="connsiteX17-2019" fmla="*/ 5641256 w 9397013"/>
              <a:gd name="connsiteY17-2020" fmla="*/ 4084 h 6925856"/>
              <a:gd name="connsiteX18-2021" fmla="*/ 6077099 w 9397013"/>
              <a:gd name="connsiteY18-2022" fmla="*/ 17286 h 6925856"/>
              <a:gd name="connsiteX19-2023" fmla="*/ 1580200 w 9397013"/>
              <a:gd name="connsiteY19-2024" fmla="*/ 5985735 h 6925856"/>
              <a:gd name="connsiteX20-2025" fmla="*/ 6958778 w 9397013"/>
              <a:gd name="connsiteY20-2026" fmla="*/ 6916619 h 6925856"/>
              <a:gd name="connsiteX21-2027" fmla="*/ 6560038 w 9397013"/>
              <a:gd name="connsiteY21-2028" fmla="*/ 6925855 h 6925856"/>
              <a:gd name="connsiteX22-2029" fmla="*/ 3849932 w 9397013"/>
              <a:gd name="connsiteY22-2030" fmla="*/ 3388318 h 6925856"/>
              <a:gd name="connsiteX23-2031" fmla="*/ 4086202 w 9397013"/>
              <a:gd name="connsiteY23-2032" fmla="*/ 3078877 h 6925856"/>
              <a:gd name="connsiteX24-2033" fmla="*/ 6958778 w 9397013"/>
              <a:gd name="connsiteY24-2034" fmla="*/ 6916619 h 6925856"/>
              <a:gd name="connsiteX25-2035" fmla="*/ 7777211 w 9397013"/>
              <a:gd name="connsiteY25-2036" fmla="*/ 6916620 h 6925856"/>
              <a:gd name="connsiteX26-2037" fmla="*/ 7324729 w 9397013"/>
              <a:gd name="connsiteY26-2038" fmla="*/ 6916620 h 6925856"/>
              <a:gd name="connsiteX27-2039" fmla="*/ 4245793 w 9397013"/>
              <a:gd name="connsiteY27-2040" fmla="*/ 2869862 h 6925856"/>
              <a:gd name="connsiteX28-2041" fmla="*/ 4490696 w 9397013"/>
              <a:gd name="connsiteY28-2042" fmla="*/ 2549117 h 6925856"/>
              <a:gd name="connsiteX29-2043" fmla="*/ 7777211 w 9397013"/>
              <a:gd name="connsiteY29-2044" fmla="*/ 6916620 h 6925856"/>
              <a:gd name="connsiteX30-2045" fmla="*/ 8567691 w 9397013"/>
              <a:gd name="connsiteY30-2046" fmla="*/ 6916619 h 6925856"/>
              <a:gd name="connsiteX31-2047" fmla="*/ 8159389 w 9397013"/>
              <a:gd name="connsiteY31-2048" fmla="*/ 6925856 h 6925856"/>
              <a:gd name="connsiteX32-2049" fmla="*/ 4650570 w 9397013"/>
              <a:gd name="connsiteY32-2050" fmla="*/ 2339732 h 6925856"/>
              <a:gd name="connsiteX33-2051" fmla="*/ 4869244 w 9397013"/>
              <a:gd name="connsiteY33-2052" fmla="*/ 2053337 h 6925856"/>
              <a:gd name="connsiteX34-2053" fmla="*/ 8567691 w 9397013"/>
              <a:gd name="connsiteY34-2054" fmla="*/ 6916619 h 6925856"/>
              <a:gd name="connsiteX35-2055" fmla="*/ 9397013 w 9397013"/>
              <a:gd name="connsiteY35-2056" fmla="*/ 6925855 h 6925856"/>
              <a:gd name="connsiteX36-2057" fmla="*/ 8921338 w 9397013"/>
              <a:gd name="connsiteY36-2058" fmla="*/ 6907383 h 6925856"/>
              <a:gd name="connsiteX37-2059" fmla="*/ 5045299 w 9397013"/>
              <a:gd name="connsiteY37-2060" fmla="*/ 1822761 h 6925856"/>
              <a:gd name="connsiteX38-2061" fmla="*/ 5273037 w 9397013"/>
              <a:gd name="connsiteY38-2062" fmla="*/ 1524494 h 6925856"/>
              <a:gd name="connsiteX39-2063" fmla="*/ 9397013 w 9397013"/>
              <a:gd name="connsiteY39-2064" fmla="*/ 6925855 h 6925856"/>
              <a:gd name="connsiteX0-2065" fmla="*/ 168369 w 9397013"/>
              <a:gd name="connsiteY0-2066" fmla="*/ 4571581 h 6925856"/>
              <a:gd name="connsiteX1-2067" fmla="*/ 0 w 9397013"/>
              <a:gd name="connsiteY1-2068" fmla="*/ 4200794 h 6925856"/>
              <a:gd name="connsiteX2-2069" fmla="*/ 3175788 w 9397013"/>
              <a:gd name="connsiteY2-2070" fmla="*/ 4084 h 6925856"/>
              <a:gd name="connsiteX3-2071" fmla="*/ 3628305 w 9397013"/>
              <a:gd name="connsiteY3-2072" fmla="*/ 0 h 6925856"/>
              <a:gd name="connsiteX4-2073" fmla="*/ 168369 w 9397013"/>
              <a:gd name="connsiteY4-2074" fmla="*/ 4571581 h 6925856"/>
              <a:gd name="connsiteX5-2075" fmla="*/ 488220 w 9397013"/>
              <a:gd name="connsiteY5-2076" fmla="*/ 5275963 h 6925856"/>
              <a:gd name="connsiteX6-2077" fmla="*/ 299082 w 9397013"/>
              <a:gd name="connsiteY6-2078" fmla="*/ 4859439 h 6925856"/>
              <a:gd name="connsiteX7-2079" fmla="*/ 3977147 w 9397013"/>
              <a:gd name="connsiteY7-2080" fmla="*/ 3723 h 6925856"/>
              <a:gd name="connsiteX8-2081" fmla="*/ 4465006 w 9397013"/>
              <a:gd name="connsiteY8-2082" fmla="*/ 840 h 6925856"/>
              <a:gd name="connsiteX9-2083" fmla="*/ 488220 w 9397013"/>
              <a:gd name="connsiteY9-2084" fmla="*/ 5275963 h 6925856"/>
              <a:gd name="connsiteX10-2085" fmla="*/ 1601458 w 9397013"/>
              <a:gd name="connsiteY10-2086" fmla="*/ 4845836 h 6925856"/>
              <a:gd name="connsiteX11-2087" fmla="*/ 618065 w 9397013"/>
              <a:gd name="connsiteY11-2088" fmla="*/ 5561911 h 6925856"/>
              <a:gd name="connsiteX12-2089" fmla="*/ 4805164 w 9397013"/>
              <a:gd name="connsiteY12-2090" fmla="*/ 4602 h 6925856"/>
              <a:gd name="connsiteX13-2091" fmla="*/ 5260238 w 9397013"/>
              <a:gd name="connsiteY13-2092" fmla="*/ 25779 h 6925856"/>
              <a:gd name="connsiteX14-2093" fmla="*/ 1601458 w 9397013"/>
              <a:gd name="connsiteY14-2094" fmla="*/ 4845836 h 6925856"/>
              <a:gd name="connsiteX15-2095" fmla="*/ 1580200 w 9397013"/>
              <a:gd name="connsiteY15-2096" fmla="*/ 5985735 h 6925856"/>
              <a:gd name="connsiteX16-2097" fmla="*/ 1566201 w 9397013"/>
              <a:gd name="connsiteY16-2098" fmla="*/ 5394811 h 6925856"/>
              <a:gd name="connsiteX17-2099" fmla="*/ 5641256 w 9397013"/>
              <a:gd name="connsiteY17-2100" fmla="*/ 4084 h 6925856"/>
              <a:gd name="connsiteX18-2101" fmla="*/ 6077099 w 9397013"/>
              <a:gd name="connsiteY18-2102" fmla="*/ 17286 h 6925856"/>
              <a:gd name="connsiteX19-2103" fmla="*/ 1580200 w 9397013"/>
              <a:gd name="connsiteY19-2104" fmla="*/ 5985735 h 6925856"/>
              <a:gd name="connsiteX20-2105" fmla="*/ 6958778 w 9397013"/>
              <a:gd name="connsiteY20-2106" fmla="*/ 6916619 h 6925856"/>
              <a:gd name="connsiteX21-2107" fmla="*/ 6560038 w 9397013"/>
              <a:gd name="connsiteY21-2108" fmla="*/ 6925855 h 6925856"/>
              <a:gd name="connsiteX22-2109" fmla="*/ 3849932 w 9397013"/>
              <a:gd name="connsiteY22-2110" fmla="*/ 3388318 h 6925856"/>
              <a:gd name="connsiteX23-2111" fmla="*/ 4086202 w 9397013"/>
              <a:gd name="connsiteY23-2112" fmla="*/ 3078877 h 6925856"/>
              <a:gd name="connsiteX24-2113" fmla="*/ 6958778 w 9397013"/>
              <a:gd name="connsiteY24-2114" fmla="*/ 6916619 h 6925856"/>
              <a:gd name="connsiteX25-2115" fmla="*/ 7777211 w 9397013"/>
              <a:gd name="connsiteY25-2116" fmla="*/ 6916620 h 6925856"/>
              <a:gd name="connsiteX26-2117" fmla="*/ 7324729 w 9397013"/>
              <a:gd name="connsiteY26-2118" fmla="*/ 6916620 h 6925856"/>
              <a:gd name="connsiteX27-2119" fmla="*/ 4245793 w 9397013"/>
              <a:gd name="connsiteY27-2120" fmla="*/ 2869862 h 6925856"/>
              <a:gd name="connsiteX28-2121" fmla="*/ 4490696 w 9397013"/>
              <a:gd name="connsiteY28-2122" fmla="*/ 2549117 h 6925856"/>
              <a:gd name="connsiteX29-2123" fmla="*/ 7777211 w 9397013"/>
              <a:gd name="connsiteY29-2124" fmla="*/ 6916620 h 6925856"/>
              <a:gd name="connsiteX30-2125" fmla="*/ 8567691 w 9397013"/>
              <a:gd name="connsiteY30-2126" fmla="*/ 6916619 h 6925856"/>
              <a:gd name="connsiteX31-2127" fmla="*/ 8159389 w 9397013"/>
              <a:gd name="connsiteY31-2128" fmla="*/ 6925856 h 6925856"/>
              <a:gd name="connsiteX32-2129" fmla="*/ 4650570 w 9397013"/>
              <a:gd name="connsiteY32-2130" fmla="*/ 2339732 h 6925856"/>
              <a:gd name="connsiteX33-2131" fmla="*/ 4869244 w 9397013"/>
              <a:gd name="connsiteY33-2132" fmla="*/ 2053337 h 6925856"/>
              <a:gd name="connsiteX34-2133" fmla="*/ 8567691 w 9397013"/>
              <a:gd name="connsiteY34-2134" fmla="*/ 6916619 h 6925856"/>
              <a:gd name="connsiteX35-2135" fmla="*/ 9397013 w 9397013"/>
              <a:gd name="connsiteY35-2136" fmla="*/ 6925855 h 6925856"/>
              <a:gd name="connsiteX36-2137" fmla="*/ 8921338 w 9397013"/>
              <a:gd name="connsiteY36-2138" fmla="*/ 6907383 h 6925856"/>
              <a:gd name="connsiteX37-2139" fmla="*/ 5045299 w 9397013"/>
              <a:gd name="connsiteY37-2140" fmla="*/ 1822761 h 6925856"/>
              <a:gd name="connsiteX38-2141" fmla="*/ 5273037 w 9397013"/>
              <a:gd name="connsiteY38-2142" fmla="*/ 1524494 h 6925856"/>
              <a:gd name="connsiteX39-2143" fmla="*/ 9397013 w 9397013"/>
              <a:gd name="connsiteY39-2144" fmla="*/ 6925855 h 6925856"/>
              <a:gd name="connsiteX0-2145" fmla="*/ 168369 w 9397013"/>
              <a:gd name="connsiteY0-2146" fmla="*/ 4571581 h 6925856"/>
              <a:gd name="connsiteX1-2147" fmla="*/ 0 w 9397013"/>
              <a:gd name="connsiteY1-2148" fmla="*/ 4200794 h 6925856"/>
              <a:gd name="connsiteX2-2149" fmla="*/ 3175788 w 9397013"/>
              <a:gd name="connsiteY2-2150" fmla="*/ 4084 h 6925856"/>
              <a:gd name="connsiteX3-2151" fmla="*/ 3628305 w 9397013"/>
              <a:gd name="connsiteY3-2152" fmla="*/ 0 h 6925856"/>
              <a:gd name="connsiteX4-2153" fmla="*/ 168369 w 9397013"/>
              <a:gd name="connsiteY4-2154" fmla="*/ 4571581 h 6925856"/>
              <a:gd name="connsiteX5-2155" fmla="*/ 488220 w 9397013"/>
              <a:gd name="connsiteY5-2156" fmla="*/ 5275963 h 6925856"/>
              <a:gd name="connsiteX6-2157" fmla="*/ 299082 w 9397013"/>
              <a:gd name="connsiteY6-2158" fmla="*/ 4859439 h 6925856"/>
              <a:gd name="connsiteX7-2159" fmla="*/ 3977147 w 9397013"/>
              <a:gd name="connsiteY7-2160" fmla="*/ 3723 h 6925856"/>
              <a:gd name="connsiteX8-2161" fmla="*/ 4465006 w 9397013"/>
              <a:gd name="connsiteY8-2162" fmla="*/ 840 h 6925856"/>
              <a:gd name="connsiteX9-2163" fmla="*/ 488220 w 9397013"/>
              <a:gd name="connsiteY9-2164" fmla="*/ 5275963 h 6925856"/>
              <a:gd name="connsiteX10-2165" fmla="*/ 1601458 w 9397013"/>
              <a:gd name="connsiteY10-2166" fmla="*/ 4845836 h 6925856"/>
              <a:gd name="connsiteX11-2167" fmla="*/ 1550937 w 9397013"/>
              <a:gd name="connsiteY11-2168" fmla="*/ 4315002 h 6925856"/>
              <a:gd name="connsiteX12-2169" fmla="*/ 4805164 w 9397013"/>
              <a:gd name="connsiteY12-2170" fmla="*/ 4602 h 6925856"/>
              <a:gd name="connsiteX13-2171" fmla="*/ 5260238 w 9397013"/>
              <a:gd name="connsiteY13-2172" fmla="*/ 25779 h 6925856"/>
              <a:gd name="connsiteX14-2173" fmla="*/ 1601458 w 9397013"/>
              <a:gd name="connsiteY14-2174" fmla="*/ 4845836 h 6925856"/>
              <a:gd name="connsiteX15-2175" fmla="*/ 1580200 w 9397013"/>
              <a:gd name="connsiteY15-2176" fmla="*/ 5985735 h 6925856"/>
              <a:gd name="connsiteX16-2177" fmla="*/ 1566201 w 9397013"/>
              <a:gd name="connsiteY16-2178" fmla="*/ 5394811 h 6925856"/>
              <a:gd name="connsiteX17-2179" fmla="*/ 5641256 w 9397013"/>
              <a:gd name="connsiteY17-2180" fmla="*/ 4084 h 6925856"/>
              <a:gd name="connsiteX18-2181" fmla="*/ 6077099 w 9397013"/>
              <a:gd name="connsiteY18-2182" fmla="*/ 17286 h 6925856"/>
              <a:gd name="connsiteX19-2183" fmla="*/ 1580200 w 9397013"/>
              <a:gd name="connsiteY19-2184" fmla="*/ 5985735 h 6925856"/>
              <a:gd name="connsiteX20-2185" fmla="*/ 6958778 w 9397013"/>
              <a:gd name="connsiteY20-2186" fmla="*/ 6916619 h 6925856"/>
              <a:gd name="connsiteX21-2187" fmla="*/ 6560038 w 9397013"/>
              <a:gd name="connsiteY21-2188" fmla="*/ 6925855 h 6925856"/>
              <a:gd name="connsiteX22-2189" fmla="*/ 3849932 w 9397013"/>
              <a:gd name="connsiteY22-2190" fmla="*/ 3388318 h 6925856"/>
              <a:gd name="connsiteX23-2191" fmla="*/ 4086202 w 9397013"/>
              <a:gd name="connsiteY23-2192" fmla="*/ 3078877 h 6925856"/>
              <a:gd name="connsiteX24-2193" fmla="*/ 6958778 w 9397013"/>
              <a:gd name="connsiteY24-2194" fmla="*/ 6916619 h 6925856"/>
              <a:gd name="connsiteX25-2195" fmla="*/ 7777211 w 9397013"/>
              <a:gd name="connsiteY25-2196" fmla="*/ 6916620 h 6925856"/>
              <a:gd name="connsiteX26-2197" fmla="*/ 7324729 w 9397013"/>
              <a:gd name="connsiteY26-2198" fmla="*/ 6916620 h 6925856"/>
              <a:gd name="connsiteX27-2199" fmla="*/ 4245793 w 9397013"/>
              <a:gd name="connsiteY27-2200" fmla="*/ 2869862 h 6925856"/>
              <a:gd name="connsiteX28-2201" fmla="*/ 4490696 w 9397013"/>
              <a:gd name="connsiteY28-2202" fmla="*/ 2549117 h 6925856"/>
              <a:gd name="connsiteX29-2203" fmla="*/ 7777211 w 9397013"/>
              <a:gd name="connsiteY29-2204" fmla="*/ 6916620 h 6925856"/>
              <a:gd name="connsiteX30-2205" fmla="*/ 8567691 w 9397013"/>
              <a:gd name="connsiteY30-2206" fmla="*/ 6916619 h 6925856"/>
              <a:gd name="connsiteX31-2207" fmla="*/ 8159389 w 9397013"/>
              <a:gd name="connsiteY31-2208" fmla="*/ 6925856 h 6925856"/>
              <a:gd name="connsiteX32-2209" fmla="*/ 4650570 w 9397013"/>
              <a:gd name="connsiteY32-2210" fmla="*/ 2339732 h 6925856"/>
              <a:gd name="connsiteX33-2211" fmla="*/ 4869244 w 9397013"/>
              <a:gd name="connsiteY33-2212" fmla="*/ 2053337 h 6925856"/>
              <a:gd name="connsiteX34-2213" fmla="*/ 8567691 w 9397013"/>
              <a:gd name="connsiteY34-2214" fmla="*/ 6916619 h 6925856"/>
              <a:gd name="connsiteX35-2215" fmla="*/ 9397013 w 9397013"/>
              <a:gd name="connsiteY35-2216" fmla="*/ 6925855 h 6925856"/>
              <a:gd name="connsiteX36-2217" fmla="*/ 8921338 w 9397013"/>
              <a:gd name="connsiteY36-2218" fmla="*/ 6907383 h 6925856"/>
              <a:gd name="connsiteX37-2219" fmla="*/ 5045299 w 9397013"/>
              <a:gd name="connsiteY37-2220" fmla="*/ 1822761 h 6925856"/>
              <a:gd name="connsiteX38-2221" fmla="*/ 5273037 w 9397013"/>
              <a:gd name="connsiteY38-2222" fmla="*/ 1524494 h 6925856"/>
              <a:gd name="connsiteX39-2223" fmla="*/ 9397013 w 9397013"/>
              <a:gd name="connsiteY39-2224" fmla="*/ 6925855 h 6925856"/>
              <a:gd name="connsiteX0-2225" fmla="*/ 168369 w 9397013"/>
              <a:gd name="connsiteY0-2226" fmla="*/ 4571581 h 6925856"/>
              <a:gd name="connsiteX1-2227" fmla="*/ 0 w 9397013"/>
              <a:gd name="connsiteY1-2228" fmla="*/ 4200794 h 6925856"/>
              <a:gd name="connsiteX2-2229" fmla="*/ 3175788 w 9397013"/>
              <a:gd name="connsiteY2-2230" fmla="*/ 4084 h 6925856"/>
              <a:gd name="connsiteX3-2231" fmla="*/ 3628305 w 9397013"/>
              <a:gd name="connsiteY3-2232" fmla="*/ 0 h 6925856"/>
              <a:gd name="connsiteX4-2233" fmla="*/ 168369 w 9397013"/>
              <a:gd name="connsiteY4-2234" fmla="*/ 4571581 h 6925856"/>
              <a:gd name="connsiteX5-2235" fmla="*/ 488220 w 9397013"/>
              <a:gd name="connsiteY5-2236" fmla="*/ 5275963 h 6925856"/>
              <a:gd name="connsiteX6-2237" fmla="*/ 299082 w 9397013"/>
              <a:gd name="connsiteY6-2238" fmla="*/ 4859439 h 6925856"/>
              <a:gd name="connsiteX7-2239" fmla="*/ 3977147 w 9397013"/>
              <a:gd name="connsiteY7-2240" fmla="*/ 3723 h 6925856"/>
              <a:gd name="connsiteX8-2241" fmla="*/ 4465006 w 9397013"/>
              <a:gd name="connsiteY8-2242" fmla="*/ 840 h 6925856"/>
              <a:gd name="connsiteX9-2243" fmla="*/ 488220 w 9397013"/>
              <a:gd name="connsiteY9-2244" fmla="*/ 5275963 h 6925856"/>
              <a:gd name="connsiteX10-2245" fmla="*/ 1573749 w 9397013"/>
              <a:gd name="connsiteY10-2246" fmla="*/ 4882781 h 6925856"/>
              <a:gd name="connsiteX11-2247" fmla="*/ 1550937 w 9397013"/>
              <a:gd name="connsiteY11-2248" fmla="*/ 4315002 h 6925856"/>
              <a:gd name="connsiteX12-2249" fmla="*/ 4805164 w 9397013"/>
              <a:gd name="connsiteY12-2250" fmla="*/ 4602 h 6925856"/>
              <a:gd name="connsiteX13-2251" fmla="*/ 5260238 w 9397013"/>
              <a:gd name="connsiteY13-2252" fmla="*/ 25779 h 6925856"/>
              <a:gd name="connsiteX14-2253" fmla="*/ 1573749 w 9397013"/>
              <a:gd name="connsiteY14-2254" fmla="*/ 4882781 h 6925856"/>
              <a:gd name="connsiteX15-2255" fmla="*/ 1580200 w 9397013"/>
              <a:gd name="connsiteY15-2256" fmla="*/ 5985735 h 6925856"/>
              <a:gd name="connsiteX16-2257" fmla="*/ 1566201 w 9397013"/>
              <a:gd name="connsiteY16-2258" fmla="*/ 5394811 h 6925856"/>
              <a:gd name="connsiteX17-2259" fmla="*/ 5641256 w 9397013"/>
              <a:gd name="connsiteY17-2260" fmla="*/ 4084 h 6925856"/>
              <a:gd name="connsiteX18-2261" fmla="*/ 6077099 w 9397013"/>
              <a:gd name="connsiteY18-2262" fmla="*/ 17286 h 6925856"/>
              <a:gd name="connsiteX19-2263" fmla="*/ 1580200 w 9397013"/>
              <a:gd name="connsiteY19-2264" fmla="*/ 5985735 h 6925856"/>
              <a:gd name="connsiteX20-2265" fmla="*/ 6958778 w 9397013"/>
              <a:gd name="connsiteY20-2266" fmla="*/ 6916619 h 6925856"/>
              <a:gd name="connsiteX21-2267" fmla="*/ 6560038 w 9397013"/>
              <a:gd name="connsiteY21-2268" fmla="*/ 6925855 h 6925856"/>
              <a:gd name="connsiteX22-2269" fmla="*/ 3849932 w 9397013"/>
              <a:gd name="connsiteY22-2270" fmla="*/ 3388318 h 6925856"/>
              <a:gd name="connsiteX23-2271" fmla="*/ 4086202 w 9397013"/>
              <a:gd name="connsiteY23-2272" fmla="*/ 3078877 h 6925856"/>
              <a:gd name="connsiteX24-2273" fmla="*/ 6958778 w 9397013"/>
              <a:gd name="connsiteY24-2274" fmla="*/ 6916619 h 6925856"/>
              <a:gd name="connsiteX25-2275" fmla="*/ 7777211 w 9397013"/>
              <a:gd name="connsiteY25-2276" fmla="*/ 6916620 h 6925856"/>
              <a:gd name="connsiteX26-2277" fmla="*/ 7324729 w 9397013"/>
              <a:gd name="connsiteY26-2278" fmla="*/ 6916620 h 6925856"/>
              <a:gd name="connsiteX27-2279" fmla="*/ 4245793 w 9397013"/>
              <a:gd name="connsiteY27-2280" fmla="*/ 2869862 h 6925856"/>
              <a:gd name="connsiteX28-2281" fmla="*/ 4490696 w 9397013"/>
              <a:gd name="connsiteY28-2282" fmla="*/ 2549117 h 6925856"/>
              <a:gd name="connsiteX29-2283" fmla="*/ 7777211 w 9397013"/>
              <a:gd name="connsiteY29-2284" fmla="*/ 6916620 h 6925856"/>
              <a:gd name="connsiteX30-2285" fmla="*/ 8567691 w 9397013"/>
              <a:gd name="connsiteY30-2286" fmla="*/ 6916619 h 6925856"/>
              <a:gd name="connsiteX31-2287" fmla="*/ 8159389 w 9397013"/>
              <a:gd name="connsiteY31-2288" fmla="*/ 6925856 h 6925856"/>
              <a:gd name="connsiteX32-2289" fmla="*/ 4650570 w 9397013"/>
              <a:gd name="connsiteY32-2290" fmla="*/ 2339732 h 6925856"/>
              <a:gd name="connsiteX33-2291" fmla="*/ 4869244 w 9397013"/>
              <a:gd name="connsiteY33-2292" fmla="*/ 2053337 h 6925856"/>
              <a:gd name="connsiteX34-2293" fmla="*/ 8567691 w 9397013"/>
              <a:gd name="connsiteY34-2294" fmla="*/ 6916619 h 6925856"/>
              <a:gd name="connsiteX35-2295" fmla="*/ 9397013 w 9397013"/>
              <a:gd name="connsiteY35-2296" fmla="*/ 6925855 h 6925856"/>
              <a:gd name="connsiteX36-2297" fmla="*/ 8921338 w 9397013"/>
              <a:gd name="connsiteY36-2298" fmla="*/ 6907383 h 6925856"/>
              <a:gd name="connsiteX37-2299" fmla="*/ 5045299 w 9397013"/>
              <a:gd name="connsiteY37-2300" fmla="*/ 1822761 h 6925856"/>
              <a:gd name="connsiteX38-2301" fmla="*/ 5273037 w 9397013"/>
              <a:gd name="connsiteY38-2302" fmla="*/ 1524494 h 6925856"/>
              <a:gd name="connsiteX39-2303" fmla="*/ 9397013 w 9397013"/>
              <a:gd name="connsiteY39-2304" fmla="*/ 6925855 h 6925856"/>
              <a:gd name="connsiteX0-2305" fmla="*/ 168369 w 9397013"/>
              <a:gd name="connsiteY0-2306" fmla="*/ 4571581 h 6925856"/>
              <a:gd name="connsiteX1-2307" fmla="*/ 0 w 9397013"/>
              <a:gd name="connsiteY1-2308" fmla="*/ 4200794 h 6925856"/>
              <a:gd name="connsiteX2-2309" fmla="*/ 3175788 w 9397013"/>
              <a:gd name="connsiteY2-2310" fmla="*/ 4084 h 6925856"/>
              <a:gd name="connsiteX3-2311" fmla="*/ 3628305 w 9397013"/>
              <a:gd name="connsiteY3-2312" fmla="*/ 0 h 6925856"/>
              <a:gd name="connsiteX4-2313" fmla="*/ 168369 w 9397013"/>
              <a:gd name="connsiteY4-2314" fmla="*/ 4571581 h 6925856"/>
              <a:gd name="connsiteX5-2315" fmla="*/ 1578111 w 9397013"/>
              <a:gd name="connsiteY5-2316" fmla="*/ 3835090 h 6925856"/>
              <a:gd name="connsiteX6-2317" fmla="*/ 299082 w 9397013"/>
              <a:gd name="connsiteY6-2318" fmla="*/ 4859439 h 6925856"/>
              <a:gd name="connsiteX7-2319" fmla="*/ 3977147 w 9397013"/>
              <a:gd name="connsiteY7-2320" fmla="*/ 3723 h 6925856"/>
              <a:gd name="connsiteX8-2321" fmla="*/ 4465006 w 9397013"/>
              <a:gd name="connsiteY8-2322" fmla="*/ 840 h 6925856"/>
              <a:gd name="connsiteX9-2323" fmla="*/ 1578111 w 9397013"/>
              <a:gd name="connsiteY9-2324" fmla="*/ 3835090 h 6925856"/>
              <a:gd name="connsiteX10-2325" fmla="*/ 1573749 w 9397013"/>
              <a:gd name="connsiteY10-2326" fmla="*/ 4882781 h 6925856"/>
              <a:gd name="connsiteX11-2327" fmla="*/ 1550937 w 9397013"/>
              <a:gd name="connsiteY11-2328" fmla="*/ 4315002 h 6925856"/>
              <a:gd name="connsiteX12-2329" fmla="*/ 4805164 w 9397013"/>
              <a:gd name="connsiteY12-2330" fmla="*/ 4602 h 6925856"/>
              <a:gd name="connsiteX13-2331" fmla="*/ 5260238 w 9397013"/>
              <a:gd name="connsiteY13-2332" fmla="*/ 25779 h 6925856"/>
              <a:gd name="connsiteX14-2333" fmla="*/ 1573749 w 9397013"/>
              <a:gd name="connsiteY14-2334" fmla="*/ 4882781 h 6925856"/>
              <a:gd name="connsiteX15-2335" fmla="*/ 1580200 w 9397013"/>
              <a:gd name="connsiteY15-2336" fmla="*/ 5985735 h 6925856"/>
              <a:gd name="connsiteX16-2337" fmla="*/ 1566201 w 9397013"/>
              <a:gd name="connsiteY16-2338" fmla="*/ 5394811 h 6925856"/>
              <a:gd name="connsiteX17-2339" fmla="*/ 5641256 w 9397013"/>
              <a:gd name="connsiteY17-2340" fmla="*/ 4084 h 6925856"/>
              <a:gd name="connsiteX18-2341" fmla="*/ 6077099 w 9397013"/>
              <a:gd name="connsiteY18-2342" fmla="*/ 17286 h 6925856"/>
              <a:gd name="connsiteX19-2343" fmla="*/ 1580200 w 9397013"/>
              <a:gd name="connsiteY19-2344" fmla="*/ 5985735 h 6925856"/>
              <a:gd name="connsiteX20-2345" fmla="*/ 6958778 w 9397013"/>
              <a:gd name="connsiteY20-2346" fmla="*/ 6916619 h 6925856"/>
              <a:gd name="connsiteX21-2347" fmla="*/ 6560038 w 9397013"/>
              <a:gd name="connsiteY21-2348" fmla="*/ 6925855 h 6925856"/>
              <a:gd name="connsiteX22-2349" fmla="*/ 3849932 w 9397013"/>
              <a:gd name="connsiteY22-2350" fmla="*/ 3388318 h 6925856"/>
              <a:gd name="connsiteX23-2351" fmla="*/ 4086202 w 9397013"/>
              <a:gd name="connsiteY23-2352" fmla="*/ 3078877 h 6925856"/>
              <a:gd name="connsiteX24-2353" fmla="*/ 6958778 w 9397013"/>
              <a:gd name="connsiteY24-2354" fmla="*/ 6916619 h 6925856"/>
              <a:gd name="connsiteX25-2355" fmla="*/ 7777211 w 9397013"/>
              <a:gd name="connsiteY25-2356" fmla="*/ 6916620 h 6925856"/>
              <a:gd name="connsiteX26-2357" fmla="*/ 7324729 w 9397013"/>
              <a:gd name="connsiteY26-2358" fmla="*/ 6916620 h 6925856"/>
              <a:gd name="connsiteX27-2359" fmla="*/ 4245793 w 9397013"/>
              <a:gd name="connsiteY27-2360" fmla="*/ 2869862 h 6925856"/>
              <a:gd name="connsiteX28-2361" fmla="*/ 4490696 w 9397013"/>
              <a:gd name="connsiteY28-2362" fmla="*/ 2549117 h 6925856"/>
              <a:gd name="connsiteX29-2363" fmla="*/ 7777211 w 9397013"/>
              <a:gd name="connsiteY29-2364" fmla="*/ 6916620 h 6925856"/>
              <a:gd name="connsiteX30-2365" fmla="*/ 8567691 w 9397013"/>
              <a:gd name="connsiteY30-2366" fmla="*/ 6916619 h 6925856"/>
              <a:gd name="connsiteX31-2367" fmla="*/ 8159389 w 9397013"/>
              <a:gd name="connsiteY31-2368" fmla="*/ 6925856 h 6925856"/>
              <a:gd name="connsiteX32-2369" fmla="*/ 4650570 w 9397013"/>
              <a:gd name="connsiteY32-2370" fmla="*/ 2339732 h 6925856"/>
              <a:gd name="connsiteX33-2371" fmla="*/ 4869244 w 9397013"/>
              <a:gd name="connsiteY33-2372" fmla="*/ 2053337 h 6925856"/>
              <a:gd name="connsiteX34-2373" fmla="*/ 8567691 w 9397013"/>
              <a:gd name="connsiteY34-2374" fmla="*/ 6916619 h 6925856"/>
              <a:gd name="connsiteX35-2375" fmla="*/ 9397013 w 9397013"/>
              <a:gd name="connsiteY35-2376" fmla="*/ 6925855 h 6925856"/>
              <a:gd name="connsiteX36-2377" fmla="*/ 8921338 w 9397013"/>
              <a:gd name="connsiteY36-2378" fmla="*/ 6907383 h 6925856"/>
              <a:gd name="connsiteX37-2379" fmla="*/ 5045299 w 9397013"/>
              <a:gd name="connsiteY37-2380" fmla="*/ 1822761 h 6925856"/>
              <a:gd name="connsiteX38-2381" fmla="*/ 5273037 w 9397013"/>
              <a:gd name="connsiteY38-2382" fmla="*/ 1524494 h 6925856"/>
              <a:gd name="connsiteX39-2383" fmla="*/ 9397013 w 9397013"/>
              <a:gd name="connsiteY39-2384" fmla="*/ 6925855 h 6925856"/>
              <a:gd name="connsiteX0-2385" fmla="*/ 168369 w 9397013"/>
              <a:gd name="connsiteY0-2386" fmla="*/ 4571581 h 6925856"/>
              <a:gd name="connsiteX1-2387" fmla="*/ 0 w 9397013"/>
              <a:gd name="connsiteY1-2388" fmla="*/ 4200794 h 6925856"/>
              <a:gd name="connsiteX2-2389" fmla="*/ 3175788 w 9397013"/>
              <a:gd name="connsiteY2-2390" fmla="*/ 4084 h 6925856"/>
              <a:gd name="connsiteX3-2391" fmla="*/ 3628305 w 9397013"/>
              <a:gd name="connsiteY3-2392" fmla="*/ 0 h 6925856"/>
              <a:gd name="connsiteX4-2393" fmla="*/ 168369 w 9397013"/>
              <a:gd name="connsiteY4-2394" fmla="*/ 4571581 h 6925856"/>
              <a:gd name="connsiteX5-2395" fmla="*/ 1578111 w 9397013"/>
              <a:gd name="connsiteY5-2396" fmla="*/ 3835090 h 6925856"/>
              <a:gd name="connsiteX6-2397" fmla="*/ 1564463 w 9397013"/>
              <a:gd name="connsiteY6-2398" fmla="*/ 3206130 h 6925856"/>
              <a:gd name="connsiteX7-2399" fmla="*/ 3977147 w 9397013"/>
              <a:gd name="connsiteY7-2400" fmla="*/ 3723 h 6925856"/>
              <a:gd name="connsiteX8-2401" fmla="*/ 4465006 w 9397013"/>
              <a:gd name="connsiteY8-2402" fmla="*/ 840 h 6925856"/>
              <a:gd name="connsiteX9-2403" fmla="*/ 1578111 w 9397013"/>
              <a:gd name="connsiteY9-2404" fmla="*/ 3835090 h 6925856"/>
              <a:gd name="connsiteX10-2405" fmla="*/ 1573749 w 9397013"/>
              <a:gd name="connsiteY10-2406" fmla="*/ 4882781 h 6925856"/>
              <a:gd name="connsiteX11-2407" fmla="*/ 1550937 w 9397013"/>
              <a:gd name="connsiteY11-2408" fmla="*/ 4315002 h 6925856"/>
              <a:gd name="connsiteX12-2409" fmla="*/ 4805164 w 9397013"/>
              <a:gd name="connsiteY12-2410" fmla="*/ 4602 h 6925856"/>
              <a:gd name="connsiteX13-2411" fmla="*/ 5260238 w 9397013"/>
              <a:gd name="connsiteY13-2412" fmla="*/ 25779 h 6925856"/>
              <a:gd name="connsiteX14-2413" fmla="*/ 1573749 w 9397013"/>
              <a:gd name="connsiteY14-2414" fmla="*/ 4882781 h 6925856"/>
              <a:gd name="connsiteX15-2415" fmla="*/ 1580200 w 9397013"/>
              <a:gd name="connsiteY15-2416" fmla="*/ 5985735 h 6925856"/>
              <a:gd name="connsiteX16-2417" fmla="*/ 1566201 w 9397013"/>
              <a:gd name="connsiteY16-2418" fmla="*/ 5394811 h 6925856"/>
              <a:gd name="connsiteX17-2419" fmla="*/ 5641256 w 9397013"/>
              <a:gd name="connsiteY17-2420" fmla="*/ 4084 h 6925856"/>
              <a:gd name="connsiteX18-2421" fmla="*/ 6077099 w 9397013"/>
              <a:gd name="connsiteY18-2422" fmla="*/ 17286 h 6925856"/>
              <a:gd name="connsiteX19-2423" fmla="*/ 1580200 w 9397013"/>
              <a:gd name="connsiteY19-2424" fmla="*/ 5985735 h 6925856"/>
              <a:gd name="connsiteX20-2425" fmla="*/ 6958778 w 9397013"/>
              <a:gd name="connsiteY20-2426" fmla="*/ 6916619 h 6925856"/>
              <a:gd name="connsiteX21-2427" fmla="*/ 6560038 w 9397013"/>
              <a:gd name="connsiteY21-2428" fmla="*/ 6925855 h 6925856"/>
              <a:gd name="connsiteX22-2429" fmla="*/ 3849932 w 9397013"/>
              <a:gd name="connsiteY22-2430" fmla="*/ 3388318 h 6925856"/>
              <a:gd name="connsiteX23-2431" fmla="*/ 4086202 w 9397013"/>
              <a:gd name="connsiteY23-2432" fmla="*/ 3078877 h 6925856"/>
              <a:gd name="connsiteX24-2433" fmla="*/ 6958778 w 9397013"/>
              <a:gd name="connsiteY24-2434" fmla="*/ 6916619 h 6925856"/>
              <a:gd name="connsiteX25-2435" fmla="*/ 7777211 w 9397013"/>
              <a:gd name="connsiteY25-2436" fmla="*/ 6916620 h 6925856"/>
              <a:gd name="connsiteX26-2437" fmla="*/ 7324729 w 9397013"/>
              <a:gd name="connsiteY26-2438" fmla="*/ 6916620 h 6925856"/>
              <a:gd name="connsiteX27-2439" fmla="*/ 4245793 w 9397013"/>
              <a:gd name="connsiteY27-2440" fmla="*/ 2869862 h 6925856"/>
              <a:gd name="connsiteX28-2441" fmla="*/ 4490696 w 9397013"/>
              <a:gd name="connsiteY28-2442" fmla="*/ 2549117 h 6925856"/>
              <a:gd name="connsiteX29-2443" fmla="*/ 7777211 w 9397013"/>
              <a:gd name="connsiteY29-2444" fmla="*/ 6916620 h 6925856"/>
              <a:gd name="connsiteX30-2445" fmla="*/ 8567691 w 9397013"/>
              <a:gd name="connsiteY30-2446" fmla="*/ 6916619 h 6925856"/>
              <a:gd name="connsiteX31-2447" fmla="*/ 8159389 w 9397013"/>
              <a:gd name="connsiteY31-2448" fmla="*/ 6925856 h 6925856"/>
              <a:gd name="connsiteX32-2449" fmla="*/ 4650570 w 9397013"/>
              <a:gd name="connsiteY32-2450" fmla="*/ 2339732 h 6925856"/>
              <a:gd name="connsiteX33-2451" fmla="*/ 4869244 w 9397013"/>
              <a:gd name="connsiteY33-2452" fmla="*/ 2053337 h 6925856"/>
              <a:gd name="connsiteX34-2453" fmla="*/ 8567691 w 9397013"/>
              <a:gd name="connsiteY34-2454" fmla="*/ 6916619 h 6925856"/>
              <a:gd name="connsiteX35-2455" fmla="*/ 9397013 w 9397013"/>
              <a:gd name="connsiteY35-2456" fmla="*/ 6925855 h 6925856"/>
              <a:gd name="connsiteX36-2457" fmla="*/ 8921338 w 9397013"/>
              <a:gd name="connsiteY36-2458" fmla="*/ 6907383 h 6925856"/>
              <a:gd name="connsiteX37-2459" fmla="*/ 5045299 w 9397013"/>
              <a:gd name="connsiteY37-2460" fmla="*/ 1822761 h 6925856"/>
              <a:gd name="connsiteX38-2461" fmla="*/ 5273037 w 9397013"/>
              <a:gd name="connsiteY38-2462" fmla="*/ 1524494 h 6925856"/>
              <a:gd name="connsiteX39-2463" fmla="*/ 9397013 w 9397013"/>
              <a:gd name="connsiteY39-2464" fmla="*/ 6925855 h 6925856"/>
              <a:gd name="connsiteX0-2465" fmla="*/ 1572296 w 9397013"/>
              <a:gd name="connsiteY0-2466" fmla="*/ 2715072 h 6925856"/>
              <a:gd name="connsiteX1-2467" fmla="*/ 0 w 9397013"/>
              <a:gd name="connsiteY1-2468" fmla="*/ 4200794 h 6925856"/>
              <a:gd name="connsiteX2-2469" fmla="*/ 3175788 w 9397013"/>
              <a:gd name="connsiteY2-2470" fmla="*/ 4084 h 6925856"/>
              <a:gd name="connsiteX3-2471" fmla="*/ 3628305 w 9397013"/>
              <a:gd name="connsiteY3-2472" fmla="*/ 0 h 6925856"/>
              <a:gd name="connsiteX4-2473" fmla="*/ 1572296 w 9397013"/>
              <a:gd name="connsiteY4-2474" fmla="*/ 2715072 h 6925856"/>
              <a:gd name="connsiteX5-2475" fmla="*/ 1578111 w 9397013"/>
              <a:gd name="connsiteY5-2476" fmla="*/ 3835090 h 6925856"/>
              <a:gd name="connsiteX6-2477" fmla="*/ 1564463 w 9397013"/>
              <a:gd name="connsiteY6-2478" fmla="*/ 3206130 h 6925856"/>
              <a:gd name="connsiteX7-2479" fmla="*/ 3977147 w 9397013"/>
              <a:gd name="connsiteY7-2480" fmla="*/ 3723 h 6925856"/>
              <a:gd name="connsiteX8-2481" fmla="*/ 4465006 w 9397013"/>
              <a:gd name="connsiteY8-2482" fmla="*/ 840 h 6925856"/>
              <a:gd name="connsiteX9-2483" fmla="*/ 1578111 w 9397013"/>
              <a:gd name="connsiteY9-2484" fmla="*/ 3835090 h 6925856"/>
              <a:gd name="connsiteX10-2485" fmla="*/ 1573749 w 9397013"/>
              <a:gd name="connsiteY10-2486" fmla="*/ 4882781 h 6925856"/>
              <a:gd name="connsiteX11-2487" fmla="*/ 1550937 w 9397013"/>
              <a:gd name="connsiteY11-2488" fmla="*/ 4315002 h 6925856"/>
              <a:gd name="connsiteX12-2489" fmla="*/ 4805164 w 9397013"/>
              <a:gd name="connsiteY12-2490" fmla="*/ 4602 h 6925856"/>
              <a:gd name="connsiteX13-2491" fmla="*/ 5260238 w 9397013"/>
              <a:gd name="connsiteY13-2492" fmla="*/ 25779 h 6925856"/>
              <a:gd name="connsiteX14-2493" fmla="*/ 1573749 w 9397013"/>
              <a:gd name="connsiteY14-2494" fmla="*/ 4882781 h 6925856"/>
              <a:gd name="connsiteX15-2495" fmla="*/ 1580200 w 9397013"/>
              <a:gd name="connsiteY15-2496" fmla="*/ 5985735 h 6925856"/>
              <a:gd name="connsiteX16-2497" fmla="*/ 1566201 w 9397013"/>
              <a:gd name="connsiteY16-2498" fmla="*/ 5394811 h 6925856"/>
              <a:gd name="connsiteX17-2499" fmla="*/ 5641256 w 9397013"/>
              <a:gd name="connsiteY17-2500" fmla="*/ 4084 h 6925856"/>
              <a:gd name="connsiteX18-2501" fmla="*/ 6077099 w 9397013"/>
              <a:gd name="connsiteY18-2502" fmla="*/ 17286 h 6925856"/>
              <a:gd name="connsiteX19-2503" fmla="*/ 1580200 w 9397013"/>
              <a:gd name="connsiteY19-2504" fmla="*/ 5985735 h 6925856"/>
              <a:gd name="connsiteX20-2505" fmla="*/ 6958778 w 9397013"/>
              <a:gd name="connsiteY20-2506" fmla="*/ 6916619 h 6925856"/>
              <a:gd name="connsiteX21-2507" fmla="*/ 6560038 w 9397013"/>
              <a:gd name="connsiteY21-2508" fmla="*/ 6925855 h 6925856"/>
              <a:gd name="connsiteX22-2509" fmla="*/ 3849932 w 9397013"/>
              <a:gd name="connsiteY22-2510" fmla="*/ 3388318 h 6925856"/>
              <a:gd name="connsiteX23-2511" fmla="*/ 4086202 w 9397013"/>
              <a:gd name="connsiteY23-2512" fmla="*/ 3078877 h 6925856"/>
              <a:gd name="connsiteX24-2513" fmla="*/ 6958778 w 9397013"/>
              <a:gd name="connsiteY24-2514" fmla="*/ 6916619 h 6925856"/>
              <a:gd name="connsiteX25-2515" fmla="*/ 7777211 w 9397013"/>
              <a:gd name="connsiteY25-2516" fmla="*/ 6916620 h 6925856"/>
              <a:gd name="connsiteX26-2517" fmla="*/ 7324729 w 9397013"/>
              <a:gd name="connsiteY26-2518" fmla="*/ 6916620 h 6925856"/>
              <a:gd name="connsiteX27-2519" fmla="*/ 4245793 w 9397013"/>
              <a:gd name="connsiteY27-2520" fmla="*/ 2869862 h 6925856"/>
              <a:gd name="connsiteX28-2521" fmla="*/ 4490696 w 9397013"/>
              <a:gd name="connsiteY28-2522" fmla="*/ 2549117 h 6925856"/>
              <a:gd name="connsiteX29-2523" fmla="*/ 7777211 w 9397013"/>
              <a:gd name="connsiteY29-2524" fmla="*/ 6916620 h 6925856"/>
              <a:gd name="connsiteX30-2525" fmla="*/ 8567691 w 9397013"/>
              <a:gd name="connsiteY30-2526" fmla="*/ 6916619 h 6925856"/>
              <a:gd name="connsiteX31-2527" fmla="*/ 8159389 w 9397013"/>
              <a:gd name="connsiteY31-2528" fmla="*/ 6925856 h 6925856"/>
              <a:gd name="connsiteX32-2529" fmla="*/ 4650570 w 9397013"/>
              <a:gd name="connsiteY32-2530" fmla="*/ 2339732 h 6925856"/>
              <a:gd name="connsiteX33-2531" fmla="*/ 4869244 w 9397013"/>
              <a:gd name="connsiteY33-2532" fmla="*/ 2053337 h 6925856"/>
              <a:gd name="connsiteX34-2533" fmla="*/ 8567691 w 9397013"/>
              <a:gd name="connsiteY34-2534" fmla="*/ 6916619 h 6925856"/>
              <a:gd name="connsiteX35-2535" fmla="*/ 9397013 w 9397013"/>
              <a:gd name="connsiteY35-2536" fmla="*/ 6925855 h 6925856"/>
              <a:gd name="connsiteX36-2537" fmla="*/ 8921338 w 9397013"/>
              <a:gd name="connsiteY36-2538" fmla="*/ 6907383 h 6925856"/>
              <a:gd name="connsiteX37-2539" fmla="*/ 5045299 w 9397013"/>
              <a:gd name="connsiteY37-2540" fmla="*/ 1822761 h 6925856"/>
              <a:gd name="connsiteX38-2541" fmla="*/ 5273037 w 9397013"/>
              <a:gd name="connsiteY38-2542" fmla="*/ 1524494 h 6925856"/>
              <a:gd name="connsiteX39-2543" fmla="*/ 9397013 w 9397013"/>
              <a:gd name="connsiteY39-2544" fmla="*/ 6925855 h 6925856"/>
              <a:gd name="connsiteX0-2545" fmla="*/ 21359 w 7846076"/>
              <a:gd name="connsiteY0-2546" fmla="*/ 2715072 h 6925856"/>
              <a:gd name="connsiteX1-2547" fmla="*/ 28481 w 7846076"/>
              <a:gd name="connsiteY1-2548" fmla="*/ 2104139 h 6925856"/>
              <a:gd name="connsiteX2-2549" fmla="*/ 1624851 w 7846076"/>
              <a:gd name="connsiteY2-2550" fmla="*/ 4084 h 6925856"/>
              <a:gd name="connsiteX3-2551" fmla="*/ 2077368 w 7846076"/>
              <a:gd name="connsiteY3-2552" fmla="*/ 0 h 6925856"/>
              <a:gd name="connsiteX4-2553" fmla="*/ 21359 w 7846076"/>
              <a:gd name="connsiteY4-2554" fmla="*/ 2715072 h 6925856"/>
              <a:gd name="connsiteX5-2555" fmla="*/ 27174 w 7846076"/>
              <a:gd name="connsiteY5-2556" fmla="*/ 3835090 h 6925856"/>
              <a:gd name="connsiteX6-2557" fmla="*/ 13526 w 7846076"/>
              <a:gd name="connsiteY6-2558" fmla="*/ 3206130 h 6925856"/>
              <a:gd name="connsiteX7-2559" fmla="*/ 2426210 w 7846076"/>
              <a:gd name="connsiteY7-2560" fmla="*/ 3723 h 6925856"/>
              <a:gd name="connsiteX8-2561" fmla="*/ 2914069 w 7846076"/>
              <a:gd name="connsiteY8-2562" fmla="*/ 840 h 6925856"/>
              <a:gd name="connsiteX9-2563" fmla="*/ 27174 w 7846076"/>
              <a:gd name="connsiteY9-2564" fmla="*/ 3835090 h 6925856"/>
              <a:gd name="connsiteX10-2565" fmla="*/ 22812 w 7846076"/>
              <a:gd name="connsiteY10-2566" fmla="*/ 4882781 h 6925856"/>
              <a:gd name="connsiteX11-2567" fmla="*/ 0 w 7846076"/>
              <a:gd name="connsiteY11-2568" fmla="*/ 4315002 h 6925856"/>
              <a:gd name="connsiteX12-2569" fmla="*/ 3254227 w 7846076"/>
              <a:gd name="connsiteY12-2570" fmla="*/ 4602 h 6925856"/>
              <a:gd name="connsiteX13-2571" fmla="*/ 3709301 w 7846076"/>
              <a:gd name="connsiteY13-2572" fmla="*/ 25779 h 6925856"/>
              <a:gd name="connsiteX14-2573" fmla="*/ 22812 w 7846076"/>
              <a:gd name="connsiteY14-2574" fmla="*/ 4882781 h 6925856"/>
              <a:gd name="connsiteX15-2575" fmla="*/ 29263 w 7846076"/>
              <a:gd name="connsiteY15-2576" fmla="*/ 5985735 h 6925856"/>
              <a:gd name="connsiteX16-2577" fmla="*/ 15264 w 7846076"/>
              <a:gd name="connsiteY16-2578" fmla="*/ 5394811 h 6925856"/>
              <a:gd name="connsiteX17-2579" fmla="*/ 4090319 w 7846076"/>
              <a:gd name="connsiteY17-2580" fmla="*/ 4084 h 6925856"/>
              <a:gd name="connsiteX18-2581" fmla="*/ 4526162 w 7846076"/>
              <a:gd name="connsiteY18-2582" fmla="*/ 17286 h 6925856"/>
              <a:gd name="connsiteX19-2583" fmla="*/ 29263 w 7846076"/>
              <a:gd name="connsiteY19-2584" fmla="*/ 5985735 h 6925856"/>
              <a:gd name="connsiteX20-2585" fmla="*/ 5407841 w 7846076"/>
              <a:gd name="connsiteY20-2586" fmla="*/ 6916619 h 6925856"/>
              <a:gd name="connsiteX21-2587" fmla="*/ 5009101 w 7846076"/>
              <a:gd name="connsiteY21-2588" fmla="*/ 6925855 h 6925856"/>
              <a:gd name="connsiteX22-2589" fmla="*/ 2298995 w 7846076"/>
              <a:gd name="connsiteY22-2590" fmla="*/ 3388318 h 6925856"/>
              <a:gd name="connsiteX23-2591" fmla="*/ 2535265 w 7846076"/>
              <a:gd name="connsiteY23-2592" fmla="*/ 3078877 h 6925856"/>
              <a:gd name="connsiteX24-2593" fmla="*/ 5407841 w 7846076"/>
              <a:gd name="connsiteY24-2594" fmla="*/ 6916619 h 6925856"/>
              <a:gd name="connsiteX25-2595" fmla="*/ 6226274 w 7846076"/>
              <a:gd name="connsiteY25-2596" fmla="*/ 6916620 h 6925856"/>
              <a:gd name="connsiteX26-2597" fmla="*/ 5773792 w 7846076"/>
              <a:gd name="connsiteY26-2598" fmla="*/ 6916620 h 6925856"/>
              <a:gd name="connsiteX27-2599" fmla="*/ 2694856 w 7846076"/>
              <a:gd name="connsiteY27-2600" fmla="*/ 2869862 h 6925856"/>
              <a:gd name="connsiteX28-2601" fmla="*/ 2939759 w 7846076"/>
              <a:gd name="connsiteY28-2602" fmla="*/ 2549117 h 6925856"/>
              <a:gd name="connsiteX29-2603" fmla="*/ 6226274 w 7846076"/>
              <a:gd name="connsiteY29-2604" fmla="*/ 6916620 h 6925856"/>
              <a:gd name="connsiteX30-2605" fmla="*/ 7016754 w 7846076"/>
              <a:gd name="connsiteY30-2606" fmla="*/ 6916619 h 6925856"/>
              <a:gd name="connsiteX31-2607" fmla="*/ 6608452 w 7846076"/>
              <a:gd name="connsiteY31-2608" fmla="*/ 6925856 h 6925856"/>
              <a:gd name="connsiteX32-2609" fmla="*/ 3099633 w 7846076"/>
              <a:gd name="connsiteY32-2610" fmla="*/ 2339732 h 6925856"/>
              <a:gd name="connsiteX33-2611" fmla="*/ 3318307 w 7846076"/>
              <a:gd name="connsiteY33-2612" fmla="*/ 2053337 h 6925856"/>
              <a:gd name="connsiteX34-2613" fmla="*/ 7016754 w 7846076"/>
              <a:gd name="connsiteY34-2614" fmla="*/ 6916619 h 6925856"/>
              <a:gd name="connsiteX35-2615" fmla="*/ 7846076 w 7846076"/>
              <a:gd name="connsiteY35-2616" fmla="*/ 6925855 h 6925856"/>
              <a:gd name="connsiteX36-2617" fmla="*/ 7370401 w 7846076"/>
              <a:gd name="connsiteY36-2618" fmla="*/ 6907383 h 6925856"/>
              <a:gd name="connsiteX37-2619" fmla="*/ 3494362 w 7846076"/>
              <a:gd name="connsiteY37-2620" fmla="*/ 1822761 h 6925856"/>
              <a:gd name="connsiteX38-2621" fmla="*/ 3722100 w 7846076"/>
              <a:gd name="connsiteY38-2622" fmla="*/ 1524494 h 6925856"/>
              <a:gd name="connsiteX39-2623" fmla="*/ 7846076 w 7846076"/>
              <a:gd name="connsiteY39-2624" fmla="*/ 6925855 h 692585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129" y="connsiteY32-130"/>
              </a:cxn>
              <a:cxn ang="0">
                <a:pos x="connsiteX33-131" y="connsiteY33-132"/>
              </a:cxn>
              <a:cxn ang="0">
                <a:pos x="connsiteX34-133" y="connsiteY34-134"/>
              </a:cxn>
              <a:cxn ang="0">
                <a:pos x="connsiteX35-135" y="connsiteY35-136"/>
              </a:cxn>
              <a:cxn ang="0">
                <a:pos x="connsiteX36-137" y="connsiteY36-138"/>
              </a:cxn>
              <a:cxn ang="0">
                <a:pos x="connsiteX37-139" y="connsiteY37-140"/>
              </a:cxn>
              <a:cxn ang="0">
                <a:pos x="connsiteX38-141" y="connsiteY38-142"/>
              </a:cxn>
              <a:cxn ang="0">
                <a:pos x="connsiteX39-143" y="connsiteY39-144"/>
              </a:cxn>
            </a:cxnLst>
            <a:rect l="l" t="t" r="r" b="b"/>
            <a:pathLst>
              <a:path w="7846076" h="6925856">
                <a:moveTo>
                  <a:pt x="21359" y="2715072"/>
                </a:moveTo>
                <a:lnTo>
                  <a:pt x="28481" y="2104139"/>
                </a:lnTo>
                <a:lnTo>
                  <a:pt x="1624851" y="4084"/>
                </a:lnTo>
                <a:lnTo>
                  <a:pt x="2077368" y="0"/>
                </a:lnTo>
                <a:lnTo>
                  <a:pt x="21359" y="2715072"/>
                </a:lnTo>
                <a:close/>
                <a:moveTo>
                  <a:pt x="27174" y="3835090"/>
                </a:moveTo>
                <a:lnTo>
                  <a:pt x="13526" y="3206130"/>
                </a:lnTo>
                <a:lnTo>
                  <a:pt x="2426210" y="3723"/>
                </a:lnTo>
                <a:lnTo>
                  <a:pt x="2914069" y="840"/>
                </a:lnTo>
                <a:lnTo>
                  <a:pt x="27174" y="3835090"/>
                </a:lnTo>
                <a:close/>
                <a:moveTo>
                  <a:pt x="22812" y="4882781"/>
                </a:moveTo>
                <a:lnTo>
                  <a:pt x="0" y="4315002"/>
                </a:lnTo>
                <a:lnTo>
                  <a:pt x="3254227" y="4602"/>
                </a:lnTo>
                <a:lnTo>
                  <a:pt x="3709301" y="25779"/>
                </a:lnTo>
                <a:lnTo>
                  <a:pt x="22812" y="4882781"/>
                </a:lnTo>
                <a:close/>
                <a:moveTo>
                  <a:pt x="29263" y="5985735"/>
                </a:moveTo>
                <a:lnTo>
                  <a:pt x="15264" y="5394811"/>
                </a:lnTo>
                <a:lnTo>
                  <a:pt x="4090319" y="4084"/>
                </a:lnTo>
                <a:lnTo>
                  <a:pt x="4526162" y="17286"/>
                </a:lnTo>
                <a:lnTo>
                  <a:pt x="29263" y="5985735"/>
                </a:lnTo>
                <a:close/>
                <a:moveTo>
                  <a:pt x="5407841" y="6916619"/>
                </a:moveTo>
                <a:lnTo>
                  <a:pt x="5009101" y="6925855"/>
                </a:lnTo>
                <a:lnTo>
                  <a:pt x="2298995" y="3388318"/>
                </a:lnTo>
                <a:lnTo>
                  <a:pt x="2535265" y="3078877"/>
                </a:lnTo>
                <a:lnTo>
                  <a:pt x="5407841" y="6916619"/>
                </a:lnTo>
                <a:close/>
                <a:moveTo>
                  <a:pt x="6226274" y="6916620"/>
                </a:moveTo>
                <a:lnTo>
                  <a:pt x="5773792" y="6916620"/>
                </a:lnTo>
                <a:lnTo>
                  <a:pt x="2694856" y="2869862"/>
                </a:lnTo>
                <a:lnTo>
                  <a:pt x="2939759" y="2549117"/>
                </a:lnTo>
                <a:lnTo>
                  <a:pt x="6226274" y="6916620"/>
                </a:lnTo>
                <a:close/>
                <a:moveTo>
                  <a:pt x="7016754" y="6916619"/>
                </a:moveTo>
                <a:lnTo>
                  <a:pt x="6608452" y="6925856"/>
                </a:lnTo>
                <a:lnTo>
                  <a:pt x="3099633" y="2339732"/>
                </a:lnTo>
                <a:lnTo>
                  <a:pt x="3318307" y="2053337"/>
                </a:lnTo>
                <a:lnTo>
                  <a:pt x="7016754" y="6916619"/>
                </a:lnTo>
                <a:close/>
                <a:moveTo>
                  <a:pt x="7846076" y="6925855"/>
                </a:moveTo>
                <a:lnTo>
                  <a:pt x="7370401" y="6907383"/>
                </a:lnTo>
                <a:lnTo>
                  <a:pt x="3494362" y="1822761"/>
                </a:lnTo>
                <a:lnTo>
                  <a:pt x="3722100" y="1524494"/>
                </a:lnTo>
                <a:lnTo>
                  <a:pt x="7846076" y="6925855"/>
                </a:lnTo>
                <a:close/>
              </a:path>
            </a:pathLst>
          </a:custGeom>
          <a:solidFill>
            <a:schemeClr val="bg1">
              <a:lumMod val="9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5" name="文本框 4"/>
          <p:cNvSpPr txBox="1"/>
          <p:nvPr/>
        </p:nvSpPr>
        <p:spPr>
          <a:xfrm>
            <a:off x="641380" y="1304455"/>
            <a:ext cx="10243956" cy="5027017"/>
          </a:xfrm>
          <a:prstGeom prst="rect">
            <a:avLst/>
          </a:prstGeom>
          <a:noFill/>
        </p:spPr>
        <p:txBody>
          <a:bodyPr wrap="square" rtlCol="0">
            <a:spAutoFit/>
          </a:bodyPr>
          <a:lstStyle/>
          <a:p>
            <a:pPr>
              <a:lnSpc>
                <a:spcPct val="150000"/>
              </a:lnSpc>
            </a:pPr>
            <a:r>
              <a:rPr lang="zh-CN" altLang="en-US" dirty="0"/>
              <a:t>创新性度量指标（颠覆性指数）：</a:t>
            </a:r>
            <a:endParaRPr lang="en-US" altLang="zh-CN" dirty="0"/>
          </a:p>
          <a:p>
            <a:pPr>
              <a:lnSpc>
                <a:spcPct val="150000"/>
              </a:lnSpc>
            </a:pPr>
            <a:endParaRPr lang="en-US" altLang="zh-CN" dirty="0"/>
          </a:p>
          <a:p>
            <a:pPr>
              <a:lnSpc>
                <a:spcPct val="150000"/>
              </a:lnSpc>
            </a:pPr>
            <a:endParaRPr lang="en-US" altLang="zh-CN" dirty="0"/>
          </a:p>
          <a:p>
            <a:pPr>
              <a:lnSpc>
                <a:spcPct val="150000"/>
              </a:lnSpc>
            </a:pPr>
            <a:endParaRPr lang="en-US" altLang="zh-CN" dirty="0"/>
          </a:p>
          <a:p>
            <a:pPr>
              <a:lnSpc>
                <a:spcPct val="150000"/>
              </a:lnSpc>
            </a:pPr>
            <a:r>
              <a:rPr lang="zh-CN" altLang="en-US" dirty="0"/>
              <a:t>其中，</a:t>
            </a:r>
            <a:endParaRPr lang="en-US" altLang="zh-CN" dirty="0"/>
          </a:p>
          <a:p>
            <a:pPr>
              <a:lnSpc>
                <a:spcPct val="150000"/>
              </a:lnSpc>
            </a:pPr>
            <a:r>
              <a:rPr lang="en-US" altLang="zh-CN" dirty="0" err="1"/>
              <a:t>n</a:t>
            </a:r>
            <a:r>
              <a:rPr lang="en-US" altLang="zh-CN" baseline="-25000" dirty="0" err="1"/>
              <a:t>i</a:t>
            </a:r>
            <a:r>
              <a:rPr lang="en-US" altLang="zh-CN" baseline="-25000" dirty="0"/>
              <a:t> </a:t>
            </a:r>
            <a:r>
              <a:rPr lang="zh-CN" altLang="en-US" dirty="0"/>
              <a:t>表示仅引用了目标文献的施引文献数量；</a:t>
            </a:r>
            <a:endParaRPr lang="en-US" altLang="zh-CN" dirty="0"/>
          </a:p>
          <a:p>
            <a:pPr>
              <a:lnSpc>
                <a:spcPct val="150000"/>
              </a:lnSpc>
            </a:pPr>
            <a:r>
              <a:rPr lang="en-US" altLang="zh-CN" dirty="0" err="1"/>
              <a:t>n</a:t>
            </a:r>
            <a:r>
              <a:rPr lang="en-US" altLang="zh-CN" baseline="-25000" dirty="0" err="1"/>
              <a:t>j</a:t>
            </a:r>
            <a:r>
              <a:rPr lang="en-US" altLang="zh-CN" baseline="-25000" dirty="0"/>
              <a:t> </a:t>
            </a:r>
            <a:r>
              <a:rPr lang="zh-CN" altLang="en-US" dirty="0"/>
              <a:t>表示同时引用了目标文献及其参考文献</a:t>
            </a:r>
            <a:endParaRPr lang="en-US" altLang="zh-CN" dirty="0"/>
          </a:p>
          <a:p>
            <a:pPr>
              <a:lnSpc>
                <a:spcPct val="150000"/>
              </a:lnSpc>
            </a:pPr>
            <a:r>
              <a:rPr lang="en-US" altLang="zh-CN" dirty="0"/>
              <a:t>    </a:t>
            </a:r>
            <a:r>
              <a:rPr lang="zh-CN" altLang="en-US" dirty="0"/>
              <a:t>的施引文献数量；</a:t>
            </a:r>
            <a:endParaRPr lang="en-US" altLang="zh-CN" dirty="0"/>
          </a:p>
          <a:p>
            <a:pPr>
              <a:lnSpc>
                <a:spcPct val="150000"/>
              </a:lnSpc>
            </a:pPr>
            <a:r>
              <a:rPr lang="en-US" altLang="zh-CN" dirty="0" err="1"/>
              <a:t>n</a:t>
            </a:r>
            <a:r>
              <a:rPr lang="en-US" altLang="zh-CN" baseline="-25000" dirty="0" err="1"/>
              <a:t>k</a:t>
            </a:r>
            <a:r>
              <a:rPr lang="en-US" altLang="zh-CN" baseline="-25000" dirty="0"/>
              <a:t> </a:t>
            </a:r>
            <a:r>
              <a:rPr lang="zh-CN" altLang="en-US" dirty="0"/>
              <a:t>表示仅引用了目标文献的参考文献</a:t>
            </a:r>
            <a:endParaRPr lang="en-US" altLang="zh-CN" dirty="0"/>
          </a:p>
          <a:p>
            <a:pPr>
              <a:lnSpc>
                <a:spcPct val="150000"/>
              </a:lnSpc>
            </a:pPr>
            <a:r>
              <a:rPr lang="en-US" altLang="zh-CN" dirty="0"/>
              <a:t>    </a:t>
            </a:r>
            <a:r>
              <a:rPr lang="zh-CN" altLang="en-US" dirty="0"/>
              <a:t>的施引文献数量</a:t>
            </a:r>
            <a:endParaRPr lang="en-US" altLang="zh-CN" dirty="0"/>
          </a:p>
          <a:p>
            <a:pPr>
              <a:lnSpc>
                <a:spcPct val="150000"/>
              </a:lnSpc>
            </a:pPr>
            <a:endParaRPr lang="en-US" altLang="zh-CN" dirty="0"/>
          </a:p>
          <a:p>
            <a:pPr>
              <a:lnSpc>
                <a:spcPct val="150000"/>
              </a:lnSpc>
            </a:pPr>
            <a:endParaRPr lang="en-US" altLang="zh-CN" dirty="0"/>
          </a:p>
        </p:txBody>
      </p:sp>
      <p:pic>
        <p:nvPicPr>
          <p:cNvPr id="6" name="图片 5"/>
          <p:cNvPicPr>
            <a:picLocks noChangeAspect="1"/>
          </p:cNvPicPr>
          <p:nvPr/>
        </p:nvPicPr>
        <p:blipFill>
          <a:blip r:embed="rId1"/>
          <a:stretch>
            <a:fillRect/>
          </a:stretch>
        </p:blipFill>
        <p:spPr>
          <a:xfrm>
            <a:off x="730898" y="2177933"/>
            <a:ext cx="2410142" cy="689809"/>
          </a:xfrm>
          <a:prstGeom prst="rect">
            <a:avLst/>
          </a:prstGeom>
        </p:spPr>
      </p:pic>
      <p:pic>
        <p:nvPicPr>
          <p:cNvPr id="11" name="图片 10" descr="图示&#10;&#10;描述已自动生成"/>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98090" y="1951045"/>
            <a:ext cx="6165668" cy="3271304"/>
          </a:xfrm>
          <a:prstGeom prst="rect">
            <a:avLst/>
          </a:prstGeom>
        </p:spPr>
      </p:pic>
    </p:spTree>
    <p:custDataLst>
      <p:tags r:id="rId3"/>
    </p:custData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iṣlide"/>
        <p:cNvGrpSpPr/>
        <p:nvPr/>
      </p:nvGrpSpPr>
      <p:grpSpPr>
        <a:xfrm>
          <a:off x="0" y="0"/>
          <a:ext cx="0" cy="0"/>
          <a:chOff x="0" y="0"/>
          <a:chExt cx="0" cy="0"/>
        </a:xfrm>
      </p:grpSpPr>
      <p:sp>
        <p:nvSpPr>
          <p:cNvPr id="2" name="íšľîḓê"/>
          <p:cNvSpPr>
            <a:spLocks noGrp="1"/>
          </p:cNvSpPr>
          <p:nvPr>
            <p:ph type="title"/>
          </p:nvPr>
        </p:nvSpPr>
        <p:spPr/>
        <p:txBody>
          <a:bodyPr/>
          <a:lstStyle/>
          <a:p>
            <a:r>
              <a:rPr lang="en-US" altLang="zh-CN" dirty="0"/>
              <a:t>3. </a:t>
            </a:r>
            <a:r>
              <a:rPr lang="zh-CN" altLang="en-US" dirty="0"/>
              <a:t>研究方法</a:t>
            </a:r>
            <a:endParaRPr lang="zh-CN" altLang="en-US" dirty="0"/>
          </a:p>
        </p:txBody>
      </p:sp>
      <p:sp>
        <p:nvSpPr>
          <p:cNvPr id="4" name="ïṣḷide"/>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110" name="íṥļîďè"/>
          <p:cNvSpPr/>
          <p:nvPr/>
        </p:nvSpPr>
        <p:spPr>
          <a:xfrm rot="10800000">
            <a:off x="4396104" y="0"/>
            <a:ext cx="7846076" cy="6857999"/>
          </a:xfrm>
          <a:custGeom>
            <a:avLst/>
            <a:gdLst>
              <a:gd name="connsiteX0" fmla="*/ 168369 w 9517086"/>
              <a:gd name="connsiteY0" fmla="*/ 4779933 h 7291226"/>
              <a:gd name="connsiteX1" fmla="*/ 0 w 9517086"/>
              <a:gd name="connsiteY1" fmla="*/ 4409146 h 7291226"/>
              <a:gd name="connsiteX2" fmla="*/ 3332806 w 9517086"/>
              <a:gd name="connsiteY2" fmla="*/ 0 h 7291226"/>
              <a:gd name="connsiteX3" fmla="*/ 3794560 w 9517086"/>
              <a:gd name="connsiteY3" fmla="*/ 32861 h 7291226"/>
              <a:gd name="connsiteX4" fmla="*/ 488220 w 9517086"/>
              <a:gd name="connsiteY4" fmla="*/ 5484315 h 7291226"/>
              <a:gd name="connsiteX5" fmla="*/ 299082 w 9517086"/>
              <a:gd name="connsiteY5" fmla="*/ 5067791 h 7291226"/>
              <a:gd name="connsiteX6" fmla="*/ 4106456 w 9517086"/>
              <a:gd name="connsiteY6" fmla="*/ 55057 h 7291226"/>
              <a:gd name="connsiteX7" fmla="*/ 4585079 w 9517086"/>
              <a:gd name="connsiteY7" fmla="*/ 89119 h 7291226"/>
              <a:gd name="connsiteX8" fmla="*/ 779421 w 9517086"/>
              <a:gd name="connsiteY8" fmla="*/ 6125606 h 7291226"/>
              <a:gd name="connsiteX9" fmla="*/ 618065 w 9517086"/>
              <a:gd name="connsiteY9" fmla="*/ 5770263 h 7291226"/>
              <a:gd name="connsiteX10" fmla="*/ 4897528 w 9517086"/>
              <a:gd name="connsiteY10" fmla="*/ 111354 h 7291226"/>
              <a:gd name="connsiteX11" fmla="*/ 5324893 w 9517086"/>
              <a:gd name="connsiteY11" fmla="*/ 141768 h 7291226"/>
              <a:gd name="connsiteX12" fmla="*/ 1099910 w 9517086"/>
              <a:gd name="connsiteY12" fmla="*/ 6831395 h 7291226"/>
              <a:gd name="connsiteX13" fmla="*/ 919656 w 9517086"/>
              <a:gd name="connsiteY13" fmla="*/ 6434435 h 7291226"/>
              <a:gd name="connsiteX14" fmla="*/ 5668965 w 9517086"/>
              <a:gd name="connsiteY14" fmla="*/ 166254 h 7291226"/>
              <a:gd name="connsiteX15" fmla="*/ 6114044 w 9517086"/>
              <a:gd name="connsiteY15" fmla="*/ 197929 h 7291226"/>
              <a:gd name="connsiteX16" fmla="*/ 7106560 w 9517086"/>
              <a:gd name="connsiteY16" fmla="*/ 7291226 h 7291226"/>
              <a:gd name="connsiteX17" fmla="*/ 6670875 w 9517086"/>
              <a:gd name="connsiteY17" fmla="*/ 7291226 h 7291226"/>
              <a:gd name="connsiteX18" fmla="*/ 3849932 w 9517086"/>
              <a:gd name="connsiteY18" fmla="*/ 3596670 h 7291226"/>
              <a:gd name="connsiteX19" fmla="*/ 4086202 w 9517086"/>
              <a:gd name="connsiteY19" fmla="*/ 3287229 h 7291226"/>
              <a:gd name="connsiteX20" fmla="*/ 7934229 w 9517086"/>
              <a:gd name="connsiteY20" fmla="*/ 7291226 h 7291226"/>
              <a:gd name="connsiteX21" fmla="*/ 7444802 w 9517086"/>
              <a:gd name="connsiteY21" fmla="*/ 7291226 h 7291226"/>
              <a:gd name="connsiteX22" fmla="*/ 4245793 w 9517086"/>
              <a:gd name="connsiteY22" fmla="*/ 3078214 h 7291226"/>
              <a:gd name="connsiteX23" fmla="*/ 4490696 w 9517086"/>
              <a:gd name="connsiteY23" fmla="*/ 2757469 h 7291226"/>
              <a:gd name="connsiteX24" fmla="*/ 8687764 w 9517086"/>
              <a:gd name="connsiteY24" fmla="*/ 7291226 h 7291226"/>
              <a:gd name="connsiteX25" fmla="*/ 8270226 w 9517086"/>
              <a:gd name="connsiteY25" fmla="*/ 7291226 h 7291226"/>
              <a:gd name="connsiteX26" fmla="*/ 4650570 w 9517086"/>
              <a:gd name="connsiteY26" fmla="*/ 2548084 h 7291226"/>
              <a:gd name="connsiteX27" fmla="*/ 4869244 w 9517086"/>
              <a:gd name="connsiteY27" fmla="*/ 2261689 h 7291226"/>
              <a:gd name="connsiteX28" fmla="*/ 9517086 w 9517086"/>
              <a:gd name="connsiteY28" fmla="*/ 7291226 h 7291226"/>
              <a:gd name="connsiteX29" fmla="*/ 9050647 w 9517086"/>
              <a:gd name="connsiteY29" fmla="*/ 7291226 h 7291226"/>
              <a:gd name="connsiteX30" fmla="*/ 5045299 w 9517086"/>
              <a:gd name="connsiteY30" fmla="*/ 2031113 h 7291226"/>
              <a:gd name="connsiteX31" fmla="*/ 5273037 w 9517086"/>
              <a:gd name="connsiteY31" fmla="*/ 1732846 h 7291226"/>
              <a:gd name="connsiteX0-1" fmla="*/ 168369 w 9378540"/>
              <a:gd name="connsiteY0-2" fmla="*/ 4779933 h 7291226"/>
              <a:gd name="connsiteX1-3" fmla="*/ 0 w 9378540"/>
              <a:gd name="connsiteY1-4" fmla="*/ 4409146 h 7291226"/>
              <a:gd name="connsiteX2-5" fmla="*/ 3332806 w 9378540"/>
              <a:gd name="connsiteY2-6" fmla="*/ 0 h 7291226"/>
              <a:gd name="connsiteX3-7" fmla="*/ 3794560 w 9378540"/>
              <a:gd name="connsiteY3-8" fmla="*/ 32861 h 7291226"/>
              <a:gd name="connsiteX4-9" fmla="*/ 168369 w 9378540"/>
              <a:gd name="connsiteY4-10" fmla="*/ 4779933 h 7291226"/>
              <a:gd name="connsiteX5-11" fmla="*/ 488220 w 9378540"/>
              <a:gd name="connsiteY5-12" fmla="*/ 5484315 h 7291226"/>
              <a:gd name="connsiteX6-13" fmla="*/ 299082 w 9378540"/>
              <a:gd name="connsiteY6-14" fmla="*/ 5067791 h 7291226"/>
              <a:gd name="connsiteX7-15" fmla="*/ 4106456 w 9378540"/>
              <a:gd name="connsiteY7-16" fmla="*/ 55057 h 7291226"/>
              <a:gd name="connsiteX8-17" fmla="*/ 4585079 w 9378540"/>
              <a:gd name="connsiteY8-18" fmla="*/ 89119 h 7291226"/>
              <a:gd name="connsiteX9-19" fmla="*/ 488220 w 9378540"/>
              <a:gd name="connsiteY9-20" fmla="*/ 5484315 h 7291226"/>
              <a:gd name="connsiteX10-21" fmla="*/ 779421 w 9378540"/>
              <a:gd name="connsiteY10-22" fmla="*/ 6125606 h 7291226"/>
              <a:gd name="connsiteX11-23" fmla="*/ 618065 w 9378540"/>
              <a:gd name="connsiteY11-24" fmla="*/ 5770263 h 7291226"/>
              <a:gd name="connsiteX12-25" fmla="*/ 4897528 w 9378540"/>
              <a:gd name="connsiteY12-26" fmla="*/ 111354 h 7291226"/>
              <a:gd name="connsiteX13-27" fmla="*/ 5324893 w 9378540"/>
              <a:gd name="connsiteY13-28" fmla="*/ 141768 h 7291226"/>
              <a:gd name="connsiteX14-29" fmla="*/ 779421 w 9378540"/>
              <a:gd name="connsiteY14-30" fmla="*/ 6125606 h 7291226"/>
              <a:gd name="connsiteX15-31" fmla="*/ 1099910 w 9378540"/>
              <a:gd name="connsiteY15-32" fmla="*/ 6831395 h 7291226"/>
              <a:gd name="connsiteX16-33" fmla="*/ 919656 w 9378540"/>
              <a:gd name="connsiteY16-34" fmla="*/ 6434435 h 7291226"/>
              <a:gd name="connsiteX17-35" fmla="*/ 5668965 w 9378540"/>
              <a:gd name="connsiteY17-36" fmla="*/ 166254 h 7291226"/>
              <a:gd name="connsiteX18-37" fmla="*/ 6114044 w 9378540"/>
              <a:gd name="connsiteY18-38" fmla="*/ 197929 h 7291226"/>
              <a:gd name="connsiteX19-39" fmla="*/ 1099910 w 9378540"/>
              <a:gd name="connsiteY19-40" fmla="*/ 6831395 h 7291226"/>
              <a:gd name="connsiteX20-41" fmla="*/ 7106560 w 9378540"/>
              <a:gd name="connsiteY20-42" fmla="*/ 7291226 h 7291226"/>
              <a:gd name="connsiteX21-43" fmla="*/ 6670875 w 9378540"/>
              <a:gd name="connsiteY21-44" fmla="*/ 7291226 h 7291226"/>
              <a:gd name="connsiteX22-45" fmla="*/ 3849932 w 9378540"/>
              <a:gd name="connsiteY22-46" fmla="*/ 3596670 h 7291226"/>
              <a:gd name="connsiteX23-47" fmla="*/ 4086202 w 9378540"/>
              <a:gd name="connsiteY23-48" fmla="*/ 3287229 h 7291226"/>
              <a:gd name="connsiteX24-49" fmla="*/ 7106560 w 9378540"/>
              <a:gd name="connsiteY24-50" fmla="*/ 7291226 h 7291226"/>
              <a:gd name="connsiteX25-51" fmla="*/ 7934229 w 9378540"/>
              <a:gd name="connsiteY25-52" fmla="*/ 7291226 h 7291226"/>
              <a:gd name="connsiteX26-53" fmla="*/ 7444802 w 9378540"/>
              <a:gd name="connsiteY26-54" fmla="*/ 7291226 h 7291226"/>
              <a:gd name="connsiteX27-55" fmla="*/ 4245793 w 9378540"/>
              <a:gd name="connsiteY27-56" fmla="*/ 3078214 h 7291226"/>
              <a:gd name="connsiteX28-57" fmla="*/ 4490696 w 9378540"/>
              <a:gd name="connsiteY28-58" fmla="*/ 2757469 h 7291226"/>
              <a:gd name="connsiteX29-59" fmla="*/ 7934229 w 9378540"/>
              <a:gd name="connsiteY29-60" fmla="*/ 7291226 h 7291226"/>
              <a:gd name="connsiteX30-61" fmla="*/ 8687764 w 9378540"/>
              <a:gd name="connsiteY30-62" fmla="*/ 7291226 h 7291226"/>
              <a:gd name="connsiteX31-63" fmla="*/ 8270226 w 9378540"/>
              <a:gd name="connsiteY31-64" fmla="*/ 7291226 h 7291226"/>
              <a:gd name="connsiteX32" fmla="*/ 4650570 w 9378540"/>
              <a:gd name="connsiteY32" fmla="*/ 2548084 h 7291226"/>
              <a:gd name="connsiteX33" fmla="*/ 4869244 w 9378540"/>
              <a:gd name="connsiteY33" fmla="*/ 2261689 h 7291226"/>
              <a:gd name="connsiteX34" fmla="*/ 8687764 w 9378540"/>
              <a:gd name="connsiteY34" fmla="*/ 7291226 h 7291226"/>
              <a:gd name="connsiteX35" fmla="*/ 9378540 w 9378540"/>
              <a:gd name="connsiteY35" fmla="*/ 7097262 h 7291226"/>
              <a:gd name="connsiteX36" fmla="*/ 9050647 w 9378540"/>
              <a:gd name="connsiteY36" fmla="*/ 7291226 h 7291226"/>
              <a:gd name="connsiteX37" fmla="*/ 5045299 w 9378540"/>
              <a:gd name="connsiteY37" fmla="*/ 2031113 h 7291226"/>
              <a:gd name="connsiteX38" fmla="*/ 5273037 w 9378540"/>
              <a:gd name="connsiteY38" fmla="*/ 1732846 h 7291226"/>
              <a:gd name="connsiteX39" fmla="*/ 9378540 w 9378540"/>
              <a:gd name="connsiteY39" fmla="*/ 7097262 h 7291226"/>
              <a:gd name="connsiteX0-65" fmla="*/ 168369 w 9378540"/>
              <a:gd name="connsiteY0-66" fmla="*/ 4779933 h 7291226"/>
              <a:gd name="connsiteX1-67" fmla="*/ 0 w 9378540"/>
              <a:gd name="connsiteY1-68" fmla="*/ 4409146 h 7291226"/>
              <a:gd name="connsiteX2-69" fmla="*/ 3332806 w 9378540"/>
              <a:gd name="connsiteY2-70" fmla="*/ 0 h 7291226"/>
              <a:gd name="connsiteX3-71" fmla="*/ 3794560 w 9378540"/>
              <a:gd name="connsiteY3-72" fmla="*/ 32861 h 7291226"/>
              <a:gd name="connsiteX4-73" fmla="*/ 168369 w 9378540"/>
              <a:gd name="connsiteY4-74" fmla="*/ 4779933 h 7291226"/>
              <a:gd name="connsiteX5-75" fmla="*/ 488220 w 9378540"/>
              <a:gd name="connsiteY5-76" fmla="*/ 5484315 h 7291226"/>
              <a:gd name="connsiteX6-77" fmla="*/ 299082 w 9378540"/>
              <a:gd name="connsiteY6-78" fmla="*/ 5067791 h 7291226"/>
              <a:gd name="connsiteX7-79" fmla="*/ 4106456 w 9378540"/>
              <a:gd name="connsiteY7-80" fmla="*/ 55057 h 7291226"/>
              <a:gd name="connsiteX8-81" fmla="*/ 4585079 w 9378540"/>
              <a:gd name="connsiteY8-82" fmla="*/ 89119 h 7291226"/>
              <a:gd name="connsiteX9-83" fmla="*/ 488220 w 9378540"/>
              <a:gd name="connsiteY9-84" fmla="*/ 5484315 h 7291226"/>
              <a:gd name="connsiteX10-85" fmla="*/ 779421 w 9378540"/>
              <a:gd name="connsiteY10-86" fmla="*/ 6125606 h 7291226"/>
              <a:gd name="connsiteX11-87" fmla="*/ 618065 w 9378540"/>
              <a:gd name="connsiteY11-88" fmla="*/ 5770263 h 7291226"/>
              <a:gd name="connsiteX12-89" fmla="*/ 4897528 w 9378540"/>
              <a:gd name="connsiteY12-90" fmla="*/ 111354 h 7291226"/>
              <a:gd name="connsiteX13-91" fmla="*/ 5324893 w 9378540"/>
              <a:gd name="connsiteY13-92" fmla="*/ 141768 h 7291226"/>
              <a:gd name="connsiteX14-93" fmla="*/ 779421 w 9378540"/>
              <a:gd name="connsiteY14-94" fmla="*/ 6125606 h 7291226"/>
              <a:gd name="connsiteX15-95" fmla="*/ 1099910 w 9378540"/>
              <a:gd name="connsiteY15-96" fmla="*/ 6831395 h 7291226"/>
              <a:gd name="connsiteX16-97" fmla="*/ 919656 w 9378540"/>
              <a:gd name="connsiteY16-98" fmla="*/ 6434435 h 7291226"/>
              <a:gd name="connsiteX17-99" fmla="*/ 5668965 w 9378540"/>
              <a:gd name="connsiteY17-100" fmla="*/ 166254 h 7291226"/>
              <a:gd name="connsiteX18-101" fmla="*/ 6114044 w 9378540"/>
              <a:gd name="connsiteY18-102" fmla="*/ 197929 h 7291226"/>
              <a:gd name="connsiteX19-103" fmla="*/ 1099910 w 9378540"/>
              <a:gd name="connsiteY19-104" fmla="*/ 6831395 h 7291226"/>
              <a:gd name="connsiteX20-105" fmla="*/ 7106560 w 9378540"/>
              <a:gd name="connsiteY20-106" fmla="*/ 7291226 h 7291226"/>
              <a:gd name="connsiteX21-107" fmla="*/ 6670875 w 9378540"/>
              <a:gd name="connsiteY21-108" fmla="*/ 7291226 h 7291226"/>
              <a:gd name="connsiteX22-109" fmla="*/ 3849932 w 9378540"/>
              <a:gd name="connsiteY22-110" fmla="*/ 3596670 h 7291226"/>
              <a:gd name="connsiteX23-111" fmla="*/ 4086202 w 9378540"/>
              <a:gd name="connsiteY23-112" fmla="*/ 3287229 h 7291226"/>
              <a:gd name="connsiteX24-113" fmla="*/ 7106560 w 9378540"/>
              <a:gd name="connsiteY24-114" fmla="*/ 7291226 h 7291226"/>
              <a:gd name="connsiteX25-115" fmla="*/ 7934229 w 9378540"/>
              <a:gd name="connsiteY25-116" fmla="*/ 7291226 h 7291226"/>
              <a:gd name="connsiteX26-117" fmla="*/ 7444802 w 9378540"/>
              <a:gd name="connsiteY26-118" fmla="*/ 7291226 h 7291226"/>
              <a:gd name="connsiteX27-119" fmla="*/ 4245793 w 9378540"/>
              <a:gd name="connsiteY27-120" fmla="*/ 3078214 h 7291226"/>
              <a:gd name="connsiteX28-121" fmla="*/ 4490696 w 9378540"/>
              <a:gd name="connsiteY28-122" fmla="*/ 2757469 h 7291226"/>
              <a:gd name="connsiteX29-123" fmla="*/ 7934229 w 9378540"/>
              <a:gd name="connsiteY29-124" fmla="*/ 7291226 h 7291226"/>
              <a:gd name="connsiteX30-125" fmla="*/ 8687764 w 9378540"/>
              <a:gd name="connsiteY30-126" fmla="*/ 7291226 h 7291226"/>
              <a:gd name="connsiteX31-127" fmla="*/ 8270226 w 9378540"/>
              <a:gd name="connsiteY31-128" fmla="*/ 7291226 h 7291226"/>
              <a:gd name="connsiteX32-129" fmla="*/ 4650570 w 9378540"/>
              <a:gd name="connsiteY32-130" fmla="*/ 2548084 h 7291226"/>
              <a:gd name="connsiteX33-131" fmla="*/ 4869244 w 9378540"/>
              <a:gd name="connsiteY33-132" fmla="*/ 2261689 h 7291226"/>
              <a:gd name="connsiteX34-133" fmla="*/ 8687764 w 9378540"/>
              <a:gd name="connsiteY34-134" fmla="*/ 7291226 h 7291226"/>
              <a:gd name="connsiteX35-135" fmla="*/ 9378540 w 9378540"/>
              <a:gd name="connsiteY35-136" fmla="*/ 7097262 h 7291226"/>
              <a:gd name="connsiteX36-137" fmla="*/ 8921338 w 9378540"/>
              <a:gd name="connsiteY36-138" fmla="*/ 7115735 h 7291226"/>
              <a:gd name="connsiteX37-139" fmla="*/ 5045299 w 9378540"/>
              <a:gd name="connsiteY37-140" fmla="*/ 2031113 h 7291226"/>
              <a:gd name="connsiteX38-141" fmla="*/ 5273037 w 9378540"/>
              <a:gd name="connsiteY38-142" fmla="*/ 1732846 h 7291226"/>
              <a:gd name="connsiteX39-143" fmla="*/ 9378540 w 9378540"/>
              <a:gd name="connsiteY39-144" fmla="*/ 7097262 h 7291226"/>
              <a:gd name="connsiteX0-145" fmla="*/ 168369 w 9397013"/>
              <a:gd name="connsiteY0-146" fmla="*/ 4779933 h 7291226"/>
              <a:gd name="connsiteX1-147" fmla="*/ 0 w 9397013"/>
              <a:gd name="connsiteY1-148" fmla="*/ 4409146 h 7291226"/>
              <a:gd name="connsiteX2-149" fmla="*/ 3332806 w 9397013"/>
              <a:gd name="connsiteY2-150" fmla="*/ 0 h 7291226"/>
              <a:gd name="connsiteX3-151" fmla="*/ 3794560 w 9397013"/>
              <a:gd name="connsiteY3-152" fmla="*/ 32861 h 7291226"/>
              <a:gd name="connsiteX4-153" fmla="*/ 168369 w 9397013"/>
              <a:gd name="connsiteY4-154" fmla="*/ 4779933 h 7291226"/>
              <a:gd name="connsiteX5-155" fmla="*/ 488220 w 9397013"/>
              <a:gd name="connsiteY5-156" fmla="*/ 5484315 h 7291226"/>
              <a:gd name="connsiteX6-157" fmla="*/ 299082 w 9397013"/>
              <a:gd name="connsiteY6-158" fmla="*/ 5067791 h 7291226"/>
              <a:gd name="connsiteX7-159" fmla="*/ 4106456 w 9397013"/>
              <a:gd name="connsiteY7-160" fmla="*/ 55057 h 7291226"/>
              <a:gd name="connsiteX8-161" fmla="*/ 4585079 w 9397013"/>
              <a:gd name="connsiteY8-162" fmla="*/ 89119 h 7291226"/>
              <a:gd name="connsiteX9-163" fmla="*/ 488220 w 9397013"/>
              <a:gd name="connsiteY9-164" fmla="*/ 5484315 h 7291226"/>
              <a:gd name="connsiteX10-165" fmla="*/ 779421 w 9397013"/>
              <a:gd name="connsiteY10-166" fmla="*/ 6125606 h 7291226"/>
              <a:gd name="connsiteX11-167" fmla="*/ 618065 w 9397013"/>
              <a:gd name="connsiteY11-168" fmla="*/ 5770263 h 7291226"/>
              <a:gd name="connsiteX12-169" fmla="*/ 4897528 w 9397013"/>
              <a:gd name="connsiteY12-170" fmla="*/ 111354 h 7291226"/>
              <a:gd name="connsiteX13-171" fmla="*/ 5324893 w 9397013"/>
              <a:gd name="connsiteY13-172" fmla="*/ 141768 h 7291226"/>
              <a:gd name="connsiteX14-173" fmla="*/ 779421 w 9397013"/>
              <a:gd name="connsiteY14-174" fmla="*/ 6125606 h 7291226"/>
              <a:gd name="connsiteX15-175" fmla="*/ 1099910 w 9397013"/>
              <a:gd name="connsiteY15-176" fmla="*/ 6831395 h 7291226"/>
              <a:gd name="connsiteX16-177" fmla="*/ 919656 w 9397013"/>
              <a:gd name="connsiteY16-178" fmla="*/ 6434435 h 7291226"/>
              <a:gd name="connsiteX17-179" fmla="*/ 5668965 w 9397013"/>
              <a:gd name="connsiteY17-180" fmla="*/ 166254 h 7291226"/>
              <a:gd name="connsiteX18-181" fmla="*/ 6114044 w 9397013"/>
              <a:gd name="connsiteY18-182" fmla="*/ 197929 h 7291226"/>
              <a:gd name="connsiteX19-183" fmla="*/ 1099910 w 9397013"/>
              <a:gd name="connsiteY19-184" fmla="*/ 6831395 h 7291226"/>
              <a:gd name="connsiteX20-185" fmla="*/ 7106560 w 9397013"/>
              <a:gd name="connsiteY20-186" fmla="*/ 7291226 h 7291226"/>
              <a:gd name="connsiteX21-187" fmla="*/ 6670875 w 9397013"/>
              <a:gd name="connsiteY21-188" fmla="*/ 7291226 h 7291226"/>
              <a:gd name="connsiteX22-189" fmla="*/ 3849932 w 9397013"/>
              <a:gd name="connsiteY22-190" fmla="*/ 3596670 h 7291226"/>
              <a:gd name="connsiteX23-191" fmla="*/ 4086202 w 9397013"/>
              <a:gd name="connsiteY23-192" fmla="*/ 3287229 h 7291226"/>
              <a:gd name="connsiteX24-193" fmla="*/ 7106560 w 9397013"/>
              <a:gd name="connsiteY24-194" fmla="*/ 7291226 h 7291226"/>
              <a:gd name="connsiteX25-195" fmla="*/ 7934229 w 9397013"/>
              <a:gd name="connsiteY25-196" fmla="*/ 7291226 h 7291226"/>
              <a:gd name="connsiteX26-197" fmla="*/ 7444802 w 9397013"/>
              <a:gd name="connsiteY26-198" fmla="*/ 7291226 h 7291226"/>
              <a:gd name="connsiteX27-199" fmla="*/ 4245793 w 9397013"/>
              <a:gd name="connsiteY27-200" fmla="*/ 3078214 h 7291226"/>
              <a:gd name="connsiteX28-201" fmla="*/ 4490696 w 9397013"/>
              <a:gd name="connsiteY28-202" fmla="*/ 2757469 h 7291226"/>
              <a:gd name="connsiteX29-203" fmla="*/ 7934229 w 9397013"/>
              <a:gd name="connsiteY29-204" fmla="*/ 7291226 h 7291226"/>
              <a:gd name="connsiteX30-205" fmla="*/ 8687764 w 9397013"/>
              <a:gd name="connsiteY30-206" fmla="*/ 7291226 h 7291226"/>
              <a:gd name="connsiteX31-207" fmla="*/ 8270226 w 9397013"/>
              <a:gd name="connsiteY31-208" fmla="*/ 7291226 h 7291226"/>
              <a:gd name="connsiteX32-209" fmla="*/ 4650570 w 9397013"/>
              <a:gd name="connsiteY32-210" fmla="*/ 2548084 h 7291226"/>
              <a:gd name="connsiteX33-211" fmla="*/ 4869244 w 9397013"/>
              <a:gd name="connsiteY33-212" fmla="*/ 2261689 h 7291226"/>
              <a:gd name="connsiteX34-213" fmla="*/ 8687764 w 9397013"/>
              <a:gd name="connsiteY34-214" fmla="*/ 7291226 h 7291226"/>
              <a:gd name="connsiteX35-215" fmla="*/ 9397013 w 9397013"/>
              <a:gd name="connsiteY35-216" fmla="*/ 7134207 h 7291226"/>
              <a:gd name="connsiteX36-217" fmla="*/ 8921338 w 9397013"/>
              <a:gd name="connsiteY36-218" fmla="*/ 7115735 h 7291226"/>
              <a:gd name="connsiteX37-219" fmla="*/ 5045299 w 9397013"/>
              <a:gd name="connsiteY37-220" fmla="*/ 2031113 h 7291226"/>
              <a:gd name="connsiteX38-221" fmla="*/ 5273037 w 9397013"/>
              <a:gd name="connsiteY38-222" fmla="*/ 1732846 h 7291226"/>
              <a:gd name="connsiteX39-223" fmla="*/ 9397013 w 9397013"/>
              <a:gd name="connsiteY39-224" fmla="*/ 7134207 h 7291226"/>
              <a:gd name="connsiteX0-225" fmla="*/ 168369 w 9397013"/>
              <a:gd name="connsiteY0-226" fmla="*/ 4779933 h 7291226"/>
              <a:gd name="connsiteX1-227" fmla="*/ 0 w 9397013"/>
              <a:gd name="connsiteY1-228" fmla="*/ 4409146 h 7291226"/>
              <a:gd name="connsiteX2-229" fmla="*/ 3332806 w 9397013"/>
              <a:gd name="connsiteY2-230" fmla="*/ 0 h 7291226"/>
              <a:gd name="connsiteX3-231" fmla="*/ 3794560 w 9397013"/>
              <a:gd name="connsiteY3-232" fmla="*/ 32861 h 7291226"/>
              <a:gd name="connsiteX4-233" fmla="*/ 168369 w 9397013"/>
              <a:gd name="connsiteY4-234" fmla="*/ 4779933 h 7291226"/>
              <a:gd name="connsiteX5-235" fmla="*/ 488220 w 9397013"/>
              <a:gd name="connsiteY5-236" fmla="*/ 5484315 h 7291226"/>
              <a:gd name="connsiteX6-237" fmla="*/ 299082 w 9397013"/>
              <a:gd name="connsiteY6-238" fmla="*/ 5067791 h 7291226"/>
              <a:gd name="connsiteX7-239" fmla="*/ 4106456 w 9397013"/>
              <a:gd name="connsiteY7-240" fmla="*/ 55057 h 7291226"/>
              <a:gd name="connsiteX8-241" fmla="*/ 4585079 w 9397013"/>
              <a:gd name="connsiteY8-242" fmla="*/ 89119 h 7291226"/>
              <a:gd name="connsiteX9-243" fmla="*/ 488220 w 9397013"/>
              <a:gd name="connsiteY9-244" fmla="*/ 5484315 h 7291226"/>
              <a:gd name="connsiteX10-245" fmla="*/ 779421 w 9397013"/>
              <a:gd name="connsiteY10-246" fmla="*/ 6125606 h 7291226"/>
              <a:gd name="connsiteX11-247" fmla="*/ 618065 w 9397013"/>
              <a:gd name="connsiteY11-248" fmla="*/ 5770263 h 7291226"/>
              <a:gd name="connsiteX12-249" fmla="*/ 4897528 w 9397013"/>
              <a:gd name="connsiteY12-250" fmla="*/ 111354 h 7291226"/>
              <a:gd name="connsiteX13-251" fmla="*/ 5324893 w 9397013"/>
              <a:gd name="connsiteY13-252" fmla="*/ 141768 h 7291226"/>
              <a:gd name="connsiteX14-253" fmla="*/ 779421 w 9397013"/>
              <a:gd name="connsiteY14-254" fmla="*/ 6125606 h 7291226"/>
              <a:gd name="connsiteX15-255" fmla="*/ 1099910 w 9397013"/>
              <a:gd name="connsiteY15-256" fmla="*/ 6831395 h 7291226"/>
              <a:gd name="connsiteX16-257" fmla="*/ 919656 w 9397013"/>
              <a:gd name="connsiteY16-258" fmla="*/ 6434435 h 7291226"/>
              <a:gd name="connsiteX17-259" fmla="*/ 5668965 w 9397013"/>
              <a:gd name="connsiteY17-260" fmla="*/ 166254 h 7291226"/>
              <a:gd name="connsiteX18-261" fmla="*/ 6114044 w 9397013"/>
              <a:gd name="connsiteY18-262" fmla="*/ 197929 h 7291226"/>
              <a:gd name="connsiteX19-263" fmla="*/ 1099910 w 9397013"/>
              <a:gd name="connsiteY19-264" fmla="*/ 6831395 h 7291226"/>
              <a:gd name="connsiteX20-265" fmla="*/ 7106560 w 9397013"/>
              <a:gd name="connsiteY20-266" fmla="*/ 7291226 h 7291226"/>
              <a:gd name="connsiteX21-267" fmla="*/ 6670875 w 9397013"/>
              <a:gd name="connsiteY21-268" fmla="*/ 7291226 h 7291226"/>
              <a:gd name="connsiteX22-269" fmla="*/ 3849932 w 9397013"/>
              <a:gd name="connsiteY22-270" fmla="*/ 3596670 h 7291226"/>
              <a:gd name="connsiteX23-271" fmla="*/ 4086202 w 9397013"/>
              <a:gd name="connsiteY23-272" fmla="*/ 3287229 h 7291226"/>
              <a:gd name="connsiteX24-273" fmla="*/ 7106560 w 9397013"/>
              <a:gd name="connsiteY24-274" fmla="*/ 7291226 h 7291226"/>
              <a:gd name="connsiteX25-275" fmla="*/ 7934229 w 9397013"/>
              <a:gd name="connsiteY25-276" fmla="*/ 7291226 h 7291226"/>
              <a:gd name="connsiteX26-277" fmla="*/ 7444802 w 9397013"/>
              <a:gd name="connsiteY26-278" fmla="*/ 7291226 h 7291226"/>
              <a:gd name="connsiteX27-279" fmla="*/ 4245793 w 9397013"/>
              <a:gd name="connsiteY27-280" fmla="*/ 3078214 h 7291226"/>
              <a:gd name="connsiteX28-281" fmla="*/ 4490696 w 9397013"/>
              <a:gd name="connsiteY28-282" fmla="*/ 2757469 h 7291226"/>
              <a:gd name="connsiteX29-283" fmla="*/ 7934229 w 9397013"/>
              <a:gd name="connsiteY29-284" fmla="*/ 7291226 h 7291226"/>
              <a:gd name="connsiteX30-285" fmla="*/ 8530746 w 9397013"/>
              <a:gd name="connsiteY30-286" fmla="*/ 7088026 h 7291226"/>
              <a:gd name="connsiteX31-287" fmla="*/ 8270226 w 9397013"/>
              <a:gd name="connsiteY31-288" fmla="*/ 7291226 h 7291226"/>
              <a:gd name="connsiteX32-289" fmla="*/ 4650570 w 9397013"/>
              <a:gd name="connsiteY32-290" fmla="*/ 2548084 h 7291226"/>
              <a:gd name="connsiteX33-291" fmla="*/ 4869244 w 9397013"/>
              <a:gd name="connsiteY33-292" fmla="*/ 2261689 h 7291226"/>
              <a:gd name="connsiteX34-293" fmla="*/ 8530746 w 9397013"/>
              <a:gd name="connsiteY34-294" fmla="*/ 7088026 h 7291226"/>
              <a:gd name="connsiteX35-295" fmla="*/ 9397013 w 9397013"/>
              <a:gd name="connsiteY35-296" fmla="*/ 7134207 h 7291226"/>
              <a:gd name="connsiteX36-297" fmla="*/ 8921338 w 9397013"/>
              <a:gd name="connsiteY36-298" fmla="*/ 7115735 h 7291226"/>
              <a:gd name="connsiteX37-299" fmla="*/ 5045299 w 9397013"/>
              <a:gd name="connsiteY37-300" fmla="*/ 2031113 h 7291226"/>
              <a:gd name="connsiteX38-301" fmla="*/ 5273037 w 9397013"/>
              <a:gd name="connsiteY38-302" fmla="*/ 1732846 h 7291226"/>
              <a:gd name="connsiteX39-303" fmla="*/ 9397013 w 9397013"/>
              <a:gd name="connsiteY39-304" fmla="*/ 7134207 h 7291226"/>
              <a:gd name="connsiteX0-305" fmla="*/ 168369 w 9397013"/>
              <a:gd name="connsiteY0-306" fmla="*/ 4779933 h 7291226"/>
              <a:gd name="connsiteX1-307" fmla="*/ 0 w 9397013"/>
              <a:gd name="connsiteY1-308" fmla="*/ 4409146 h 7291226"/>
              <a:gd name="connsiteX2-309" fmla="*/ 3332806 w 9397013"/>
              <a:gd name="connsiteY2-310" fmla="*/ 0 h 7291226"/>
              <a:gd name="connsiteX3-311" fmla="*/ 3794560 w 9397013"/>
              <a:gd name="connsiteY3-312" fmla="*/ 32861 h 7291226"/>
              <a:gd name="connsiteX4-313" fmla="*/ 168369 w 9397013"/>
              <a:gd name="connsiteY4-314" fmla="*/ 4779933 h 7291226"/>
              <a:gd name="connsiteX5-315" fmla="*/ 488220 w 9397013"/>
              <a:gd name="connsiteY5-316" fmla="*/ 5484315 h 7291226"/>
              <a:gd name="connsiteX6-317" fmla="*/ 299082 w 9397013"/>
              <a:gd name="connsiteY6-318" fmla="*/ 5067791 h 7291226"/>
              <a:gd name="connsiteX7-319" fmla="*/ 4106456 w 9397013"/>
              <a:gd name="connsiteY7-320" fmla="*/ 55057 h 7291226"/>
              <a:gd name="connsiteX8-321" fmla="*/ 4585079 w 9397013"/>
              <a:gd name="connsiteY8-322" fmla="*/ 89119 h 7291226"/>
              <a:gd name="connsiteX9-323" fmla="*/ 488220 w 9397013"/>
              <a:gd name="connsiteY9-324" fmla="*/ 5484315 h 7291226"/>
              <a:gd name="connsiteX10-325" fmla="*/ 779421 w 9397013"/>
              <a:gd name="connsiteY10-326" fmla="*/ 6125606 h 7291226"/>
              <a:gd name="connsiteX11-327" fmla="*/ 618065 w 9397013"/>
              <a:gd name="connsiteY11-328" fmla="*/ 5770263 h 7291226"/>
              <a:gd name="connsiteX12-329" fmla="*/ 4897528 w 9397013"/>
              <a:gd name="connsiteY12-330" fmla="*/ 111354 h 7291226"/>
              <a:gd name="connsiteX13-331" fmla="*/ 5324893 w 9397013"/>
              <a:gd name="connsiteY13-332" fmla="*/ 141768 h 7291226"/>
              <a:gd name="connsiteX14-333" fmla="*/ 779421 w 9397013"/>
              <a:gd name="connsiteY14-334" fmla="*/ 6125606 h 7291226"/>
              <a:gd name="connsiteX15-335" fmla="*/ 1099910 w 9397013"/>
              <a:gd name="connsiteY15-336" fmla="*/ 6831395 h 7291226"/>
              <a:gd name="connsiteX16-337" fmla="*/ 919656 w 9397013"/>
              <a:gd name="connsiteY16-338" fmla="*/ 6434435 h 7291226"/>
              <a:gd name="connsiteX17-339" fmla="*/ 5668965 w 9397013"/>
              <a:gd name="connsiteY17-340" fmla="*/ 166254 h 7291226"/>
              <a:gd name="connsiteX18-341" fmla="*/ 6114044 w 9397013"/>
              <a:gd name="connsiteY18-342" fmla="*/ 197929 h 7291226"/>
              <a:gd name="connsiteX19-343" fmla="*/ 1099910 w 9397013"/>
              <a:gd name="connsiteY19-344" fmla="*/ 6831395 h 7291226"/>
              <a:gd name="connsiteX20-345" fmla="*/ 7106560 w 9397013"/>
              <a:gd name="connsiteY20-346" fmla="*/ 7291226 h 7291226"/>
              <a:gd name="connsiteX21-347" fmla="*/ 6670875 w 9397013"/>
              <a:gd name="connsiteY21-348" fmla="*/ 7291226 h 7291226"/>
              <a:gd name="connsiteX22-349" fmla="*/ 3849932 w 9397013"/>
              <a:gd name="connsiteY22-350" fmla="*/ 3596670 h 7291226"/>
              <a:gd name="connsiteX23-351" fmla="*/ 4086202 w 9397013"/>
              <a:gd name="connsiteY23-352" fmla="*/ 3287229 h 7291226"/>
              <a:gd name="connsiteX24-353" fmla="*/ 7106560 w 9397013"/>
              <a:gd name="connsiteY24-354" fmla="*/ 7291226 h 7291226"/>
              <a:gd name="connsiteX25-355" fmla="*/ 7934229 w 9397013"/>
              <a:gd name="connsiteY25-356" fmla="*/ 7291226 h 7291226"/>
              <a:gd name="connsiteX26-357" fmla="*/ 7444802 w 9397013"/>
              <a:gd name="connsiteY26-358" fmla="*/ 7291226 h 7291226"/>
              <a:gd name="connsiteX27-359" fmla="*/ 4245793 w 9397013"/>
              <a:gd name="connsiteY27-360" fmla="*/ 3078214 h 7291226"/>
              <a:gd name="connsiteX28-361" fmla="*/ 4490696 w 9397013"/>
              <a:gd name="connsiteY28-362" fmla="*/ 2757469 h 7291226"/>
              <a:gd name="connsiteX29-363" fmla="*/ 7934229 w 9397013"/>
              <a:gd name="connsiteY29-364" fmla="*/ 7291226 h 7291226"/>
              <a:gd name="connsiteX30-365" fmla="*/ 8530746 w 9397013"/>
              <a:gd name="connsiteY30-366" fmla="*/ 7088026 h 7291226"/>
              <a:gd name="connsiteX31-367" fmla="*/ 8150153 w 9397013"/>
              <a:gd name="connsiteY31-368" fmla="*/ 7097262 h 7291226"/>
              <a:gd name="connsiteX32-369" fmla="*/ 4650570 w 9397013"/>
              <a:gd name="connsiteY32-370" fmla="*/ 2548084 h 7291226"/>
              <a:gd name="connsiteX33-371" fmla="*/ 4869244 w 9397013"/>
              <a:gd name="connsiteY33-372" fmla="*/ 2261689 h 7291226"/>
              <a:gd name="connsiteX34-373" fmla="*/ 8530746 w 9397013"/>
              <a:gd name="connsiteY34-374" fmla="*/ 7088026 h 7291226"/>
              <a:gd name="connsiteX35-375" fmla="*/ 9397013 w 9397013"/>
              <a:gd name="connsiteY35-376" fmla="*/ 7134207 h 7291226"/>
              <a:gd name="connsiteX36-377" fmla="*/ 8921338 w 9397013"/>
              <a:gd name="connsiteY36-378" fmla="*/ 7115735 h 7291226"/>
              <a:gd name="connsiteX37-379" fmla="*/ 5045299 w 9397013"/>
              <a:gd name="connsiteY37-380" fmla="*/ 2031113 h 7291226"/>
              <a:gd name="connsiteX38-381" fmla="*/ 5273037 w 9397013"/>
              <a:gd name="connsiteY38-382" fmla="*/ 1732846 h 7291226"/>
              <a:gd name="connsiteX39-383" fmla="*/ 9397013 w 9397013"/>
              <a:gd name="connsiteY39-384" fmla="*/ 7134207 h 7291226"/>
              <a:gd name="connsiteX0-385" fmla="*/ 168369 w 9397013"/>
              <a:gd name="connsiteY0-386" fmla="*/ 4779933 h 7291226"/>
              <a:gd name="connsiteX1-387" fmla="*/ 0 w 9397013"/>
              <a:gd name="connsiteY1-388" fmla="*/ 4409146 h 7291226"/>
              <a:gd name="connsiteX2-389" fmla="*/ 3332806 w 9397013"/>
              <a:gd name="connsiteY2-390" fmla="*/ 0 h 7291226"/>
              <a:gd name="connsiteX3-391" fmla="*/ 3794560 w 9397013"/>
              <a:gd name="connsiteY3-392" fmla="*/ 32861 h 7291226"/>
              <a:gd name="connsiteX4-393" fmla="*/ 168369 w 9397013"/>
              <a:gd name="connsiteY4-394" fmla="*/ 4779933 h 7291226"/>
              <a:gd name="connsiteX5-395" fmla="*/ 488220 w 9397013"/>
              <a:gd name="connsiteY5-396" fmla="*/ 5484315 h 7291226"/>
              <a:gd name="connsiteX6-397" fmla="*/ 299082 w 9397013"/>
              <a:gd name="connsiteY6-398" fmla="*/ 5067791 h 7291226"/>
              <a:gd name="connsiteX7-399" fmla="*/ 4106456 w 9397013"/>
              <a:gd name="connsiteY7-400" fmla="*/ 55057 h 7291226"/>
              <a:gd name="connsiteX8-401" fmla="*/ 4585079 w 9397013"/>
              <a:gd name="connsiteY8-402" fmla="*/ 89119 h 7291226"/>
              <a:gd name="connsiteX9-403" fmla="*/ 488220 w 9397013"/>
              <a:gd name="connsiteY9-404" fmla="*/ 5484315 h 7291226"/>
              <a:gd name="connsiteX10-405" fmla="*/ 779421 w 9397013"/>
              <a:gd name="connsiteY10-406" fmla="*/ 6125606 h 7291226"/>
              <a:gd name="connsiteX11-407" fmla="*/ 618065 w 9397013"/>
              <a:gd name="connsiteY11-408" fmla="*/ 5770263 h 7291226"/>
              <a:gd name="connsiteX12-409" fmla="*/ 4897528 w 9397013"/>
              <a:gd name="connsiteY12-410" fmla="*/ 111354 h 7291226"/>
              <a:gd name="connsiteX13-411" fmla="*/ 5324893 w 9397013"/>
              <a:gd name="connsiteY13-412" fmla="*/ 141768 h 7291226"/>
              <a:gd name="connsiteX14-413" fmla="*/ 779421 w 9397013"/>
              <a:gd name="connsiteY14-414" fmla="*/ 6125606 h 7291226"/>
              <a:gd name="connsiteX15-415" fmla="*/ 1099910 w 9397013"/>
              <a:gd name="connsiteY15-416" fmla="*/ 6831395 h 7291226"/>
              <a:gd name="connsiteX16-417" fmla="*/ 919656 w 9397013"/>
              <a:gd name="connsiteY16-418" fmla="*/ 6434435 h 7291226"/>
              <a:gd name="connsiteX17-419" fmla="*/ 5668965 w 9397013"/>
              <a:gd name="connsiteY17-420" fmla="*/ 166254 h 7291226"/>
              <a:gd name="connsiteX18-421" fmla="*/ 6114044 w 9397013"/>
              <a:gd name="connsiteY18-422" fmla="*/ 197929 h 7291226"/>
              <a:gd name="connsiteX19-423" fmla="*/ 1099910 w 9397013"/>
              <a:gd name="connsiteY19-424" fmla="*/ 6831395 h 7291226"/>
              <a:gd name="connsiteX20-425" fmla="*/ 7106560 w 9397013"/>
              <a:gd name="connsiteY20-426" fmla="*/ 7291226 h 7291226"/>
              <a:gd name="connsiteX21-427" fmla="*/ 6670875 w 9397013"/>
              <a:gd name="connsiteY21-428" fmla="*/ 7291226 h 7291226"/>
              <a:gd name="connsiteX22-429" fmla="*/ 3849932 w 9397013"/>
              <a:gd name="connsiteY22-430" fmla="*/ 3596670 h 7291226"/>
              <a:gd name="connsiteX23-431" fmla="*/ 4086202 w 9397013"/>
              <a:gd name="connsiteY23-432" fmla="*/ 3287229 h 7291226"/>
              <a:gd name="connsiteX24-433" fmla="*/ 7106560 w 9397013"/>
              <a:gd name="connsiteY24-434" fmla="*/ 7291226 h 7291226"/>
              <a:gd name="connsiteX25-435" fmla="*/ 7934229 w 9397013"/>
              <a:gd name="connsiteY25-436" fmla="*/ 7291226 h 7291226"/>
              <a:gd name="connsiteX26-437" fmla="*/ 7444802 w 9397013"/>
              <a:gd name="connsiteY26-438" fmla="*/ 7291226 h 7291226"/>
              <a:gd name="connsiteX27-439" fmla="*/ 4245793 w 9397013"/>
              <a:gd name="connsiteY27-440" fmla="*/ 3078214 h 7291226"/>
              <a:gd name="connsiteX28-441" fmla="*/ 4490696 w 9397013"/>
              <a:gd name="connsiteY28-442" fmla="*/ 2757469 h 7291226"/>
              <a:gd name="connsiteX29-443" fmla="*/ 7934229 w 9397013"/>
              <a:gd name="connsiteY29-444" fmla="*/ 7291226 h 7291226"/>
              <a:gd name="connsiteX30-445" fmla="*/ 8567691 w 9397013"/>
              <a:gd name="connsiteY30-446" fmla="*/ 7124971 h 7291226"/>
              <a:gd name="connsiteX31-447" fmla="*/ 8150153 w 9397013"/>
              <a:gd name="connsiteY31-448" fmla="*/ 7097262 h 7291226"/>
              <a:gd name="connsiteX32-449" fmla="*/ 4650570 w 9397013"/>
              <a:gd name="connsiteY32-450" fmla="*/ 2548084 h 7291226"/>
              <a:gd name="connsiteX33-451" fmla="*/ 4869244 w 9397013"/>
              <a:gd name="connsiteY33-452" fmla="*/ 2261689 h 7291226"/>
              <a:gd name="connsiteX34-453" fmla="*/ 8567691 w 9397013"/>
              <a:gd name="connsiteY34-454" fmla="*/ 7124971 h 7291226"/>
              <a:gd name="connsiteX35-455" fmla="*/ 9397013 w 9397013"/>
              <a:gd name="connsiteY35-456" fmla="*/ 7134207 h 7291226"/>
              <a:gd name="connsiteX36-457" fmla="*/ 8921338 w 9397013"/>
              <a:gd name="connsiteY36-458" fmla="*/ 7115735 h 7291226"/>
              <a:gd name="connsiteX37-459" fmla="*/ 5045299 w 9397013"/>
              <a:gd name="connsiteY37-460" fmla="*/ 2031113 h 7291226"/>
              <a:gd name="connsiteX38-461" fmla="*/ 5273037 w 9397013"/>
              <a:gd name="connsiteY38-462" fmla="*/ 1732846 h 7291226"/>
              <a:gd name="connsiteX39-463" fmla="*/ 9397013 w 9397013"/>
              <a:gd name="connsiteY39-464" fmla="*/ 7134207 h 7291226"/>
              <a:gd name="connsiteX0-465" fmla="*/ 168369 w 9397013"/>
              <a:gd name="connsiteY0-466" fmla="*/ 4779933 h 7291226"/>
              <a:gd name="connsiteX1-467" fmla="*/ 0 w 9397013"/>
              <a:gd name="connsiteY1-468" fmla="*/ 4409146 h 7291226"/>
              <a:gd name="connsiteX2-469" fmla="*/ 3332806 w 9397013"/>
              <a:gd name="connsiteY2-470" fmla="*/ 0 h 7291226"/>
              <a:gd name="connsiteX3-471" fmla="*/ 3794560 w 9397013"/>
              <a:gd name="connsiteY3-472" fmla="*/ 32861 h 7291226"/>
              <a:gd name="connsiteX4-473" fmla="*/ 168369 w 9397013"/>
              <a:gd name="connsiteY4-474" fmla="*/ 4779933 h 7291226"/>
              <a:gd name="connsiteX5-475" fmla="*/ 488220 w 9397013"/>
              <a:gd name="connsiteY5-476" fmla="*/ 5484315 h 7291226"/>
              <a:gd name="connsiteX6-477" fmla="*/ 299082 w 9397013"/>
              <a:gd name="connsiteY6-478" fmla="*/ 5067791 h 7291226"/>
              <a:gd name="connsiteX7-479" fmla="*/ 4106456 w 9397013"/>
              <a:gd name="connsiteY7-480" fmla="*/ 55057 h 7291226"/>
              <a:gd name="connsiteX8-481" fmla="*/ 4585079 w 9397013"/>
              <a:gd name="connsiteY8-482" fmla="*/ 89119 h 7291226"/>
              <a:gd name="connsiteX9-483" fmla="*/ 488220 w 9397013"/>
              <a:gd name="connsiteY9-484" fmla="*/ 5484315 h 7291226"/>
              <a:gd name="connsiteX10-485" fmla="*/ 779421 w 9397013"/>
              <a:gd name="connsiteY10-486" fmla="*/ 6125606 h 7291226"/>
              <a:gd name="connsiteX11-487" fmla="*/ 618065 w 9397013"/>
              <a:gd name="connsiteY11-488" fmla="*/ 5770263 h 7291226"/>
              <a:gd name="connsiteX12-489" fmla="*/ 4897528 w 9397013"/>
              <a:gd name="connsiteY12-490" fmla="*/ 111354 h 7291226"/>
              <a:gd name="connsiteX13-491" fmla="*/ 5324893 w 9397013"/>
              <a:gd name="connsiteY13-492" fmla="*/ 141768 h 7291226"/>
              <a:gd name="connsiteX14-493" fmla="*/ 779421 w 9397013"/>
              <a:gd name="connsiteY14-494" fmla="*/ 6125606 h 7291226"/>
              <a:gd name="connsiteX15-495" fmla="*/ 1099910 w 9397013"/>
              <a:gd name="connsiteY15-496" fmla="*/ 6831395 h 7291226"/>
              <a:gd name="connsiteX16-497" fmla="*/ 919656 w 9397013"/>
              <a:gd name="connsiteY16-498" fmla="*/ 6434435 h 7291226"/>
              <a:gd name="connsiteX17-499" fmla="*/ 5668965 w 9397013"/>
              <a:gd name="connsiteY17-500" fmla="*/ 166254 h 7291226"/>
              <a:gd name="connsiteX18-501" fmla="*/ 6114044 w 9397013"/>
              <a:gd name="connsiteY18-502" fmla="*/ 197929 h 7291226"/>
              <a:gd name="connsiteX19-503" fmla="*/ 1099910 w 9397013"/>
              <a:gd name="connsiteY19-504" fmla="*/ 6831395 h 7291226"/>
              <a:gd name="connsiteX20-505" fmla="*/ 7106560 w 9397013"/>
              <a:gd name="connsiteY20-506" fmla="*/ 7291226 h 7291226"/>
              <a:gd name="connsiteX21-507" fmla="*/ 6670875 w 9397013"/>
              <a:gd name="connsiteY21-508" fmla="*/ 7291226 h 7291226"/>
              <a:gd name="connsiteX22-509" fmla="*/ 3849932 w 9397013"/>
              <a:gd name="connsiteY22-510" fmla="*/ 3596670 h 7291226"/>
              <a:gd name="connsiteX23-511" fmla="*/ 4086202 w 9397013"/>
              <a:gd name="connsiteY23-512" fmla="*/ 3287229 h 7291226"/>
              <a:gd name="connsiteX24-513" fmla="*/ 7106560 w 9397013"/>
              <a:gd name="connsiteY24-514" fmla="*/ 7291226 h 7291226"/>
              <a:gd name="connsiteX25-515" fmla="*/ 7934229 w 9397013"/>
              <a:gd name="connsiteY25-516" fmla="*/ 7291226 h 7291226"/>
              <a:gd name="connsiteX26-517" fmla="*/ 7444802 w 9397013"/>
              <a:gd name="connsiteY26-518" fmla="*/ 7291226 h 7291226"/>
              <a:gd name="connsiteX27-519" fmla="*/ 4245793 w 9397013"/>
              <a:gd name="connsiteY27-520" fmla="*/ 3078214 h 7291226"/>
              <a:gd name="connsiteX28-521" fmla="*/ 4490696 w 9397013"/>
              <a:gd name="connsiteY28-522" fmla="*/ 2757469 h 7291226"/>
              <a:gd name="connsiteX29-523" fmla="*/ 7934229 w 9397013"/>
              <a:gd name="connsiteY29-524" fmla="*/ 7291226 h 7291226"/>
              <a:gd name="connsiteX30-525" fmla="*/ 8567691 w 9397013"/>
              <a:gd name="connsiteY30-526" fmla="*/ 7124971 h 7291226"/>
              <a:gd name="connsiteX31-527" fmla="*/ 8159389 w 9397013"/>
              <a:gd name="connsiteY31-528" fmla="*/ 7134208 h 7291226"/>
              <a:gd name="connsiteX32-529" fmla="*/ 4650570 w 9397013"/>
              <a:gd name="connsiteY32-530" fmla="*/ 2548084 h 7291226"/>
              <a:gd name="connsiteX33-531" fmla="*/ 4869244 w 9397013"/>
              <a:gd name="connsiteY33-532" fmla="*/ 2261689 h 7291226"/>
              <a:gd name="connsiteX34-533" fmla="*/ 8567691 w 9397013"/>
              <a:gd name="connsiteY34-534" fmla="*/ 7124971 h 7291226"/>
              <a:gd name="connsiteX35-535" fmla="*/ 9397013 w 9397013"/>
              <a:gd name="connsiteY35-536" fmla="*/ 7134207 h 7291226"/>
              <a:gd name="connsiteX36-537" fmla="*/ 8921338 w 9397013"/>
              <a:gd name="connsiteY36-538" fmla="*/ 7115735 h 7291226"/>
              <a:gd name="connsiteX37-539" fmla="*/ 5045299 w 9397013"/>
              <a:gd name="connsiteY37-540" fmla="*/ 2031113 h 7291226"/>
              <a:gd name="connsiteX38-541" fmla="*/ 5273037 w 9397013"/>
              <a:gd name="connsiteY38-542" fmla="*/ 1732846 h 7291226"/>
              <a:gd name="connsiteX39-543" fmla="*/ 9397013 w 9397013"/>
              <a:gd name="connsiteY39-544" fmla="*/ 7134207 h 7291226"/>
              <a:gd name="connsiteX0-545" fmla="*/ 168369 w 9397013"/>
              <a:gd name="connsiteY0-546" fmla="*/ 4779933 h 7291226"/>
              <a:gd name="connsiteX1-547" fmla="*/ 0 w 9397013"/>
              <a:gd name="connsiteY1-548" fmla="*/ 4409146 h 7291226"/>
              <a:gd name="connsiteX2-549" fmla="*/ 3332806 w 9397013"/>
              <a:gd name="connsiteY2-550" fmla="*/ 0 h 7291226"/>
              <a:gd name="connsiteX3-551" fmla="*/ 3794560 w 9397013"/>
              <a:gd name="connsiteY3-552" fmla="*/ 32861 h 7291226"/>
              <a:gd name="connsiteX4-553" fmla="*/ 168369 w 9397013"/>
              <a:gd name="connsiteY4-554" fmla="*/ 4779933 h 7291226"/>
              <a:gd name="connsiteX5-555" fmla="*/ 488220 w 9397013"/>
              <a:gd name="connsiteY5-556" fmla="*/ 5484315 h 7291226"/>
              <a:gd name="connsiteX6-557" fmla="*/ 299082 w 9397013"/>
              <a:gd name="connsiteY6-558" fmla="*/ 5067791 h 7291226"/>
              <a:gd name="connsiteX7-559" fmla="*/ 4106456 w 9397013"/>
              <a:gd name="connsiteY7-560" fmla="*/ 55057 h 7291226"/>
              <a:gd name="connsiteX8-561" fmla="*/ 4585079 w 9397013"/>
              <a:gd name="connsiteY8-562" fmla="*/ 89119 h 7291226"/>
              <a:gd name="connsiteX9-563" fmla="*/ 488220 w 9397013"/>
              <a:gd name="connsiteY9-564" fmla="*/ 5484315 h 7291226"/>
              <a:gd name="connsiteX10-565" fmla="*/ 779421 w 9397013"/>
              <a:gd name="connsiteY10-566" fmla="*/ 6125606 h 7291226"/>
              <a:gd name="connsiteX11-567" fmla="*/ 618065 w 9397013"/>
              <a:gd name="connsiteY11-568" fmla="*/ 5770263 h 7291226"/>
              <a:gd name="connsiteX12-569" fmla="*/ 4897528 w 9397013"/>
              <a:gd name="connsiteY12-570" fmla="*/ 111354 h 7291226"/>
              <a:gd name="connsiteX13-571" fmla="*/ 5324893 w 9397013"/>
              <a:gd name="connsiteY13-572" fmla="*/ 141768 h 7291226"/>
              <a:gd name="connsiteX14-573" fmla="*/ 779421 w 9397013"/>
              <a:gd name="connsiteY14-574" fmla="*/ 6125606 h 7291226"/>
              <a:gd name="connsiteX15-575" fmla="*/ 1099910 w 9397013"/>
              <a:gd name="connsiteY15-576" fmla="*/ 6831395 h 7291226"/>
              <a:gd name="connsiteX16-577" fmla="*/ 919656 w 9397013"/>
              <a:gd name="connsiteY16-578" fmla="*/ 6434435 h 7291226"/>
              <a:gd name="connsiteX17-579" fmla="*/ 5668965 w 9397013"/>
              <a:gd name="connsiteY17-580" fmla="*/ 166254 h 7291226"/>
              <a:gd name="connsiteX18-581" fmla="*/ 6114044 w 9397013"/>
              <a:gd name="connsiteY18-582" fmla="*/ 197929 h 7291226"/>
              <a:gd name="connsiteX19-583" fmla="*/ 1099910 w 9397013"/>
              <a:gd name="connsiteY19-584" fmla="*/ 6831395 h 7291226"/>
              <a:gd name="connsiteX20-585" fmla="*/ 7106560 w 9397013"/>
              <a:gd name="connsiteY20-586" fmla="*/ 7291226 h 7291226"/>
              <a:gd name="connsiteX21-587" fmla="*/ 6670875 w 9397013"/>
              <a:gd name="connsiteY21-588" fmla="*/ 7291226 h 7291226"/>
              <a:gd name="connsiteX22-589" fmla="*/ 3849932 w 9397013"/>
              <a:gd name="connsiteY22-590" fmla="*/ 3596670 h 7291226"/>
              <a:gd name="connsiteX23-591" fmla="*/ 4086202 w 9397013"/>
              <a:gd name="connsiteY23-592" fmla="*/ 3287229 h 7291226"/>
              <a:gd name="connsiteX24-593" fmla="*/ 7106560 w 9397013"/>
              <a:gd name="connsiteY24-594" fmla="*/ 7291226 h 7291226"/>
              <a:gd name="connsiteX25-595" fmla="*/ 7777211 w 9397013"/>
              <a:gd name="connsiteY25-596" fmla="*/ 7124972 h 7291226"/>
              <a:gd name="connsiteX26-597" fmla="*/ 7444802 w 9397013"/>
              <a:gd name="connsiteY26-598" fmla="*/ 7291226 h 7291226"/>
              <a:gd name="connsiteX27-599" fmla="*/ 4245793 w 9397013"/>
              <a:gd name="connsiteY27-600" fmla="*/ 3078214 h 7291226"/>
              <a:gd name="connsiteX28-601" fmla="*/ 4490696 w 9397013"/>
              <a:gd name="connsiteY28-602" fmla="*/ 2757469 h 7291226"/>
              <a:gd name="connsiteX29-603" fmla="*/ 7777211 w 9397013"/>
              <a:gd name="connsiteY29-604" fmla="*/ 7124972 h 7291226"/>
              <a:gd name="connsiteX30-605" fmla="*/ 8567691 w 9397013"/>
              <a:gd name="connsiteY30-606" fmla="*/ 7124971 h 7291226"/>
              <a:gd name="connsiteX31-607" fmla="*/ 8159389 w 9397013"/>
              <a:gd name="connsiteY31-608" fmla="*/ 7134208 h 7291226"/>
              <a:gd name="connsiteX32-609" fmla="*/ 4650570 w 9397013"/>
              <a:gd name="connsiteY32-610" fmla="*/ 2548084 h 7291226"/>
              <a:gd name="connsiteX33-611" fmla="*/ 4869244 w 9397013"/>
              <a:gd name="connsiteY33-612" fmla="*/ 2261689 h 7291226"/>
              <a:gd name="connsiteX34-613" fmla="*/ 8567691 w 9397013"/>
              <a:gd name="connsiteY34-614" fmla="*/ 7124971 h 7291226"/>
              <a:gd name="connsiteX35-615" fmla="*/ 9397013 w 9397013"/>
              <a:gd name="connsiteY35-616" fmla="*/ 7134207 h 7291226"/>
              <a:gd name="connsiteX36-617" fmla="*/ 8921338 w 9397013"/>
              <a:gd name="connsiteY36-618" fmla="*/ 7115735 h 7291226"/>
              <a:gd name="connsiteX37-619" fmla="*/ 5045299 w 9397013"/>
              <a:gd name="connsiteY37-620" fmla="*/ 2031113 h 7291226"/>
              <a:gd name="connsiteX38-621" fmla="*/ 5273037 w 9397013"/>
              <a:gd name="connsiteY38-622" fmla="*/ 1732846 h 7291226"/>
              <a:gd name="connsiteX39-623" fmla="*/ 9397013 w 9397013"/>
              <a:gd name="connsiteY39-624" fmla="*/ 7134207 h 7291226"/>
              <a:gd name="connsiteX0-625" fmla="*/ 168369 w 9397013"/>
              <a:gd name="connsiteY0-626" fmla="*/ 4779933 h 7291226"/>
              <a:gd name="connsiteX1-627" fmla="*/ 0 w 9397013"/>
              <a:gd name="connsiteY1-628" fmla="*/ 4409146 h 7291226"/>
              <a:gd name="connsiteX2-629" fmla="*/ 3332806 w 9397013"/>
              <a:gd name="connsiteY2-630" fmla="*/ 0 h 7291226"/>
              <a:gd name="connsiteX3-631" fmla="*/ 3794560 w 9397013"/>
              <a:gd name="connsiteY3-632" fmla="*/ 32861 h 7291226"/>
              <a:gd name="connsiteX4-633" fmla="*/ 168369 w 9397013"/>
              <a:gd name="connsiteY4-634" fmla="*/ 4779933 h 7291226"/>
              <a:gd name="connsiteX5-635" fmla="*/ 488220 w 9397013"/>
              <a:gd name="connsiteY5-636" fmla="*/ 5484315 h 7291226"/>
              <a:gd name="connsiteX6-637" fmla="*/ 299082 w 9397013"/>
              <a:gd name="connsiteY6-638" fmla="*/ 5067791 h 7291226"/>
              <a:gd name="connsiteX7-639" fmla="*/ 4106456 w 9397013"/>
              <a:gd name="connsiteY7-640" fmla="*/ 55057 h 7291226"/>
              <a:gd name="connsiteX8-641" fmla="*/ 4585079 w 9397013"/>
              <a:gd name="connsiteY8-642" fmla="*/ 89119 h 7291226"/>
              <a:gd name="connsiteX9-643" fmla="*/ 488220 w 9397013"/>
              <a:gd name="connsiteY9-644" fmla="*/ 5484315 h 7291226"/>
              <a:gd name="connsiteX10-645" fmla="*/ 779421 w 9397013"/>
              <a:gd name="connsiteY10-646" fmla="*/ 6125606 h 7291226"/>
              <a:gd name="connsiteX11-647" fmla="*/ 618065 w 9397013"/>
              <a:gd name="connsiteY11-648" fmla="*/ 5770263 h 7291226"/>
              <a:gd name="connsiteX12-649" fmla="*/ 4897528 w 9397013"/>
              <a:gd name="connsiteY12-650" fmla="*/ 111354 h 7291226"/>
              <a:gd name="connsiteX13-651" fmla="*/ 5324893 w 9397013"/>
              <a:gd name="connsiteY13-652" fmla="*/ 141768 h 7291226"/>
              <a:gd name="connsiteX14-653" fmla="*/ 779421 w 9397013"/>
              <a:gd name="connsiteY14-654" fmla="*/ 6125606 h 7291226"/>
              <a:gd name="connsiteX15-655" fmla="*/ 1099910 w 9397013"/>
              <a:gd name="connsiteY15-656" fmla="*/ 6831395 h 7291226"/>
              <a:gd name="connsiteX16-657" fmla="*/ 919656 w 9397013"/>
              <a:gd name="connsiteY16-658" fmla="*/ 6434435 h 7291226"/>
              <a:gd name="connsiteX17-659" fmla="*/ 5668965 w 9397013"/>
              <a:gd name="connsiteY17-660" fmla="*/ 166254 h 7291226"/>
              <a:gd name="connsiteX18-661" fmla="*/ 6114044 w 9397013"/>
              <a:gd name="connsiteY18-662" fmla="*/ 197929 h 7291226"/>
              <a:gd name="connsiteX19-663" fmla="*/ 1099910 w 9397013"/>
              <a:gd name="connsiteY19-664" fmla="*/ 6831395 h 7291226"/>
              <a:gd name="connsiteX20-665" fmla="*/ 7106560 w 9397013"/>
              <a:gd name="connsiteY20-666" fmla="*/ 7291226 h 7291226"/>
              <a:gd name="connsiteX21-667" fmla="*/ 6670875 w 9397013"/>
              <a:gd name="connsiteY21-668" fmla="*/ 7291226 h 7291226"/>
              <a:gd name="connsiteX22-669" fmla="*/ 3849932 w 9397013"/>
              <a:gd name="connsiteY22-670" fmla="*/ 3596670 h 7291226"/>
              <a:gd name="connsiteX23-671" fmla="*/ 4086202 w 9397013"/>
              <a:gd name="connsiteY23-672" fmla="*/ 3287229 h 7291226"/>
              <a:gd name="connsiteX24-673" fmla="*/ 7106560 w 9397013"/>
              <a:gd name="connsiteY24-674" fmla="*/ 7291226 h 7291226"/>
              <a:gd name="connsiteX25-675" fmla="*/ 7777211 w 9397013"/>
              <a:gd name="connsiteY25-676" fmla="*/ 7124972 h 7291226"/>
              <a:gd name="connsiteX26-677" fmla="*/ 7324729 w 9397013"/>
              <a:gd name="connsiteY26-678" fmla="*/ 7124972 h 7291226"/>
              <a:gd name="connsiteX27-679" fmla="*/ 4245793 w 9397013"/>
              <a:gd name="connsiteY27-680" fmla="*/ 3078214 h 7291226"/>
              <a:gd name="connsiteX28-681" fmla="*/ 4490696 w 9397013"/>
              <a:gd name="connsiteY28-682" fmla="*/ 2757469 h 7291226"/>
              <a:gd name="connsiteX29-683" fmla="*/ 7777211 w 9397013"/>
              <a:gd name="connsiteY29-684" fmla="*/ 7124972 h 7291226"/>
              <a:gd name="connsiteX30-685" fmla="*/ 8567691 w 9397013"/>
              <a:gd name="connsiteY30-686" fmla="*/ 7124971 h 7291226"/>
              <a:gd name="connsiteX31-687" fmla="*/ 8159389 w 9397013"/>
              <a:gd name="connsiteY31-688" fmla="*/ 7134208 h 7291226"/>
              <a:gd name="connsiteX32-689" fmla="*/ 4650570 w 9397013"/>
              <a:gd name="connsiteY32-690" fmla="*/ 2548084 h 7291226"/>
              <a:gd name="connsiteX33-691" fmla="*/ 4869244 w 9397013"/>
              <a:gd name="connsiteY33-692" fmla="*/ 2261689 h 7291226"/>
              <a:gd name="connsiteX34-693" fmla="*/ 8567691 w 9397013"/>
              <a:gd name="connsiteY34-694" fmla="*/ 7124971 h 7291226"/>
              <a:gd name="connsiteX35-695" fmla="*/ 9397013 w 9397013"/>
              <a:gd name="connsiteY35-696" fmla="*/ 7134207 h 7291226"/>
              <a:gd name="connsiteX36-697" fmla="*/ 8921338 w 9397013"/>
              <a:gd name="connsiteY36-698" fmla="*/ 7115735 h 7291226"/>
              <a:gd name="connsiteX37-699" fmla="*/ 5045299 w 9397013"/>
              <a:gd name="connsiteY37-700" fmla="*/ 2031113 h 7291226"/>
              <a:gd name="connsiteX38-701" fmla="*/ 5273037 w 9397013"/>
              <a:gd name="connsiteY38-702" fmla="*/ 1732846 h 7291226"/>
              <a:gd name="connsiteX39-703" fmla="*/ 9397013 w 9397013"/>
              <a:gd name="connsiteY39-704" fmla="*/ 7134207 h 7291226"/>
              <a:gd name="connsiteX0-705" fmla="*/ 168369 w 9397013"/>
              <a:gd name="connsiteY0-706" fmla="*/ 4779933 h 7291226"/>
              <a:gd name="connsiteX1-707" fmla="*/ 0 w 9397013"/>
              <a:gd name="connsiteY1-708" fmla="*/ 4409146 h 7291226"/>
              <a:gd name="connsiteX2-709" fmla="*/ 3332806 w 9397013"/>
              <a:gd name="connsiteY2-710" fmla="*/ 0 h 7291226"/>
              <a:gd name="connsiteX3-711" fmla="*/ 3794560 w 9397013"/>
              <a:gd name="connsiteY3-712" fmla="*/ 32861 h 7291226"/>
              <a:gd name="connsiteX4-713" fmla="*/ 168369 w 9397013"/>
              <a:gd name="connsiteY4-714" fmla="*/ 4779933 h 7291226"/>
              <a:gd name="connsiteX5-715" fmla="*/ 488220 w 9397013"/>
              <a:gd name="connsiteY5-716" fmla="*/ 5484315 h 7291226"/>
              <a:gd name="connsiteX6-717" fmla="*/ 299082 w 9397013"/>
              <a:gd name="connsiteY6-718" fmla="*/ 5067791 h 7291226"/>
              <a:gd name="connsiteX7-719" fmla="*/ 4106456 w 9397013"/>
              <a:gd name="connsiteY7-720" fmla="*/ 55057 h 7291226"/>
              <a:gd name="connsiteX8-721" fmla="*/ 4585079 w 9397013"/>
              <a:gd name="connsiteY8-722" fmla="*/ 89119 h 7291226"/>
              <a:gd name="connsiteX9-723" fmla="*/ 488220 w 9397013"/>
              <a:gd name="connsiteY9-724" fmla="*/ 5484315 h 7291226"/>
              <a:gd name="connsiteX10-725" fmla="*/ 779421 w 9397013"/>
              <a:gd name="connsiteY10-726" fmla="*/ 6125606 h 7291226"/>
              <a:gd name="connsiteX11-727" fmla="*/ 618065 w 9397013"/>
              <a:gd name="connsiteY11-728" fmla="*/ 5770263 h 7291226"/>
              <a:gd name="connsiteX12-729" fmla="*/ 4897528 w 9397013"/>
              <a:gd name="connsiteY12-730" fmla="*/ 111354 h 7291226"/>
              <a:gd name="connsiteX13-731" fmla="*/ 5324893 w 9397013"/>
              <a:gd name="connsiteY13-732" fmla="*/ 141768 h 7291226"/>
              <a:gd name="connsiteX14-733" fmla="*/ 779421 w 9397013"/>
              <a:gd name="connsiteY14-734" fmla="*/ 6125606 h 7291226"/>
              <a:gd name="connsiteX15-735" fmla="*/ 1099910 w 9397013"/>
              <a:gd name="connsiteY15-736" fmla="*/ 6831395 h 7291226"/>
              <a:gd name="connsiteX16-737" fmla="*/ 919656 w 9397013"/>
              <a:gd name="connsiteY16-738" fmla="*/ 6434435 h 7291226"/>
              <a:gd name="connsiteX17-739" fmla="*/ 5668965 w 9397013"/>
              <a:gd name="connsiteY17-740" fmla="*/ 166254 h 7291226"/>
              <a:gd name="connsiteX18-741" fmla="*/ 6114044 w 9397013"/>
              <a:gd name="connsiteY18-742" fmla="*/ 197929 h 7291226"/>
              <a:gd name="connsiteX19-743" fmla="*/ 1099910 w 9397013"/>
              <a:gd name="connsiteY19-744" fmla="*/ 6831395 h 7291226"/>
              <a:gd name="connsiteX20-745" fmla="*/ 6968015 w 9397013"/>
              <a:gd name="connsiteY20-746" fmla="*/ 7143444 h 7291226"/>
              <a:gd name="connsiteX21-747" fmla="*/ 6670875 w 9397013"/>
              <a:gd name="connsiteY21-748" fmla="*/ 7291226 h 7291226"/>
              <a:gd name="connsiteX22-749" fmla="*/ 3849932 w 9397013"/>
              <a:gd name="connsiteY22-750" fmla="*/ 3596670 h 7291226"/>
              <a:gd name="connsiteX23-751" fmla="*/ 4086202 w 9397013"/>
              <a:gd name="connsiteY23-752" fmla="*/ 3287229 h 7291226"/>
              <a:gd name="connsiteX24-753" fmla="*/ 6968015 w 9397013"/>
              <a:gd name="connsiteY24-754" fmla="*/ 7143444 h 7291226"/>
              <a:gd name="connsiteX25-755" fmla="*/ 7777211 w 9397013"/>
              <a:gd name="connsiteY25-756" fmla="*/ 7124972 h 7291226"/>
              <a:gd name="connsiteX26-757" fmla="*/ 7324729 w 9397013"/>
              <a:gd name="connsiteY26-758" fmla="*/ 7124972 h 7291226"/>
              <a:gd name="connsiteX27-759" fmla="*/ 4245793 w 9397013"/>
              <a:gd name="connsiteY27-760" fmla="*/ 3078214 h 7291226"/>
              <a:gd name="connsiteX28-761" fmla="*/ 4490696 w 9397013"/>
              <a:gd name="connsiteY28-762" fmla="*/ 2757469 h 7291226"/>
              <a:gd name="connsiteX29-763" fmla="*/ 7777211 w 9397013"/>
              <a:gd name="connsiteY29-764" fmla="*/ 7124972 h 7291226"/>
              <a:gd name="connsiteX30-765" fmla="*/ 8567691 w 9397013"/>
              <a:gd name="connsiteY30-766" fmla="*/ 7124971 h 7291226"/>
              <a:gd name="connsiteX31-767" fmla="*/ 8159389 w 9397013"/>
              <a:gd name="connsiteY31-768" fmla="*/ 7134208 h 7291226"/>
              <a:gd name="connsiteX32-769" fmla="*/ 4650570 w 9397013"/>
              <a:gd name="connsiteY32-770" fmla="*/ 2548084 h 7291226"/>
              <a:gd name="connsiteX33-771" fmla="*/ 4869244 w 9397013"/>
              <a:gd name="connsiteY33-772" fmla="*/ 2261689 h 7291226"/>
              <a:gd name="connsiteX34-773" fmla="*/ 8567691 w 9397013"/>
              <a:gd name="connsiteY34-774" fmla="*/ 7124971 h 7291226"/>
              <a:gd name="connsiteX35-775" fmla="*/ 9397013 w 9397013"/>
              <a:gd name="connsiteY35-776" fmla="*/ 7134207 h 7291226"/>
              <a:gd name="connsiteX36-777" fmla="*/ 8921338 w 9397013"/>
              <a:gd name="connsiteY36-778" fmla="*/ 7115735 h 7291226"/>
              <a:gd name="connsiteX37-779" fmla="*/ 5045299 w 9397013"/>
              <a:gd name="connsiteY37-780" fmla="*/ 2031113 h 7291226"/>
              <a:gd name="connsiteX38-781" fmla="*/ 5273037 w 9397013"/>
              <a:gd name="connsiteY38-782" fmla="*/ 1732846 h 7291226"/>
              <a:gd name="connsiteX39-783" fmla="*/ 9397013 w 9397013"/>
              <a:gd name="connsiteY39-784" fmla="*/ 7134207 h 7291226"/>
              <a:gd name="connsiteX0-785" fmla="*/ 168369 w 9397013"/>
              <a:gd name="connsiteY0-786" fmla="*/ 4779933 h 7143444"/>
              <a:gd name="connsiteX1-787" fmla="*/ 0 w 9397013"/>
              <a:gd name="connsiteY1-788" fmla="*/ 4409146 h 7143444"/>
              <a:gd name="connsiteX2-789" fmla="*/ 3332806 w 9397013"/>
              <a:gd name="connsiteY2-790" fmla="*/ 0 h 7143444"/>
              <a:gd name="connsiteX3-791" fmla="*/ 3794560 w 9397013"/>
              <a:gd name="connsiteY3-792" fmla="*/ 32861 h 7143444"/>
              <a:gd name="connsiteX4-793" fmla="*/ 168369 w 9397013"/>
              <a:gd name="connsiteY4-794" fmla="*/ 4779933 h 7143444"/>
              <a:gd name="connsiteX5-795" fmla="*/ 488220 w 9397013"/>
              <a:gd name="connsiteY5-796" fmla="*/ 5484315 h 7143444"/>
              <a:gd name="connsiteX6-797" fmla="*/ 299082 w 9397013"/>
              <a:gd name="connsiteY6-798" fmla="*/ 5067791 h 7143444"/>
              <a:gd name="connsiteX7-799" fmla="*/ 4106456 w 9397013"/>
              <a:gd name="connsiteY7-800" fmla="*/ 55057 h 7143444"/>
              <a:gd name="connsiteX8-801" fmla="*/ 4585079 w 9397013"/>
              <a:gd name="connsiteY8-802" fmla="*/ 89119 h 7143444"/>
              <a:gd name="connsiteX9-803" fmla="*/ 488220 w 9397013"/>
              <a:gd name="connsiteY9-804" fmla="*/ 5484315 h 7143444"/>
              <a:gd name="connsiteX10-805" fmla="*/ 779421 w 9397013"/>
              <a:gd name="connsiteY10-806" fmla="*/ 6125606 h 7143444"/>
              <a:gd name="connsiteX11-807" fmla="*/ 618065 w 9397013"/>
              <a:gd name="connsiteY11-808" fmla="*/ 5770263 h 7143444"/>
              <a:gd name="connsiteX12-809" fmla="*/ 4897528 w 9397013"/>
              <a:gd name="connsiteY12-810" fmla="*/ 111354 h 7143444"/>
              <a:gd name="connsiteX13-811" fmla="*/ 5324893 w 9397013"/>
              <a:gd name="connsiteY13-812" fmla="*/ 141768 h 7143444"/>
              <a:gd name="connsiteX14-813" fmla="*/ 779421 w 9397013"/>
              <a:gd name="connsiteY14-814" fmla="*/ 6125606 h 7143444"/>
              <a:gd name="connsiteX15-815" fmla="*/ 1099910 w 9397013"/>
              <a:gd name="connsiteY15-816" fmla="*/ 6831395 h 7143444"/>
              <a:gd name="connsiteX16-817" fmla="*/ 919656 w 9397013"/>
              <a:gd name="connsiteY16-818" fmla="*/ 6434435 h 7143444"/>
              <a:gd name="connsiteX17-819" fmla="*/ 5668965 w 9397013"/>
              <a:gd name="connsiteY17-820" fmla="*/ 166254 h 7143444"/>
              <a:gd name="connsiteX18-821" fmla="*/ 6114044 w 9397013"/>
              <a:gd name="connsiteY18-822" fmla="*/ 197929 h 7143444"/>
              <a:gd name="connsiteX19-823" fmla="*/ 1099910 w 9397013"/>
              <a:gd name="connsiteY19-824" fmla="*/ 6831395 h 7143444"/>
              <a:gd name="connsiteX20-825" fmla="*/ 6968015 w 9397013"/>
              <a:gd name="connsiteY20-826" fmla="*/ 7143444 h 7143444"/>
              <a:gd name="connsiteX21-827" fmla="*/ 6550802 w 9397013"/>
              <a:gd name="connsiteY21-828" fmla="*/ 7143444 h 7143444"/>
              <a:gd name="connsiteX22-829" fmla="*/ 3849932 w 9397013"/>
              <a:gd name="connsiteY22-830" fmla="*/ 3596670 h 7143444"/>
              <a:gd name="connsiteX23-831" fmla="*/ 4086202 w 9397013"/>
              <a:gd name="connsiteY23-832" fmla="*/ 3287229 h 7143444"/>
              <a:gd name="connsiteX24-833" fmla="*/ 6968015 w 9397013"/>
              <a:gd name="connsiteY24-834" fmla="*/ 7143444 h 7143444"/>
              <a:gd name="connsiteX25-835" fmla="*/ 7777211 w 9397013"/>
              <a:gd name="connsiteY25-836" fmla="*/ 7124972 h 7143444"/>
              <a:gd name="connsiteX26-837" fmla="*/ 7324729 w 9397013"/>
              <a:gd name="connsiteY26-838" fmla="*/ 7124972 h 7143444"/>
              <a:gd name="connsiteX27-839" fmla="*/ 4245793 w 9397013"/>
              <a:gd name="connsiteY27-840" fmla="*/ 3078214 h 7143444"/>
              <a:gd name="connsiteX28-841" fmla="*/ 4490696 w 9397013"/>
              <a:gd name="connsiteY28-842" fmla="*/ 2757469 h 7143444"/>
              <a:gd name="connsiteX29-843" fmla="*/ 7777211 w 9397013"/>
              <a:gd name="connsiteY29-844" fmla="*/ 7124972 h 7143444"/>
              <a:gd name="connsiteX30-845" fmla="*/ 8567691 w 9397013"/>
              <a:gd name="connsiteY30-846" fmla="*/ 7124971 h 7143444"/>
              <a:gd name="connsiteX31-847" fmla="*/ 8159389 w 9397013"/>
              <a:gd name="connsiteY31-848" fmla="*/ 7134208 h 7143444"/>
              <a:gd name="connsiteX32-849" fmla="*/ 4650570 w 9397013"/>
              <a:gd name="connsiteY32-850" fmla="*/ 2548084 h 7143444"/>
              <a:gd name="connsiteX33-851" fmla="*/ 4869244 w 9397013"/>
              <a:gd name="connsiteY33-852" fmla="*/ 2261689 h 7143444"/>
              <a:gd name="connsiteX34-853" fmla="*/ 8567691 w 9397013"/>
              <a:gd name="connsiteY34-854" fmla="*/ 7124971 h 7143444"/>
              <a:gd name="connsiteX35-855" fmla="*/ 9397013 w 9397013"/>
              <a:gd name="connsiteY35-856" fmla="*/ 7134207 h 7143444"/>
              <a:gd name="connsiteX36-857" fmla="*/ 8921338 w 9397013"/>
              <a:gd name="connsiteY36-858" fmla="*/ 7115735 h 7143444"/>
              <a:gd name="connsiteX37-859" fmla="*/ 5045299 w 9397013"/>
              <a:gd name="connsiteY37-860" fmla="*/ 2031113 h 7143444"/>
              <a:gd name="connsiteX38-861" fmla="*/ 5273037 w 9397013"/>
              <a:gd name="connsiteY38-862" fmla="*/ 1732846 h 7143444"/>
              <a:gd name="connsiteX39-863" fmla="*/ 9397013 w 9397013"/>
              <a:gd name="connsiteY39-864" fmla="*/ 7134207 h 7143444"/>
              <a:gd name="connsiteX0-865" fmla="*/ 168369 w 9397013"/>
              <a:gd name="connsiteY0-866" fmla="*/ 4779933 h 7143444"/>
              <a:gd name="connsiteX1-867" fmla="*/ 0 w 9397013"/>
              <a:gd name="connsiteY1-868" fmla="*/ 4409146 h 7143444"/>
              <a:gd name="connsiteX2-869" fmla="*/ 3332806 w 9397013"/>
              <a:gd name="connsiteY2-870" fmla="*/ 0 h 7143444"/>
              <a:gd name="connsiteX3-871" fmla="*/ 3794560 w 9397013"/>
              <a:gd name="connsiteY3-872" fmla="*/ 32861 h 7143444"/>
              <a:gd name="connsiteX4-873" fmla="*/ 168369 w 9397013"/>
              <a:gd name="connsiteY4-874" fmla="*/ 4779933 h 7143444"/>
              <a:gd name="connsiteX5-875" fmla="*/ 488220 w 9397013"/>
              <a:gd name="connsiteY5-876" fmla="*/ 5484315 h 7143444"/>
              <a:gd name="connsiteX6-877" fmla="*/ 299082 w 9397013"/>
              <a:gd name="connsiteY6-878" fmla="*/ 5067791 h 7143444"/>
              <a:gd name="connsiteX7-879" fmla="*/ 4106456 w 9397013"/>
              <a:gd name="connsiteY7-880" fmla="*/ 55057 h 7143444"/>
              <a:gd name="connsiteX8-881" fmla="*/ 4585079 w 9397013"/>
              <a:gd name="connsiteY8-882" fmla="*/ 89119 h 7143444"/>
              <a:gd name="connsiteX9-883" fmla="*/ 488220 w 9397013"/>
              <a:gd name="connsiteY9-884" fmla="*/ 5484315 h 7143444"/>
              <a:gd name="connsiteX10-885" fmla="*/ 779421 w 9397013"/>
              <a:gd name="connsiteY10-886" fmla="*/ 6125606 h 7143444"/>
              <a:gd name="connsiteX11-887" fmla="*/ 618065 w 9397013"/>
              <a:gd name="connsiteY11-888" fmla="*/ 5770263 h 7143444"/>
              <a:gd name="connsiteX12-889" fmla="*/ 4897528 w 9397013"/>
              <a:gd name="connsiteY12-890" fmla="*/ 111354 h 7143444"/>
              <a:gd name="connsiteX13-891" fmla="*/ 5324893 w 9397013"/>
              <a:gd name="connsiteY13-892" fmla="*/ 141768 h 7143444"/>
              <a:gd name="connsiteX14-893" fmla="*/ 779421 w 9397013"/>
              <a:gd name="connsiteY14-894" fmla="*/ 6125606 h 7143444"/>
              <a:gd name="connsiteX15-895" fmla="*/ 1099910 w 9397013"/>
              <a:gd name="connsiteY15-896" fmla="*/ 6831395 h 7143444"/>
              <a:gd name="connsiteX16-897" fmla="*/ 919656 w 9397013"/>
              <a:gd name="connsiteY16-898" fmla="*/ 6434435 h 7143444"/>
              <a:gd name="connsiteX17-899" fmla="*/ 5668965 w 9397013"/>
              <a:gd name="connsiteY17-900" fmla="*/ 166254 h 7143444"/>
              <a:gd name="connsiteX18-901" fmla="*/ 6114044 w 9397013"/>
              <a:gd name="connsiteY18-902" fmla="*/ 197929 h 7143444"/>
              <a:gd name="connsiteX19-903" fmla="*/ 1099910 w 9397013"/>
              <a:gd name="connsiteY19-904" fmla="*/ 6831395 h 7143444"/>
              <a:gd name="connsiteX20-905" fmla="*/ 6958778 w 9397013"/>
              <a:gd name="connsiteY20-906" fmla="*/ 7124971 h 7143444"/>
              <a:gd name="connsiteX21-907" fmla="*/ 6550802 w 9397013"/>
              <a:gd name="connsiteY21-908" fmla="*/ 7143444 h 7143444"/>
              <a:gd name="connsiteX22-909" fmla="*/ 3849932 w 9397013"/>
              <a:gd name="connsiteY22-910" fmla="*/ 3596670 h 7143444"/>
              <a:gd name="connsiteX23-911" fmla="*/ 4086202 w 9397013"/>
              <a:gd name="connsiteY23-912" fmla="*/ 3287229 h 7143444"/>
              <a:gd name="connsiteX24-913" fmla="*/ 6958778 w 9397013"/>
              <a:gd name="connsiteY24-914" fmla="*/ 7124971 h 7143444"/>
              <a:gd name="connsiteX25-915" fmla="*/ 7777211 w 9397013"/>
              <a:gd name="connsiteY25-916" fmla="*/ 7124972 h 7143444"/>
              <a:gd name="connsiteX26-917" fmla="*/ 7324729 w 9397013"/>
              <a:gd name="connsiteY26-918" fmla="*/ 7124972 h 7143444"/>
              <a:gd name="connsiteX27-919" fmla="*/ 4245793 w 9397013"/>
              <a:gd name="connsiteY27-920" fmla="*/ 3078214 h 7143444"/>
              <a:gd name="connsiteX28-921" fmla="*/ 4490696 w 9397013"/>
              <a:gd name="connsiteY28-922" fmla="*/ 2757469 h 7143444"/>
              <a:gd name="connsiteX29-923" fmla="*/ 7777211 w 9397013"/>
              <a:gd name="connsiteY29-924" fmla="*/ 7124972 h 7143444"/>
              <a:gd name="connsiteX30-925" fmla="*/ 8567691 w 9397013"/>
              <a:gd name="connsiteY30-926" fmla="*/ 7124971 h 7143444"/>
              <a:gd name="connsiteX31-927" fmla="*/ 8159389 w 9397013"/>
              <a:gd name="connsiteY31-928" fmla="*/ 7134208 h 7143444"/>
              <a:gd name="connsiteX32-929" fmla="*/ 4650570 w 9397013"/>
              <a:gd name="connsiteY32-930" fmla="*/ 2548084 h 7143444"/>
              <a:gd name="connsiteX33-931" fmla="*/ 4869244 w 9397013"/>
              <a:gd name="connsiteY33-932" fmla="*/ 2261689 h 7143444"/>
              <a:gd name="connsiteX34-933" fmla="*/ 8567691 w 9397013"/>
              <a:gd name="connsiteY34-934" fmla="*/ 7124971 h 7143444"/>
              <a:gd name="connsiteX35-935" fmla="*/ 9397013 w 9397013"/>
              <a:gd name="connsiteY35-936" fmla="*/ 7134207 h 7143444"/>
              <a:gd name="connsiteX36-937" fmla="*/ 8921338 w 9397013"/>
              <a:gd name="connsiteY36-938" fmla="*/ 7115735 h 7143444"/>
              <a:gd name="connsiteX37-939" fmla="*/ 5045299 w 9397013"/>
              <a:gd name="connsiteY37-940" fmla="*/ 2031113 h 7143444"/>
              <a:gd name="connsiteX38-941" fmla="*/ 5273037 w 9397013"/>
              <a:gd name="connsiteY38-942" fmla="*/ 1732846 h 7143444"/>
              <a:gd name="connsiteX39-943" fmla="*/ 9397013 w 9397013"/>
              <a:gd name="connsiteY39-944" fmla="*/ 7134207 h 7143444"/>
              <a:gd name="connsiteX0-945" fmla="*/ 168369 w 9397013"/>
              <a:gd name="connsiteY0-946" fmla="*/ 4779933 h 7134208"/>
              <a:gd name="connsiteX1-947" fmla="*/ 0 w 9397013"/>
              <a:gd name="connsiteY1-948" fmla="*/ 4409146 h 7134208"/>
              <a:gd name="connsiteX2-949" fmla="*/ 3332806 w 9397013"/>
              <a:gd name="connsiteY2-950" fmla="*/ 0 h 7134208"/>
              <a:gd name="connsiteX3-951" fmla="*/ 3794560 w 9397013"/>
              <a:gd name="connsiteY3-952" fmla="*/ 32861 h 7134208"/>
              <a:gd name="connsiteX4-953" fmla="*/ 168369 w 9397013"/>
              <a:gd name="connsiteY4-954" fmla="*/ 4779933 h 7134208"/>
              <a:gd name="connsiteX5-955" fmla="*/ 488220 w 9397013"/>
              <a:gd name="connsiteY5-956" fmla="*/ 5484315 h 7134208"/>
              <a:gd name="connsiteX6-957" fmla="*/ 299082 w 9397013"/>
              <a:gd name="connsiteY6-958" fmla="*/ 5067791 h 7134208"/>
              <a:gd name="connsiteX7-959" fmla="*/ 4106456 w 9397013"/>
              <a:gd name="connsiteY7-960" fmla="*/ 55057 h 7134208"/>
              <a:gd name="connsiteX8-961" fmla="*/ 4585079 w 9397013"/>
              <a:gd name="connsiteY8-962" fmla="*/ 89119 h 7134208"/>
              <a:gd name="connsiteX9-963" fmla="*/ 488220 w 9397013"/>
              <a:gd name="connsiteY9-964" fmla="*/ 5484315 h 7134208"/>
              <a:gd name="connsiteX10-965" fmla="*/ 779421 w 9397013"/>
              <a:gd name="connsiteY10-966" fmla="*/ 6125606 h 7134208"/>
              <a:gd name="connsiteX11-967" fmla="*/ 618065 w 9397013"/>
              <a:gd name="connsiteY11-968" fmla="*/ 5770263 h 7134208"/>
              <a:gd name="connsiteX12-969" fmla="*/ 4897528 w 9397013"/>
              <a:gd name="connsiteY12-970" fmla="*/ 111354 h 7134208"/>
              <a:gd name="connsiteX13-971" fmla="*/ 5324893 w 9397013"/>
              <a:gd name="connsiteY13-972" fmla="*/ 141768 h 7134208"/>
              <a:gd name="connsiteX14-973" fmla="*/ 779421 w 9397013"/>
              <a:gd name="connsiteY14-974" fmla="*/ 6125606 h 7134208"/>
              <a:gd name="connsiteX15-975" fmla="*/ 1099910 w 9397013"/>
              <a:gd name="connsiteY15-976" fmla="*/ 6831395 h 7134208"/>
              <a:gd name="connsiteX16-977" fmla="*/ 919656 w 9397013"/>
              <a:gd name="connsiteY16-978" fmla="*/ 6434435 h 7134208"/>
              <a:gd name="connsiteX17-979" fmla="*/ 5668965 w 9397013"/>
              <a:gd name="connsiteY17-980" fmla="*/ 166254 h 7134208"/>
              <a:gd name="connsiteX18-981" fmla="*/ 6114044 w 9397013"/>
              <a:gd name="connsiteY18-982" fmla="*/ 197929 h 7134208"/>
              <a:gd name="connsiteX19-983" fmla="*/ 1099910 w 9397013"/>
              <a:gd name="connsiteY19-984" fmla="*/ 6831395 h 7134208"/>
              <a:gd name="connsiteX20-985" fmla="*/ 6958778 w 9397013"/>
              <a:gd name="connsiteY20-986" fmla="*/ 7124971 h 7134208"/>
              <a:gd name="connsiteX21-987" fmla="*/ 6541566 w 9397013"/>
              <a:gd name="connsiteY21-988" fmla="*/ 7115735 h 7134208"/>
              <a:gd name="connsiteX22-989" fmla="*/ 3849932 w 9397013"/>
              <a:gd name="connsiteY22-990" fmla="*/ 3596670 h 7134208"/>
              <a:gd name="connsiteX23-991" fmla="*/ 4086202 w 9397013"/>
              <a:gd name="connsiteY23-992" fmla="*/ 3287229 h 7134208"/>
              <a:gd name="connsiteX24-993" fmla="*/ 6958778 w 9397013"/>
              <a:gd name="connsiteY24-994" fmla="*/ 7124971 h 7134208"/>
              <a:gd name="connsiteX25-995" fmla="*/ 7777211 w 9397013"/>
              <a:gd name="connsiteY25-996" fmla="*/ 7124972 h 7134208"/>
              <a:gd name="connsiteX26-997" fmla="*/ 7324729 w 9397013"/>
              <a:gd name="connsiteY26-998" fmla="*/ 7124972 h 7134208"/>
              <a:gd name="connsiteX27-999" fmla="*/ 4245793 w 9397013"/>
              <a:gd name="connsiteY27-1000" fmla="*/ 3078214 h 7134208"/>
              <a:gd name="connsiteX28-1001" fmla="*/ 4490696 w 9397013"/>
              <a:gd name="connsiteY28-1002" fmla="*/ 2757469 h 7134208"/>
              <a:gd name="connsiteX29-1003" fmla="*/ 7777211 w 9397013"/>
              <a:gd name="connsiteY29-1004" fmla="*/ 7124972 h 7134208"/>
              <a:gd name="connsiteX30-1005" fmla="*/ 8567691 w 9397013"/>
              <a:gd name="connsiteY30-1006" fmla="*/ 7124971 h 7134208"/>
              <a:gd name="connsiteX31-1007" fmla="*/ 8159389 w 9397013"/>
              <a:gd name="connsiteY31-1008" fmla="*/ 7134208 h 7134208"/>
              <a:gd name="connsiteX32-1009" fmla="*/ 4650570 w 9397013"/>
              <a:gd name="connsiteY32-1010" fmla="*/ 2548084 h 7134208"/>
              <a:gd name="connsiteX33-1011" fmla="*/ 4869244 w 9397013"/>
              <a:gd name="connsiteY33-1012" fmla="*/ 2261689 h 7134208"/>
              <a:gd name="connsiteX34-1013" fmla="*/ 8567691 w 9397013"/>
              <a:gd name="connsiteY34-1014" fmla="*/ 7124971 h 7134208"/>
              <a:gd name="connsiteX35-1015" fmla="*/ 9397013 w 9397013"/>
              <a:gd name="connsiteY35-1016" fmla="*/ 7134207 h 7134208"/>
              <a:gd name="connsiteX36-1017" fmla="*/ 8921338 w 9397013"/>
              <a:gd name="connsiteY36-1018" fmla="*/ 7115735 h 7134208"/>
              <a:gd name="connsiteX37-1019" fmla="*/ 5045299 w 9397013"/>
              <a:gd name="connsiteY37-1020" fmla="*/ 2031113 h 7134208"/>
              <a:gd name="connsiteX38-1021" fmla="*/ 5273037 w 9397013"/>
              <a:gd name="connsiteY38-1022" fmla="*/ 1732846 h 7134208"/>
              <a:gd name="connsiteX39-1023" fmla="*/ 9397013 w 9397013"/>
              <a:gd name="connsiteY39-1024" fmla="*/ 7134207 h 7134208"/>
              <a:gd name="connsiteX0-1025" fmla="*/ 168369 w 9397013"/>
              <a:gd name="connsiteY0-1026" fmla="*/ 4779933 h 7134208"/>
              <a:gd name="connsiteX1-1027" fmla="*/ 0 w 9397013"/>
              <a:gd name="connsiteY1-1028" fmla="*/ 4409146 h 7134208"/>
              <a:gd name="connsiteX2-1029" fmla="*/ 3332806 w 9397013"/>
              <a:gd name="connsiteY2-1030" fmla="*/ 0 h 7134208"/>
              <a:gd name="connsiteX3-1031" fmla="*/ 3794560 w 9397013"/>
              <a:gd name="connsiteY3-1032" fmla="*/ 32861 h 7134208"/>
              <a:gd name="connsiteX4-1033" fmla="*/ 168369 w 9397013"/>
              <a:gd name="connsiteY4-1034" fmla="*/ 4779933 h 7134208"/>
              <a:gd name="connsiteX5-1035" fmla="*/ 488220 w 9397013"/>
              <a:gd name="connsiteY5-1036" fmla="*/ 5484315 h 7134208"/>
              <a:gd name="connsiteX6-1037" fmla="*/ 299082 w 9397013"/>
              <a:gd name="connsiteY6-1038" fmla="*/ 5067791 h 7134208"/>
              <a:gd name="connsiteX7-1039" fmla="*/ 4106456 w 9397013"/>
              <a:gd name="connsiteY7-1040" fmla="*/ 55057 h 7134208"/>
              <a:gd name="connsiteX8-1041" fmla="*/ 4585079 w 9397013"/>
              <a:gd name="connsiteY8-1042" fmla="*/ 89119 h 7134208"/>
              <a:gd name="connsiteX9-1043" fmla="*/ 488220 w 9397013"/>
              <a:gd name="connsiteY9-1044" fmla="*/ 5484315 h 7134208"/>
              <a:gd name="connsiteX10-1045" fmla="*/ 779421 w 9397013"/>
              <a:gd name="connsiteY10-1046" fmla="*/ 6125606 h 7134208"/>
              <a:gd name="connsiteX11-1047" fmla="*/ 618065 w 9397013"/>
              <a:gd name="connsiteY11-1048" fmla="*/ 5770263 h 7134208"/>
              <a:gd name="connsiteX12-1049" fmla="*/ 4897528 w 9397013"/>
              <a:gd name="connsiteY12-1050" fmla="*/ 111354 h 7134208"/>
              <a:gd name="connsiteX13-1051" fmla="*/ 5324893 w 9397013"/>
              <a:gd name="connsiteY13-1052" fmla="*/ 141768 h 7134208"/>
              <a:gd name="connsiteX14-1053" fmla="*/ 779421 w 9397013"/>
              <a:gd name="connsiteY14-1054" fmla="*/ 6125606 h 7134208"/>
              <a:gd name="connsiteX15-1055" fmla="*/ 1099910 w 9397013"/>
              <a:gd name="connsiteY15-1056" fmla="*/ 6831395 h 7134208"/>
              <a:gd name="connsiteX16-1057" fmla="*/ 919656 w 9397013"/>
              <a:gd name="connsiteY16-1058" fmla="*/ 6434435 h 7134208"/>
              <a:gd name="connsiteX17-1059" fmla="*/ 5668965 w 9397013"/>
              <a:gd name="connsiteY17-1060" fmla="*/ 166254 h 7134208"/>
              <a:gd name="connsiteX18-1061" fmla="*/ 6114044 w 9397013"/>
              <a:gd name="connsiteY18-1062" fmla="*/ 197929 h 7134208"/>
              <a:gd name="connsiteX19-1063" fmla="*/ 1099910 w 9397013"/>
              <a:gd name="connsiteY19-1064" fmla="*/ 6831395 h 7134208"/>
              <a:gd name="connsiteX20-1065" fmla="*/ 6958778 w 9397013"/>
              <a:gd name="connsiteY20-1066" fmla="*/ 7124971 h 7134208"/>
              <a:gd name="connsiteX21-1067" fmla="*/ 6560038 w 9397013"/>
              <a:gd name="connsiteY21-1068" fmla="*/ 7134207 h 7134208"/>
              <a:gd name="connsiteX22-1069" fmla="*/ 3849932 w 9397013"/>
              <a:gd name="connsiteY22-1070" fmla="*/ 3596670 h 7134208"/>
              <a:gd name="connsiteX23-1071" fmla="*/ 4086202 w 9397013"/>
              <a:gd name="connsiteY23-1072" fmla="*/ 3287229 h 7134208"/>
              <a:gd name="connsiteX24-1073" fmla="*/ 6958778 w 9397013"/>
              <a:gd name="connsiteY24-1074" fmla="*/ 7124971 h 7134208"/>
              <a:gd name="connsiteX25-1075" fmla="*/ 7777211 w 9397013"/>
              <a:gd name="connsiteY25-1076" fmla="*/ 7124972 h 7134208"/>
              <a:gd name="connsiteX26-1077" fmla="*/ 7324729 w 9397013"/>
              <a:gd name="connsiteY26-1078" fmla="*/ 7124972 h 7134208"/>
              <a:gd name="connsiteX27-1079" fmla="*/ 4245793 w 9397013"/>
              <a:gd name="connsiteY27-1080" fmla="*/ 3078214 h 7134208"/>
              <a:gd name="connsiteX28-1081" fmla="*/ 4490696 w 9397013"/>
              <a:gd name="connsiteY28-1082" fmla="*/ 2757469 h 7134208"/>
              <a:gd name="connsiteX29-1083" fmla="*/ 7777211 w 9397013"/>
              <a:gd name="connsiteY29-1084" fmla="*/ 7124972 h 7134208"/>
              <a:gd name="connsiteX30-1085" fmla="*/ 8567691 w 9397013"/>
              <a:gd name="connsiteY30-1086" fmla="*/ 7124971 h 7134208"/>
              <a:gd name="connsiteX31-1087" fmla="*/ 8159389 w 9397013"/>
              <a:gd name="connsiteY31-1088" fmla="*/ 7134208 h 7134208"/>
              <a:gd name="connsiteX32-1089" fmla="*/ 4650570 w 9397013"/>
              <a:gd name="connsiteY32-1090" fmla="*/ 2548084 h 7134208"/>
              <a:gd name="connsiteX33-1091" fmla="*/ 4869244 w 9397013"/>
              <a:gd name="connsiteY33-1092" fmla="*/ 2261689 h 7134208"/>
              <a:gd name="connsiteX34-1093" fmla="*/ 8567691 w 9397013"/>
              <a:gd name="connsiteY34-1094" fmla="*/ 7124971 h 7134208"/>
              <a:gd name="connsiteX35-1095" fmla="*/ 9397013 w 9397013"/>
              <a:gd name="connsiteY35-1096" fmla="*/ 7134207 h 7134208"/>
              <a:gd name="connsiteX36-1097" fmla="*/ 8921338 w 9397013"/>
              <a:gd name="connsiteY36-1098" fmla="*/ 7115735 h 7134208"/>
              <a:gd name="connsiteX37-1099" fmla="*/ 5045299 w 9397013"/>
              <a:gd name="connsiteY37-1100" fmla="*/ 2031113 h 7134208"/>
              <a:gd name="connsiteX38-1101" fmla="*/ 5273037 w 9397013"/>
              <a:gd name="connsiteY38-1102" fmla="*/ 1732846 h 7134208"/>
              <a:gd name="connsiteX39-1103" fmla="*/ 9397013 w 9397013"/>
              <a:gd name="connsiteY39-1104" fmla="*/ 7134207 h 7134208"/>
              <a:gd name="connsiteX0-1105" fmla="*/ 168369 w 9397013"/>
              <a:gd name="connsiteY0-1106" fmla="*/ 4779933 h 7134208"/>
              <a:gd name="connsiteX1-1107" fmla="*/ 0 w 9397013"/>
              <a:gd name="connsiteY1-1108" fmla="*/ 4409146 h 7134208"/>
              <a:gd name="connsiteX2-1109" fmla="*/ 3332806 w 9397013"/>
              <a:gd name="connsiteY2-1110" fmla="*/ 0 h 7134208"/>
              <a:gd name="connsiteX3-1111" fmla="*/ 3794560 w 9397013"/>
              <a:gd name="connsiteY3-1112" fmla="*/ 32861 h 7134208"/>
              <a:gd name="connsiteX4-1113" fmla="*/ 168369 w 9397013"/>
              <a:gd name="connsiteY4-1114" fmla="*/ 4779933 h 7134208"/>
              <a:gd name="connsiteX5-1115" fmla="*/ 488220 w 9397013"/>
              <a:gd name="connsiteY5-1116" fmla="*/ 5484315 h 7134208"/>
              <a:gd name="connsiteX6-1117" fmla="*/ 299082 w 9397013"/>
              <a:gd name="connsiteY6-1118" fmla="*/ 5067791 h 7134208"/>
              <a:gd name="connsiteX7-1119" fmla="*/ 4106456 w 9397013"/>
              <a:gd name="connsiteY7-1120" fmla="*/ 55057 h 7134208"/>
              <a:gd name="connsiteX8-1121" fmla="*/ 4585079 w 9397013"/>
              <a:gd name="connsiteY8-1122" fmla="*/ 89119 h 7134208"/>
              <a:gd name="connsiteX9-1123" fmla="*/ 488220 w 9397013"/>
              <a:gd name="connsiteY9-1124" fmla="*/ 5484315 h 7134208"/>
              <a:gd name="connsiteX10-1125" fmla="*/ 779421 w 9397013"/>
              <a:gd name="connsiteY10-1126" fmla="*/ 6125606 h 7134208"/>
              <a:gd name="connsiteX11-1127" fmla="*/ 618065 w 9397013"/>
              <a:gd name="connsiteY11-1128" fmla="*/ 5770263 h 7134208"/>
              <a:gd name="connsiteX12-1129" fmla="*/ 4897528 w 9397013"/>
              <a:gd name="connsiteY12-1130" fmla="*/ 111354 h 7134208"/>
              <a:gd name="connsiteX13-1131" fmla="*/ 5324893 w 9397013"/>
              <a:gd name="connsiteY13-1132" fmla="*/ 141768 h 7134208"/>
              <a:gd name="connsiteX14-1133" fmla="*/ 779421 w 9397013"/>
              <a:gd name="connsiteY14-1134" fmla="*/ 6125606 h 7134208"/>
              <a:gd name="connsiteX15-1135" fmla="*/ 1099910 w 9397013"/>
              <a:gd name="connsiteY15-1136" fmla="*/ 6831395 h 7134208"/>
              <a:gd name="connsiteX16-1137" fmla="*/ 919656 w 9397013"/>
              <a:gd name="connsiteY16-1138" fmla="*/ 6434435 h 7134208"/>
              <a:gd name="connsiteX17-1139" fmla="*/ 5668965 w 9397013"/>
              <a:gd name="connsiteY17-1140" fmla="*/ 166254 h 7134208"/>
              <a:gd name="connsiteX18-1141" fmla="*/ 6077099 w 9397013"/>
              <a:gd name="connsiteY18-1142" fmla="*/ 225638 h 7134208"/>
              <a:gd name="connsiteX19-1143" fmla="*/ 1099910 w 9397013"/>
              <a:gd name="connsiteY19-1144" fmla="*/ 6831395 h 7134208"/>
              <a:gd name="connsiteX20-1145" fmla="*/ 6958778 w 9397013"/>
              <a:gd name="connsiteY20-1146" fmla="*/ 7124971 h 7134208"/>
              <a:gd name="connsiteX21-1147" fmla="*/ 6560038 w 9397013"/>
              <a:gd name="connsiteY21-1148" fmla="*/ 7134207 h 7134208"/>
              <a:gd name="connsiteX22-1149" fmla="*/ 3849932 w 9397013"/>
              <a:gd name="connsiteY22-1150" fmla="*/ 3596670 h 7134208"/>
              <a:gd name="connsiteX23-1151" fmla="*/ 4086202 w 9397013"/>
              <a:gd name="connsiteY23-1152" fmla="*/ 3287229 h 7134208"/>
              <a:gd name="connsiteX24-1153" fmla="*/ 6958778 w 9397013"/>
              <a:gd name="connsiteY24-1154" fmla="*/ 7124971 h 7134208"/>
              <a:gd name="connsiteX25-1155" fmla="*/ 7777211 w 9397013"/>
              <a:gd name="connsiteY25-1156" fmla="*/ 7124972 h 7134208"/>
              <a:gd name="connsiteX26-1157" fmla="*/ 7324729 w 9397013"/>
              <a:gd name="connsiteY26-1158" fmla="*/ 7124972 h 7134208"/>
              <a:gd name="connsiteX27-1159" fmla="*/ 4245793 w 9397013"/>
              <a:gd name="connsiteY27-1160" fmla="*/ 3078214 h 7134208"/>
              <a:gd name="connsiteX28-1161" fmla="*/ 4490696 w 9397013"/>
              <a:gd name="connsiteY28-1162" fmla="*/ 2757469 h 7134208"/>
              <a:gd name="connsiteX29-1163" fmla="*/ 7777211 w 9397013"/>
              <a:gd name="connsiteY29-1164" fmla="*/ 7124972 h 7134208"/>
              <a:gd name="connsiteX30-1165" fmla="*/ 8567691 w 9397013"/>
              <a:gd name="connsiteY30-1166" fmla="*/ 7124971 h 7134208"/>
              <a:gd name="connsiteX31-1167" fmla="*/ 8159389 w 9397013"/>
              <a:gd name="connsiteY31-1168" fmla="*/ 7134208 h 7134208"/>
              <a:gd name="connsiteX32-1169" fmla="*/ 4650570 w 9397013"/>
              <a:gd name="connsiteY32-1170" fmla="*/ 2548084 h 7134208"/>
              <a:gd name="connsiteX33-1171" fmla="*/ 4869244 w 9397013"/>
              <a:gd name="connsiteY33-1172" fmla="*/ 2261689 h 7134208"/>
              <a:gd name="connsiteX34-1173" fmla="*/ 8567691 w 9397013"/>
              <a:gd name="connsiteY34-1174" fmla="*/ 7124971 h 7134208"/>
              <a:gd name="connsiteX35-1175" fmla="*/ 9397013 w 9397013"/>
              <a:gd name="connsiteY35-1176" fmla="*/ 7134207 h 7134208"/>
              <a:gd name="connsiteX36-1177" fmla="*/ 8921338 w 9397013"/>
              <a:gd name="connsiteY36-1178" fmla="*/ 7115735 h 7134208"/>
              <a:gd name="connsiteX37-1179" fmla="*/ 5045299 w 9397013"/>
              <a:gd name="connsiteY37-1180" fmla="*/ 2031113 h 7134208"/>
              <a:gd name="connsiteX38-1181" fmla="*/ 5273037 w 9397013"/>
              <a:gd name="connsiteY38-1182" fmla="*/ 1732846 h 7134208"/>
              <a:gd name="connsiteX39-1183" fmla="*/ 9397013 w 9397013"/>
              <a:gd name="connsiteY39-1184" fmla="*/ 7134207 h 7134208"/>
              <a:gd name="connsiteX0-1185" fmla="*/ 168369 w 9397013"/>
              <a:gd name="connsiteY0-1186" fmla="*/ 4779933 h 7134208"/>
              <a:gd name="connsiteX1-1187" fmla="*/ 0 w 9397013"/>
              <a:gd name="connsiteY1-1188" fmla="*/ 4409146 h 7134208"/>
              <a:gd name="connsiteX2-1189" fmla="*/ 3332806 w 9397013"/>
              <a:gd name="connsiteY2-1190" fmla="*/ 0 h 7134208"/>
              <a:gd name="connsiteX3-1191" fmla="*/ 3794560 w 9397013"/>
              <a:gd name="connsiteY3-1192" fmla="*/ 32861 h 7134208"/>
              <a:gd name="connsiteX4-1193" fmla="*/ 168369 w 9397013"/>
              <a:gd name="connsiteY4-1194" fmla="*/ 4779933 h 7134208"/>
              <a:gd name="connsiteX5-1195" fmla="*/ 488220 w 9397013"/>
              <a:gd name="connsiteY5-1196" fmla="*/ 5484315 h 7134208"/>
              <a:gd name="connsiteX6-1197" fmla="*/ 299082 w 9397013"/>
              <a:gd name="connsiteY6-1198" fmla="*/ 5067791 h 7134208"/>
              <a:gd name="connsiteX7-1199" fmla="*/ 4106456 w 9397013"/>
              <a:gd name="connsiteY7-1200" fmla="*/ 55057 h 7134208"/>
              <a:gd name="connsiteX8-1201" fmla="*/ 4585079 w 9397013"/>
              <a:gd name="connsiteY8-1202" fmla="*/ 89119 h 7134208"/>
              <a:gd name="connsiteX9-1203" fmla="*/ 488220 w 9397013"/>
              <a:gd name="connsiteY9-1204" fmla="*/ 5484315 h 7134208"/>
              <a:gd name="connsiteX10-1205" fmla="*/ 779421 w 9397013"/>
              <a:gd name="connsiteY10-1206" fmla="*/ 6125606 h 7134208"/>
              <a:gd name="connsiteX11-1207" fmla="*/ 618065 w 9397013"/>
              <a:gd name="connsiteY11-1208" fmla="*/ 5770263 h 7134208"/>
              <a:gd name="connsiteX12-1209" fmla="*/ 4897528 w 9397013"/>
              <a:gd name="connsiteY12-1210" fmla="*/ 111354 h 7134208"/>
              <a:gd name="connsiteX13-1211" fmla="*/ 5324893 w 9397013"/>
              <a:gd name="connsiteY13-1212" fmla="*/ 141768 h 7134208"/>
              <a:gd name="connsiteX14-1213" fmla="*/ 779421 w 9397013"/>
              <a:gd name="connsiteY14-1214" fmla="*/ 6125606 h 7134208"/>
              <a:gd name="connsiteX15-1215" fmla="*/ 1099910 w 9397013"/>
              <a:gd name="connsiteY15-1216" fmla="*/ 6831395 h 7134208"/>
              <a:gd name="connsiteX16-1217" fmla="*/ 919656 w 9397013"/>
              <a:gd name="connsiteY16-1218" fmla="*/ 6434435 h 7134208"/>
              <a:gd name="connsiteX17-1219" fmla="*/ 5613547 w 9397013"/>
              <a:gd name="connsiteY17-1220" fmla="*/ 240145 h 7134208"/>
              <a:gd name="connsiteX18-1221" fmla="*/ 6077099 w 9397013"/>
              <a:gd name="connsiteY18-1222" fmla="*/ 225638 h 7134208"/>
              <a:gd name="connsiteX19-1223" fmla="*/ 1099910 w 9397013"/>
              <a:gd name="connsiteY19-1224" fmla="*/ 6831395 h 7134208"/>
              <a:gd name="connsiteX20-1225" fmla="*/ 6958778 w 9397013"/>
              <a:gd name="connsiteY20-1226" fmla="*/ 7124971 h 7134208"/>
              <a:gd name="connsiteX21-1227" fmla="*/ 6560038 w 9397013"/>
              <a:gd name="connsiteY21-1228" fmla="*/ 7134207 h 7134208"/>
              <a:gd name="connsiteX22-1229" fmla="*/ 3849932 w 9397013"/>
              <a:gd name="connsiteY22-1230" fmla="*/ 3596670 h 7134208"/>
              <a:gd name="connsiteX23-1231" fmla="*/ 4086202 w 9397013"/>
              <a:gd name="connsiteY23-1232" fmla="*/ 3287229 h 7134208"/>
              <a:gd name="connsiteX24-1233" fmla="*/ 6958778 w 9397013"/>
              <a:gd name="connsiteY24-1234" fmla="*/ 7124971 h 7134208"/>
              <a:gd name="connsiteX25-1235" fmla="*/ 7777211 w 9397013"/>
              <a:gd name="connsiteY25-1236" fmla="*/ 7124972 h 7134208"/>
              <a:gd name="connsiteX26-1237" fmla="*/ 7324729 w 9397013"/>
              <a:gd name="connsiteY26-1238" fmla="*/ 7124972 h 7134208"/>
              <a:gd name="connsiteX27-1239" fmla="*/ 4245793 w 9397013"/>
              <a:gd name="connsiteY27-1240" fmla="*/ 3078214 h 7134208"/>
              <a:gd name="connsiteX28-1241" fmla="*/ 4490696 w 9397013"/>
              <a:gd name="connsiteY28-1242" fmla="*/ 2757469 h 7134208"/>
              <a:gd name="connsiteX29-1243" fmla="*/ 7777211 w 9397013"/>
              <a:gd name="connsiteY29-1244" fmla="*/ 7124972 h 7134208"/>
              <a:gd name="connsiteX30-1245" fmla="*/ 8567691 w 9397013"/>
              <a:gd name="connsiteY30-1246" fmla="*/ 7124971 h 7134208"/>
              <a:gd name="connsiteX31-1247" fmla="*/ 8159389 w 9397013"/>
              <a:gd name="connsiteY31-1248" fmla="*/ 7134208 h 7134208"/>
              <a:gd name="connsiteX32-1249" fmla="*/ 4650570 w 9397013"/>
              <a:gd name="connsiteY32-1250" fmla="*/ 2548084 h 7134208"/>
              <a:gd name="connsiteX33-1251" fmla="*/ 4869244 w 9397013"/>
              <a:gd name="connsiteY33-1252" fmla="*/ 2261689 h 7134208"/>
              <a:gd name="connsiteX34-1253" fmla="*/ 8567691 w 9397013"/>
              <a:gd name="connsiteY34-1254" fmla="*/ 7124971 h 7134208"/>
              <a:gd name="connsiteX35-1255" fmla="*/ 9397013 w 9397013"/>
              <a:gd name="connsiteY35-1256" fmla="*/ 7134207 h 7134208"/>
              <a:gd name="connsiteX36-1257" fmla="*/ 8921338 w 9397013"/>
              <a:gd name="connsiteY36-1258" fmla="*/ 7115735 h 7134208"/>
              <a:gd name="connsiteX37-1259" fmla="*/ 5045299 w 9397013"/>
              <a:gd name="connsiteY37-1260" fmla="*/ 2031113 h 7134208"/>
              <a:gd name="connsiteX38-1261" fmla="*/ 5273037 w 9397013"/>
              <a:gd name="connsiteY38-1262" fmla="*/ 1732846 h 7134208"/>
              <a:gd name="connsiteX39-1263" fmla="*/ 9397013 w 9397013"/>
              <a:gd name="connsiteY39-1264" fmla="*/ 7134207 h 7134208"/>
              <a:gd name="connsiteX0-1265" fmla="*/ 168369 w 9397013"/>
              <a:gd name="connsiteY0-1266" fmla="*/ 4779933 h 7134208"/>
              <a:gd name="connsiteX1-1267" fmla="*/ 0 w 9397013"/>
              <a:gd name="connsiteY1-1268" fmla="*/ 4409146 h 7134208"/>
              <a:gd name="connsiteX2-1269" fmla="*/ 3332806 w 9397013"/>
              <a:gd name="connsiteY2-1270" fmla="*/ 0 h 7134208"/>
              <a:gd name="connsiteX3-1271" fmla="*/ 3794560 w 9397013"/>
              <a:gd name="connsiteY3-1272" fmla="*/ 32861 h 7134208"/>
              <a:gd name="connsiteX4-1273" fmla="*/ 168369 w 9397013"/>
              <a:gd name="connsiteY4-1274" fmla="*/ 4779933 h 7134208"/>
              <a:gd name="connsiteX5-1275" fmla="*/ 488220 w 9397013"/>
              <a:gd name="connsiteY5-1276" fmla="*/ 5484315 h 7134208"/>
              <a:gd name="connsiteX6-1277" fmla="*/ 299082 w 9397013"/>
              <a:gd name="connsiteY6-1278" fmla="*/ 5067791 h 7134208"/>
              <a:gd name="connsiteX7-1279" fmla="*/ 4106456 w 9397013"/>
              <a:gd name="connsiteY7-1280" fmla="*/ 55057 h 7134208"/>
              <a:gd name="connsiteX8-1281" fmla="*/ 4585079 w 9397013"/>
              <a:gd name="connsiteY8-1282" fmla="*/ 89119 h 7134208"/>
              <a:gd name="connsiteX9-1283" fmla="*/ 488220 w 9397013"/>
              <a:gd name="connsiteY9-1284" fmla="*/ 5484315 h 7134208"/>
              <a:gd name="connsiteX10-1285" fmla="*/ 779421 w 9397013"/>
              <a:gd name="connsiteY10-1286" fmla="*/ 6125606 h 7134208"/>
              <a:gd name="connsiteX11-1287" fmla="*/ 618065 w 9397013"/>
              <a:gd name="connsiteY11-1288" fmla="*/ 5770263 h 7134208"/>
              <a:gd name="connsiteX12-1289" fmla="*/ 4897528 w 9397013"/>
              <a:gd name="connsiteY12-1290" fmla="*/ 111354 h 7134208"/>
              <a:gd name="connsiteX13-1291" fmla="*/ 5324893 w 9397013"/>
              <a:gd name="connsiteY13-1292" fmla="*/ 141768 h 7134208"/>
              <a:gd name="connsiteX14-1293" fmla="*/ 779421 w 9397013"/>
              <a:gd name="connsiteY14-1294" fmla="*/ 6125606 h 7134208"/>
              <a:gd name="connsiteX15-1295" fmla="*/ 1099910 w 9397013"/>
              <a:gd name="connsiteY15-1296" fmla="*/ 6831395 h 7134208"/>
              <a:gd name="connsiteX16-1297" fmla="*/ 919656 w 9397013"/>
              <a:gd name="connsiteY16-1298" fmla="*/ 6434435 h 7134208"/>
              <a:gd name="connsiteX17-1299" fmla="*/ 5641256 w 9397013"/>
              <a:gd name="connsiteY17-1300" fmla="*/ 212436 h 7134208"/>
              <a:gd name="connsiteX18-1301" fmla="*/ 6077099 w 9397013"/>
              <a:gd name="connsiteY18-1302" fmla="*/ 225638 h 7134208"/>
              <a:gd name="connsiteX19-1303" fmla="*/ 1099910 w 9397013"/>
              <a:gd name="connsiteY19-1304" fmla="*/ 6831395 h 7134208"/>
              <a:gd name="connsiteX20-1305" fmla="*/ 6958778 w 9397013"/>
              <a:gd name="connsiteY20-1306" fmla="*/ 7124971 h 7134208"/>
              <a:gd name="connsiteX21-1307" fmla="*/ 6560038 w 9397013"/>
              <a:gd name="connsiteY21-1308" fmla="*/ 7134207 h 7134208"/>
              <a:gd name="connsiteX22-1309" fmla="*/ 3849932 w 9397013"/>
              <a:gd name="connsiteY22-1310" fmla="*/ 3596670 h 7134208"/>
              <a:gd name="connsiteX23-1311" fmla="*/ 4086202 w 9397013"/>
              <a:gd name="connsiteY23-1312" fmla="*/ 3287229 h 7134208"/>
              <a:gd name="connsiteX24-1313" fmla="*/ 6958778 w 9397013"/>
              <a:gd name="connsiteY24-1314" fmla="*/ 7124971 h 7134208"/>
              <a:gd name="connsiteX25-1315" fmla="*/ 7777211 w 9397013"/>
              <a:gd name="connsiteY25-1316" fmla="*/ 7124972 h 7134208"/>
              <a:gd name="connsiteX26-1317" fmla="*/ 7324729 w 9397013"/>
              <a:gd name="connsiteY26-1318" fmla="*/ 7124972 h 7134208"/>
              <a:gd name="connsiteX27-1319" fmla="*/ 4245793 w 9397013"/>
              <a:gd name="connsiteY27-1320" fmla="*/ 3078214 h 7134208"/>
              <a:gd name="connsiteX28-1321" fmla="*/ 4490696 w 9397013"/>
              <a:gd name="connsiteY28-1322" fmla="*/ 2757469 h 7134208"/>
              <a:gd name="connsiteX29-1323" fmla="*/ 7777211 w 9397013"/>
              <a:gd name="connsiteY29-1324" fmla="*/ 7124972 h 7134208"/>
              <a:gd name="connsiteX30-1325" fmla="*/ 8567691 w 9397013"/>
              <a:gd name="connsiteY30-1326" fmla="*/ 7124971 h 7134208"/>
              <a:gd name="connsiteX31-1327" fmla="*/ 8159389 w 9397013"/>
              <a:gd name="connsiteY31-1328" fmla="*/ 7134208 h 7134208"/>
              <a:gd name="connsiteX32-1329" fmla="*/ 4650570 w 9397013"/>
              <a:gd name="connsiteY32-1330" fmla="*/ 2548084 h 7134208"/>
              <a:gd name="connsiteX33-1331" fmla="*/ 4869244 w 9397013"/>
              <a:gd name="connsiteY33-1332" fmla="*/ 2261689 h 7134208"/>
              <a:gd name="connsiteX34-1333" fmla="*/ 8567691 w 9397013"/>
              <a:gd name="connsiteY34-1334" fmla="*/ 7124971 h 7134208"/>
              <a:gd name="connsiteX35-1335" fmla="*/ 9397013 w 9397013"/>
              <a:gd name="connsiteY35-1336" fmla="*/ 7134207 h 7134208"/>
              <a:gd name="connsiteX36-1337" fmla="*/ 8921338 w 9397013"/>
              <a:gd name="connsiteY36-1338" fmla="*/ 7115735 h 7134208"/>
              <a:gd name="connsiteX37-1339" fmla="*/ 5045299 w 9397013"/>
              <a:gd name="connsiteY37-1340" fmla="*/ 2031113 h 7134208"/>
              <a:gd name="connsiteX38-1341" fmla="*/ 5273037 w 9397013"/>
              <a:gd name="connsiteY38-1342" fmla="*/ 1732846 h 7134208"/>
              <a:gd name="connsiteX39-1343" fmla="*/ 9397013 w 9397013"/>
              <a:gd name="connsiteY39-1344" fmla="*/ 7134207 h 7134208"/>
              <a:gd name="connsiteX0-1345" fmla="*/ 168369 w 9397013"/>
              <a:gd name="connsiteY0-1346" fmla="*/ 4779933 h 7134208"/>
              <a:gd name="connsiteX1-1347" fmla="*/ 0 w 9397013"/>
              <a:gd name="connsiteY1-1348" fmla="*/ 4409146 h 7134208"/>
              <a:gd name="connsiteX2-1349" fmla="*/ 3332806 w 9397013"/>
              <a:gd name="connsiteY2-1350" fmla="*/ 0 h 7134208"/>
              <a:gd name="connsiteX3-1351" fmla="*/ 3794560 w 9397013"/>
              <a:gd name="connsiteY3-1352" fmla="*/ 32861 h 7134208"/>
              <a:gd name="connsiteX4-1353" fmla="*/ 168369 w 9397013"/>
              <a:gd name="connsiteY4-1354" fmla="*/ 4779933 h 7134208"/>
              <a:gd name="connsiteX5-1355" fmla="*/ 488220 w 9397013"/>
              <a:gd name="connsiteY5-1356" fmla="*/ 5484315 h 7134208"/>
              <a:gd name="connsiteX6-1357" fmla="*/ 299082 w 9397013"/>
              <a:gd name="connsiteY6-1358" fmla="*/ 5067791 h 7134208"/>
              <a:gd name="connsiteX7-1359" fmla="*/ 4106456 w 9397013"/>
              <a:gd name="connsiteY7-1360" fmla="*/ 55057 h 7134208"/>
              <a:gd name="connsiteX8-1361" fmla="*/ 4585079 w 9397013"/>
              <a:gd name="connsiteY8-1362" fmla="*/ 89119 h 7134208"/>
              <a:gd name="connsiteX9-1363" fmla="*/ 488220 w 9397013"/>
              <a:gd name="connsiteY9-1364" fmla="*/ 5484315 h 7134208"/>
              <a:gd name="connsiteX10-1365" fmla="*/ 779421 w 9397013"/>
              <a:gd name="connsiteY10-1366" fmla="*/ 6125606 h 7134208"/>
              <a:gd name="connsiteX11-1367" fmla="*/ 618065 w 9397013"/>
              <a:gd name="connsiteY11-1368" fmla="*/ 5770263 h 7134208"/>
              <a:gd name="connsiteX12-1369" fmla="*/ 4897528 w 9397013"/>
              <a:gd name="connsiteY12-1370" fmla="*/ 111354 h 7134208"/>
              <a:gd name="connsiteX13-1371" fmla="*/ 5260238 w 9397013"/>
              <a:gd name="connsiteY13-1372" fmla="*/ 234131 h 7134208"/>
              <a:gd name="connsiteX14-1373" fmla="*/ 779421 w 9397013"/>
              <a:gd name="connsiteY14-1374" fmla="*/ 6125606 h 7134208"/>
              <a:gd name="connsiteX15-1375" fmla="*/ 1099910 w 9397013"/>
              <a:gd name="connsiteY15-1376" fmla="*/ 6831395 h 7134208"/>
              <a:gd name="connsiteX16-1377" fmla="*/ 919656 w 9397013"/>
              <a:gd name="connsiteY16-1378" fmla="*/ 6434435 h 7134208"/>
              <a:gd name="connsiteX17-1379" fmla="*/ 5641256 w 9397013"/>
              <a:gd name="connsiteY17-1380" fmla="*/ 212436 h 7134208"/>
              <a:gd name="connsiteX18-1381" fmla="*/ 6077099 w 9397013"/>
              <a:gd name="connsiteY18-1382" fmla="*/ 225638 h 7134208"/>
              <a:gd name="connsiteX19-1383" fmla="*/ 1099910 w 9397013"/>
              <a:gd name="connsiteY19-1384" fmla="*/ 6831395 h 7134208"/>
              <a:gd name="connsiteX20-1385" fmla="*/ 6958778 w 9397013"/>
              <a:gd name="connsiteY20-1386" fmla="*/ 7124971 h 7134208"/>
              <a:gd name="connsiteX21-1387" fmla="*/ 6560038 w 9397013"/>
              <a:gd name="connsiteY21-1388" fmla="*/ 7134207 h 7134208"/>
              <a:gd name="connsiteX22-1389" fmla="*/ 3849932 w 9397013"/>
              <a:gd name="connsiteY22-1390" fmla="*/ 3596670 h 7134208"/>
              <a:gd name="connsiteX23-1391" fmla="*/ 4086202 w 9397013"/>
              <a:gd name="connsiteY23-1392" fmla="*/ 3287229 h 7134208"/>
              <a:gd name="connsiteX24-1393" fmla="*/ 6958778 w 9397013"/>
              <a:gd name="connsiteY24-1394" fmla="*/ 7124971 h 7134208"/>
              <a:gd name="connsiteX25-1395" fmla="*/ 7777211 w 9397013"/>
              <a:gd name="connsiteY25-1396" fmla="*/ 7124972 h 7134208"/>
              <a:gd name="connsiteX26-1397" fmla="*/ 7324729 w 9397013"/>
              <a:gd name="connsiteY26-1398" fmla="*/ 7124972 h 7134208"/>
              <a:gd name="connsiteX27-1399" fmla="*/ 4245793 w 9397013"/>
              <a:gd name="connsiteY27-1400" fmla="*/ 3078214 h 7134208"/>
              <a:gd name="connsiteX28-1401" fmla="*/ 4490696 w 9397013"/>
              <a:gd name="connsiteY28-1402" fmla="*/ 2757469 h 7134208"/>
              <a:gd name="connsiteX29-1403" fmla="*/ 7777211 w 9397013"/>
              <a:gd name="connsiteY29-1404" fmla="*/ 7124972 h 7134208"/>
              <a:gd name="connsiteX30-1405" fmla="*/ 8567691 w 9397013"/>
              <a:gd name="connsiteY30-1406" fmla="*/ 7124971 h 7134208"/>
              <a:gd name="connsiteX31-1407" fmla="*/ 8159389 w 9397013"/>
              <a:gd name="connsiteY31-1408" fmla="*/ 7134208 h 7134208"/>
              <a:gd name="connsiteX32-1409" fmla="*/ 4650570 w 9397013"/>
              <a:gd name="connsiteY32-1410" fmla="*/ 2548084 h 7134208"/>
              <a:gd name="connsiteX33-1411" fmla="*/ 4869244 w 9397013"/>
              <a:gd name="connsiteY33-1412" fmla="*/ 2261689 h 7134208"/>
              <a:gd name="connsiteX34-1413" fmla="*/ 8567691 w 9397013"/>
              <a:gd name="connsiteY34-1414" fmla="*/ 7124971 h 7134208"/>
              <a:gd name="connsiteX35-1415" fmla="*/ 9397013 w 9397013"/>
              <a:gd name="connsiteY35-1416" fmla="*/ 7134207 h 7134208"/>
              <a:gd name="connsiteX36-1417" fmla="*/ 8921338 w 9397013"/>
              <a:gd name="connsiteY36-1418" fmla="*/ 7115735 h 7134208"/>
              <a:gd name="connsiteX37-1419" fmla="*/ 5045299 w 9397013"/>
              <a:gd name="connsiteY37-1420" fmla="*/ 2031113 h 7134208"/>
              <a:gd name="connsiteX38-1421" fmla="*/ 5273037 w 9397013"/>
              <a:gd name="connsiteY38-1422" fmla="*/ 1732846 h 7134208"/>
              <a:gd name="connsiteX39-1423" fmla="*/ 9397013 w 9397013"/>
              <a:gd name="connsiteY39-1424" fmla="*/ 7134207 h 7134208"/>
              <a:gd name="connsiteX0-1425" fmla="*/ 168369 w 9397013"/>
              <a:gd name="connsiteY0-1426" fmla="*/ 4779933 h 7134208"/>
              <a:gd name="connsiteX1-1427" fmla="*/ 0 w 9397013"/>
              <a:gd name="connsiteY1-1428" fmla="*/ 4409146 h 7134208"/>
              <a:gd name="connsiteX2-1429" fmla="*/ 3332806 w 9397013"/>
              <a:gd name="connsiteY2-1430" fmla="*/ 0 h 7134208"/>
              <a:gd name="connsiteX3-1431" fmla="*/ 3794560 w 9397013"/>
              <a:gd name="connsiteY3-1432" fmla="*/ 32861 h 7134208"/>
              <a:gd name="connsiteX4-1433" fmla="*/ 168369 w 9397013"/>
              <a:gd name="connsiteY4-1434" fmla="*/ 4779933 h 7134208"/>
              <a:gd name="connsiteX5-1435" fmla="*/ 488220 w 9397013"/>
              <a:gd name="connsiteY5-1436" fmla="*/ 5484315 h 7134208"/>
              <a:gd name="connsiteX6-1437" fmla="*/ 299082 w 9397013"/>
              <a:gd name="connsiteY6-1438" fmla="*/ 5067791 h 7134208"/>
              <a:gd name="connsiteX7-1439" fmla="*/ 4106456 w 9397013"/>
              <a:gd name="connsiteY7-1440" fmla="*/ 55057 h 7134208"/>
              <a:gd name="connsiteX8-1441" fmla="*/ 4585079 w 9397013"/>
              <a:gd name="connsiteY8-1442" fmla="*/ 89119 h 7134208"/>
              <a:gd name="connsiteX9-1443" fmla="*/ 488220 w 9397013"/>
              <a:gd name="connsiteY9-1444" fmla="*/ 5484315 h 7134208"/>
              <a:gd name="connsiteX10-1445" fmla="*/ 779421 w 9397013"/>
              <a:gd name="connsiteY10-1446" fmla="*/ 6125606 h 7134208"/>
              <a:gd name="connsiteX11-1447" fmla="*/ 618065 w 9397013"/>
              <a:gd name="connsiteY11-1448" fmla="*/ 5770263 h 7134208"/>
              <a:gd name="connsiteX12-1449" fmla="*/ 4805164 w 9397013"/>
              <a:gd name="connsiteY12-1450" fmla="*/ 212954 h 7134208"/>
              <a:gd name="connsiteX13-1451" fmla="*/ 5260238 w 9397013"/>
              <a:gd name="connsiteY13-1452" fmla="*/ 234131 h 7134208"/>
              <a:gd name="connsiteX14-1453" fmla="*/ 779421 w 9397013"/>
              <a:gd name="connsiteY14-1454" fmla="*/ 6125606 h 7134208"/>
              <a:gd name="connsiteX15-1455" fmla="*/ 1099910 w 9397013"/>
              <a:gd name="connsiteY15-1456" fmla="*/ 6831395 h 7134208"/>
              <a:gd name="connsiteX16-1457" fmla="*/ 919656 w 9397013"/>
              <a:gd name="connsiteY16-1458" fmla="*/ 6434435 h 7134208"/>
              <a:gd name="connsiteX17-1459" fmla="*/ 5641256 w 9397013"/>
              <a:gd name="connsiteY17-1460" fmla="*/ 212436 h 7134208"/>
              <a:gd name="connsiteX18-1461" fmla="*/ 6077099 w 9397013"/>
              <a:gd name="connsiteY18-1462" fmla="*/ 225638 h 7134208"/>
              <a:gd name="connsiteX19-1463" fmla="*/ 1099910 w 9397013"/>
              <a:gd name="connsiteY19-1464" fmla="*/ 6831395 h 7134208"/>
              <a:gd name="connsiteX20-1465" fmla="*/ 6958778 w 9397013"/>
              <a:gd name="connsiteY20-1466" fmla="*/ 7124971 h 7134208"/>
              <a:gd name="connsiteX21-1467" fmla="*/ 6560038 w 9397013"/>
              <a:gd name="connsiteY21-1468" fmla="*/ 7134207 h 7134208"/>
              <a:gd name="connsiteX22-1469" fmla="*/ 3849932 w 9397013"/>
              <a:gd name="connsiteY22-1470" fmla="*/ 3596670 h 7134208"/>
              <a:gd name="connsiteX23-1471" fmla="*/ 4086202 w 9397013"/>
              <a:gd name="connsiteY23-1472" fmla="*/ 3287229 h 7134208"/>
              <a:gd name="connsiteX24-1473" fmla="*/ 6958778 w 9397013"/>
              <a:gd name="connsiteY24-1474" fmla="*/ 7124971 h 7134208"/>
              <a:gd name="connsiteX25-1475" fmla="*/ 7777211 w 9397013"/>
              <a:gd name="connsiteY25-1476" fmla="*/ 7124972 h 7134208"/>
              <a:gd name="connsiteX26-1477" fmla="*/ 7324729 w 9397013"/>
              <a:gd name="connsiteY26-1478" fmla="*/ 7124972 h 7134208"/>
              <a:gd name="connsiteX27-1479" fmla="*/ 4245793 w 9397013"/>
              <a:gd name="connsiteY27-1480" fmla="*/ 3078214 h 7134208"/>
              <a:gd name="connsiteX28-1481" fmla="*/ 4490696 w 9397013"/>
              <a:gd name="connsiteY28-1482" fmla="*/ 2757469 h 7134208"/>
              <a:gd name="connsiteX29-1483" fmla="*/ 7777211 w 9397013"/>
              <a:gd name="connsiteY29-1484" fmla="*/ 7124972 h 7134208"/>
              <a:gd name="connsiteX30-1485" fmla="*/ 8567691 w 9397013"/>
              <a:gd name="connsiteY30-1486" fmla="*/ 7124971 h 7134208"/>
              <a:gd name="connsiteX31-1487" fmla="*/ 8159389 w 9397013"/>
              <a:gd name="connsiteY31-1488" fmla="*/ 7134208 h 7134208"/>
              <a:gd name="connsiteX32-1489" fmla="*/ 4650570 w 9397013"/>
              <a:gd name="connsiteY32-1490" fmla="*/ 2548084 h 7134208"/>
              <a:gd name="connsiteX33-1491" fmla="*/ 4869244 w 9397013"/>
              <a:gd name="connsiteY33-1492" fmla="*/ 2261689 h 7134208"/>
              <a:gd name="connsiteX34-1493" fmla="*/ 8567691 w 9397013"/>
              <a:gd name="connsiteY34-1494" fmla="*/ 7124971 h 7134208"/>
              <a:gd name="connsiteX35-1495" fmla="*/ 9397013 w 9397013"/>
              <a:gd name="connsiteY35-1496" fmla="*/ 7134207 h 7134208"/>
              <a:gd name="connsiteX36-1497" fmla="*/ 8921338 w 9397013"/>
              <a:gd name="connsiteY36-1498" fmla="*/ 7115735 h 7134208"/>
              <a:gd name="connsiteX37-1499" fmla="*/ 5045299 w 9397013"/>
              <a:gd name="connsiteY37-1500" fmla="*/ 2031113 h 7134208"/>
              <a:gd name="connsiteX38-1501" fmla="*/ 5273037 w 9397013"/>
              <a:gd name="connsiteY38-1502" fmla="*/ 1732846 h 7134208"/>
              <a:gd name="connsiteX39-1503" fmla="*/ 9397013 w 9397013"/>
              <a:gd name="connsiteY39-1504" fmla="*/ 7134207 h 7134208"/>
              <a:gd name="connsiteX0-1505" fmla="*/ 168369 w 9397013"/>
              <a:gd name="connsiteY0-1506" fmla="*/ 4779933 h 7134208"/>
              <a:gd name="connsiteX1-1507" fmla="*/ 0 w 9397013"/>
              <a:gd name="connsiteY1-1508" fmla="*/ 4409146 h 7134208"/>
              <a:gd name="connsiteX2-1509" fmla="*/ 3332806 w 9397013"/>
              <a:gd name="connsiteY2-1510" fmla="*/ 0 h 7134208"/>
              <a:gd name="connsiteX3-1511" fmla="*/ 3794560 w 9397013"/>
              <a:gd name="connsiteY3-1512" fmla="*/ 32861 h 7134208"/>
              <a:gd name="connsiteX4-1513" fmla="*/ 168369 w 9397013"/>
              <a:gd name="connsiteY4-1514" fmla="*/ 4779933 h 7134208"/>
              <a:gd name="connsiteX5-1515" fmla="*/ 488220 w 9397013"/>
              <a:gd name="connsiteY5-1516" fmla="*/ 5484315 h 7134208"/>
              <a:gd name="connsiteX6-1517" fmla="*/ 299082 w 9397013"/>
              <a:gd name="connsiteY6-1518" fmla="*/ 5067791 h 7134208"/>
              <a:gd name="connsiteX7-1519" fmla="*/ 4106456 w 9397013"/>
              <a:gd name="connsiteY7-1520" fmla="*/ 55057 h 7134208"/>
              <a:gd name="connsiteX8-1521" fmla="*/ 4465006 w 9397013"/>
              <a:gd name="connsiteY8-1522" fmla="*/ 209192 h 7134208"/>
              <a:gd name="connsiteX9-1523" fmla="*/ 488220 w 9397013"/>
              <a:gd name="connsiteY9-1524" fmla="*/ 5484315 h 7134208"/>
              <a:gd name="connsiteX10-1525" fmla="*/ 779421 w 9397013"/>
              <a:gd name="connsiteY10-1526" fmla="*/ 6125606 h 7134208"/>
              <a:gd name="connsiteX11-1527" fmla="*/ 618065 w 9397013"/>
              <a:gd name="connsiteY11-1528" fmla="*/ 5770263 h 7134208"/>
              <a:gd name="connsiteX12-1529" fmla="*/ 4805164 w 9397013"/>
              <a:gd name="connsiteY12-1530" fmla="*/ 212954 h 7134208"/>
              <a:gd name="connsiteX13-1531" fmla="*/ 5260238 w 9397013"/>
              <a:gd name="connsiteY13-1532" fmla="*/ 234131 h 7134208"/>
              <a:gd name="connsiteX14-1533" fmla="*/ 779421 w 9397013"/>
              <a:gd name="connsiteY14-1534" fmla="*/ 6125606 h 7134208"/>
              <a:gd name="connsiteX15-1535" fmla="*/ 1099910 w 9397013"/>
              <a:gd name="connsiteY15-1536" fmla="*/ 6831395 h 7134208"/>
              <a:gd name="connsiteX16-1537" fmla="*/ 919656 w 9397013"/>
              <a:gd name="connsiteY16-1538" fmla="*/ 6434435 h 7134208"/>
              <a:gd name="connsiteX17-1539" fmla="*/ 5641256 w 9397013"/>
              <a:gd name="connsiteY17-1540" fmla="*/ 212436 h 7134208"/>
              <a:gd name="connsiteX18-1541" fmla="*/ 6077099 w 9397013"/>
              <a:gd name="connsiteY18-1542" fmla="*/ 225638 h 7134208"/>
              <a:gd name="connsiteX19-1543" fmla="*/ 1099910 w 9397013"/>
              <a:gd name="connsiteY19-1544" fmla="*/ 6831395 h 7134208"/>
              <a:gd name="connsiteX20-1545" fmla="*/ 6958778 w 9397013"/>
              <a:gd name="connsiteY20-1546" fmla="*/ 7124971 h 7134208"/>
              <a:gd name="connsiteX21-1547" fmla="*/ 6560038 w 9397013"/>
              <a:gd name="connsiteY21-1548" fmla="*/ 7134207 h 7134208"/>
              <a:gd name="connsiteX22-1549" fmla="*/ 3849932 w 9397013"/>
              <a:gd name="connsiteY22-1550" fmla="*/ 3596670 h 7134208"/>
              <a:gd name="connsiteX23-1551" fmla="*/ 4086202 w 9397013"/>
              <a:gd name="connsiteY23-1552" fmla="*/ 3287229 h 7134208"/>
              <a:gd name="connsiteX24-1553" fmla="*/ 6958778 w 9397013"/>
              <a:gd name="connsiteY24-1554" fmla="*/ 7124971 h 7134208"/>
              <a:gd name="connsiteX25-1555" fmla="*/ 7777211 w 9397013"/>
              <a:gd name="connsiteY25-1556" fmla="*/ 7124972 h 7134208"/>
              <a:gd name="connsiteX26-1557" fmla="*/ 7324729 w 9397013"/>
              <a:gd name="connsiteY26-1558" fmla="*/ 7124972 h 7134208"/>
              <a:gd name="connsiteX27-1559" fmla="*/ 4245793 w 9397013"/>
              <a:gd name="connsiteY27-1560" fmla="*/ 3078214 h 7134208"/>
              <a:gd name="connsiteX28-1561" fmla="*/ 4490696 w 9397013"/>
              <a:gd name="connsiteY28-1562" fmla="*/ 2757469 h 7134208"/>
              <a:gd name="connsiteX29-1563" fmla="*/ 7777211 w 9397013"/>
              <a:gd name="connsiteY29-1564" fmla="*/ 7124972 h 7134208"/>
              <a:gd name="connsiteX30-1565" fmla="*/ 8567691 w 9397013"/>
              <a:gd name="connsiteY30-1566" fmla="*/ 7124971 h 7134208"/>
              <a:gd name="connsiteX31-1567" fmla="*/ 8159389 w 9397013"/>
              <a:gd name="connsiteY31-1568" fmla="*/ 7134208 h 7134208"/>
              <a:gd name="connsiteX32-1569" fmla="*/ 4650570 w 9397013"/>
              <a:gd name="connsiteY32-1570" fmla="*/ 2548084 h 7134208"/>
              <a:gd name="connsiteX33-1571" fmla="*/ 4869244 w 9397013"/>
              <a:gd name="connsiteY33-1572" fmla="*/ 2261689 h 7134208"/>
              <a:gd name="connsiteX34-1573" fmla="*/ 8567691 w 9397013"/>
              <a:gd name="connsiteY34-1574" fmla="*/ 7124971 h 7134208"/>
              <a:gd name="connsiteX35-1575" fmla="*/ 9397013 w 9397013"/>
              <a:gd name="connsiteY35-1576" fmla="*/ 7134207 h 7134208"/>
              <a:gd name="connsiteX36-1577" fmla="*/ 8921338 w 9397013"/>
              <a:gd name="connsiteY36-1578" fmla="*/ 7115735 h 7134208"/>
              <a:gd name="connsiteX37-1579" fmla="*/ 5045299 w 9397013"/>
              <a:gd name="connsiteY37-1580" fmla="*/ 2031113 h 7134208"/>
              <a:gd name="connsiteX38-1581" fmla="*/ 5273037 w 9397013"/>
              <a:gd name="connsiteY38-1582" fmla="*/ 1732846 h 7134208"/>
              <a:gd name="connsiteX39-1583" fmla="*/ 9397013 w 9397013"/>
              <a:gd name="connsiteY39-1584" fmla="*/ 7134207 h 7134208"/>
              <a:gd name="connsiteX0-1585" fmla="*/ 168369 w 9397013"/>
              <a:gd name="connsiteY0-1586" fmla="*/ 4779933 h 7134208"/>
              <a:gd name="connsiteX1-1587" fmla="*/ 0 w 9397013"/>
              <a:gd name="connsiteY1-1588" fmla="*/ 4409146 h 7134208"/>
              <a:gd name="connsiteX2-1589" fmla="*/ 3332806 w 9397013"/>
              <a:gd name="connsiteY2-1590" fmla="*/ 0 h 7134208"/>
              <a:gd name="connsiteX3-1591" fmla="*/ 3794560 w 9397013"/>
              <a:gd name="connsiteY3-1592" fmla="*/ 32861 h 7134208"/>
              <a:gd name="connsiteX4-1593" fmla="*/ 168369 w 9397013"/>
              <a:gd name="connsiteY4-1594" fmla="*/ 4779933 h 7134208"/>
              <a:gd name="connsiteX5-1595" fmla="*/ 488220 w 9397013"/>
              <a:gd name="connsiteY5-1596" fmla="*/ 5484315 h 7134208"/>
              <a:gd name="connsiteX6-1597" fmla="*/ 299082 w 9397013"/>
              <a:gd name="connsiteY6-1598" fmla="*/ 5067791 h 7134208"/>
              <a:gd name="connsiteX7-1599" fmla="*/ 3977147 w 9397013"/>
              <a:gd name="connsiteY7-1600" fmla="*/ 212075 h 7134208"/>
              <a:gd name="connsiteX8-1601" fmla="*/ 4465006 w 9397013"/>
              <a:gd name="connsiteY8-1602" fmla="*/ 209192 h 7134208"/>
              <a:gd name="connsiteX9-1603" fmla="*/ 488220 w 9397013"/>
              <a:gd name="connsiteY9-1604" fmla="*/ 5484315 h 7134208"/>
              <a:gd name="connsiteX10-1605" fmla="*/ 779421 w 9397013"/>
              <a:gd name="connsiteY10-1606" fmla="*/ 6125606 h 7134208"/>
              <a:gd name="connsiteX11-1607" fmla="*/ 618065 w 9397013"/>
              <a:gd name="connsiteY11-1608" fmla="*/ 5770263 h 7134208"/>
              <a:gd name="connsiteX12-1609" fmla="*/ 4805164 w 9397013"/>
              <a:gd name="connsiteY12-1610" fmla="*/ 212954 h 7134208"/>
              <a:gd name="connsiteX13-1611" fmla="*/ 5260238 w 9397013"/>
              <a:gd name="connsiteY13-1612" fmla="*/ 234131 h 7134208"/>
              <a:gd name="connsiteX14-1613" fmla="*/ 779421 w 9397013"/>
              <a:gd name="connsiteY14-1614" fmla="*/ 6125606 h 7134208"/>
              <a:gd name="connsiteX15-1615" fmla="*/ 1099910 w 9397013"/>
              <a:gd name="connsiteY15-1616" fmla="*/ 6831395 h 7134208"/>
              <a:gd name="connsiteX16-1617" fmla="*/ 919656 w 9397013"/>
              <a:gd name="connsiteY16-1618" fmla="*/ 6434435 h 7134208"/>
              <a:gd name="connsiteX17-1619" fmla="*/ 5641256 w 9397013"/>
              <a:gd name="connsiteY17-1620" fmla="*/ 212436 h 7134208"/>
              <a:gd name="connsiteX18-1621" fmla="*/ 6077099 w 9397013"/>
              <a:gd name="connsiteY18-1622" fmla="*/ 225638 h 7134208"/>
              <a:gd name="connsiteX19-1623" fmla="*/ 1099910 w 9397013"/>
              <a:gd name="connsiteY19-1624" fmla="*/ 6831395 h 7134208"/>
              <a:gd name="connsiteX20-1625" fmla="*/ 6958778 w 9397013"/>
              <a:gd name="connsiteY20-1626" fmla="*/ 7124971 h 7134208"/>
              <a:gd name="connsiteX21-1627" fmla="*/ 6560038 w 9397013"/>
              <a:gd name="connsiteY21-1628" fmla="*/ 7134207 h 7134208"/>
              <a:gd name="connsiteX22-1629" fmla="*/ 3849932 w 9397013"/>
              <a:gd name="connsiteY22-1630" fmla="*/ 3596670 h 7134208"/>
              <a:gd name="connsiteX23-1631" fmla="*/ 4086202 w 9397013"/>
              <a:gd name="connsiteY23-1632" fmla="*/ 3287229 h 7134208"/>
              <a:gd name="connsiteX24-1633" fmla="*/ 6958778 w 9397013"/>
              <a:gd name="connsiteY24-1634" fmla="*/ 7124971 h 7134208"/>
              <a:gd name="connsiteX25-1635" fmla="*/ 7777211 w 9397013"/>
              <a:gd name="connsiteY25-1636" fmla="*/ 7124972 h 7134208"/>
              <a:gd name="connsiteX26-1637" fmla="*/ 7324729 w 9397013"/>
              <a:gd name="connsiteY26-1638" fmla="*/ 7124972 h 7134208"/>
              <a:gd name="connsiteX27-1639" fmla="*/ 4245793 w 9397013"/>
              <a:gd name="connsiteY27-1640" fmla="*/ 3078214 h 7134208"/>
              <a:gd name="connsiteX28-1641" fmla="*/ 4490696 w 9397013"/>
              <a:gd name="connsiteY28-1642" fmla="*/ 2757469 h 7134208"/>
              <a:gd name="connsiteX29-1643" fmla="*/ 7777211 w 9397013"/>
              <a:gd name="connsiteY29-1644" fmla="*/ 7124972 h 7134208"/>
              <a:gd name="connsiteX30-1645" fmla="*/ 8567691 w 9397013"/>
              <a:gd name="connsiteY30-1646" fmla="*/ 7124971 h 7134208"/>
              <a:gd name="connsiteX31-1647" fmla="*/ 8159389 w 9397013"/>
              <a:gd name="connsiteY31-1648" fmla="*/ 7134208 h 7134208"/>
              <a:gd name="connsiteX32-1649" fmla="*/ 4650570 w 9397013"/>
              <a:gd name="connsiteY32-1650" fmla="*/ 2548084 h 7134208"/>
              <a:gd name="connsiteX33-1651" fmla="*/ 4869244 w 9397013"/>
              <a:gd name="connsiteY33-1652" fmla="*/ 2261689 h 7134208"/>
              <a:gd name="connsiteX34-1653" fmla="*/ 8567691 w 9397013"/>
              <a:gd name="connsiteY34-1654" fmla="*/ 7124971 h 7134208"/>
              <a:gd name="connsiteX35-1655" fmla="*/ 9397013 w 9397013"/>
              <a:gd name="connsiteY35-1656" fmla="*/ 7134207 h 7134208"/>
              <a:gd name="connsiteX36-1657" fmla="*/ 8921338 w 9397013"/>
              <a:gd name="connsiteY36-1658" fmla="*/ 7115735 h 7134208"/>
              <a:gd name="connsiteX37-1659" fmla="*/ 5045299 w 9397013"/>
              <a:gd name="connsiteY37-1660" fmla="*/ 2031113 h 7134208"/>
              <a:gd name="connsiteX38-1661" fmla="*/ 5273037 w 9397013"/>
              <a:gd name="connsiteY38-1662" fmla="*/ 1732846 h 7134208"/>
              <a:gd name="connsiteX39-1663" fmla="*/ 9397013 w 9397013"/>
              <a:gd name="connsiteY39-1664" fmla="*/ 7134207 h 7134208"/>
              <a:gd name="connsiteX0-1665" fmla="*/ 168369 w 9397013"/>
              <a:gd name="connsiteY0-1666" fmla="*/ 4779933 h 7134208"/>
              <a:gd name="connsiteX1-1667" fmla="*/ 0 w 9397013"/>
              <a:gd name="connsiteY1-1668" fmla="*/ 4409146 h 7134208"/>
              <a:gd name="connsiteX2-1669" fmla="*/ 3332806 w 9397013"/>
              <a:gd name="connsiteY2-1670" fmla="*/ 0 h 7134208"/>
              <a:gd name="connsiteX3-1671" fmla="*/ 3628305 w 9397013"/>
              <a:gd name="connsiteY3-1672" fmla="*/ 208352 h 7134208"/>
              <a:gd name="connsiteX4-1673" fmla="*/ 168369 w 9397013"/>
              <a:gd name="connsiteY4-1674" fmla="*/ 4779933 h 7134208"/>
              <a:gd name="connsiteX5-1675" fmla="*/ 488220 w 9397013"/>
              <a:gd name="connsiteY5-1676" fmla="*/ 5484315 h 7134208"/>
              <a:gd name="connsiteX6-1677" fmla="*/ 299082 w 9397013"/>
              <a:gd name="connsiteY6-1678" fmla="*/ 5067791 h 7134208"/>
              <a:gd name="connsiteX7-1679" fmla="*/ 3977147 w 9397013"/>
              <a:gd name="connsiteY7-1680" fmla="*/ 212075 h 7134208"/>
              <a:gd name="connsiteX8-1681" fmla="*/ 4465006 w 9397013"/>
              <a:gd name="connsiteY8-1682" fmla="*/ 209192 h 7134208"/>
              <a:gd name="connsiteX9-1683" fmla="*/ 488220 w 9397013"/>
              <a:gd name="connsiteY9-1684" fmla="*/ 5484315 h 7134208"/>
              <a:gd name="connsiteX10-1685" fmla="*/ 779421 w 9397013"/>
              <a:gd name="connsiteY10-1686" fmla="*/ 6125606 h 7134208"/>
              <a:gd name="connsiteX11-1687" fmla="*/ 618065 w 9397013"/>
              <a:gd name="connsiteY11-1688" fmla="*/ 5770263 h 7134208"/>
              <a:gd name="connsiteX12-1689" fmla="*/ 4805164 w 9397013"/>
              <a:gd name="connsiteY12-1690" fmla="*/ 212954 h 7134208"/>
              <a:gd name="connsiteX13-1691" fmla="*/ 5260238 w 9397013"/>
              <a:gd name="connsiteY13-1692" fmla="*/ 234131 h 7134208"/>
              <a:gd name="connsiteX14-1693" fmla="*/ 779421 w 9397013"/>
              <a:gd name="connsiteY14-1694" fmla="*/ 6125606 h 7134208"/>
              <a:gd name="connsiteX15-1695" fmla="*/ 1099910 w 9397013"/>
              <a:gd name="connsiteY15-1696" fmla="*/ 6831395 h 7134208"/>
              <a:gd name="connsiteX16-1697" fmla="*/ 919656 w 9397013"/>
              <a:gd name="connsiteY16-1698" fmla="*/ 6434435 h 7134208"/>
              <a:gd name="connsiteX17-1699" fmla="*/ 5641256 w 9397013"/>
              <a:gd name="connsiteY17-1700" fmla="*/ 212436 h 7134208"/>
              <a:gd name="connsiteX18-1701" fmla="*/ 6077099 w 9397013"/>
              <a:gd name="connsiteY18-1702" fmla="*/ 225638 h 7134208"/>
              <a:gd name="connsiteX19-1703" fmla="*/ 1099910 w 9397013"/>
              <a:gd name="connsiteY19-1704" fmla="*/ 6831395 h 7134208"/>
              <a:gd name="connsiteX20-1705" fmla="*/ 6958778 w 9397013"/>
              <a:gd name="connsiteY20-1706" fmla="*/ 7124971 h 7134208"/>
              <a:gd name="connsiteX21-1707" fmla="*/ 6560038 w 9397013"/>
              <a:gd name="connsiteY21-1708" fmla="*/ 7134207 h 7134208"/>
              <a:gd name="connsiteX22-1709" fmla="*/ 3849932 w 9397013"/>
              <a:gd name="connsiteY22-1710" fmla="*/ 3596670 h 7134208"/>
              <a:gd name="connsiteX23-1711" fmla="*/ 4086202 w 9397013"/>
              <a:gd name="connsiteY23-1712" fmla="*/ 3287229 h 7134208"/>
              <a:gd name="connsiteX24-1713" fmla="*/ 6958778 w 9397013"/>
              <a:gd name="connsiteY24-1714" fmla="*/ 7124971 h 7134208"/>
              <a:gd name="connsiteX25-1715" fmla="*/ 7777211 w 9397013"/>
              <a:gd name="connsiteY25-1716" fmla="*/ 7124972 h 7134208"/>
              <a:gd name="connsiteX26-1717" fmla="*/ 7324729 w 9397013"/>
              <a:gd name="connsiteY26-1718" fmla="*/ 7124972 h 7134208"/>
              <a:gd name="connsiteX27-1719" fmla="*/ 4245793 w 9397013"/>
              <a:gd name="connsiteY27-1720" fmla="*/ 3078214 h 7134208"/>
              <a:gd name="connsiteX28-1721" fmla="*/ 4490696 w 9397013"/>
              <a:gd name="connsiteY28-1722" fmla="*/ 2757469 h 7134208"/>
              <a:gd name="connsiteX29-1723" fmla="*/ 7777211 w 9397013"/>
              <a:gd name="connsiteY29-1724" fmla="*/ 7124972 h 7134208"/>
              <a:gd name="connsiteX30-1725" fmla="*/ 8567691 w 9397013"/>
              <a:gd name="connsiteY30-1726" fmla="*/ 7124971 h 7134208"/>
              <a:gd name="connsiteX31-1727" fmla="*/ 8159389 w 9397013"/>
              <a:gd name="connsiteY31-1728" fmla="*/ 7134208 h 7134208"/>
              <a:gd name="connsiteX32-1729" fmla="*/ 4650570 w 9397013"/>
              <a:gd name="connsiteY32-1730" fmla="*/ 2548084 h 7134208"/>
              <a:gd name="connsiteX33-1731" fmla="*/ 4869244 w 9397013"/>
              <a:gd name="connsiteY33-1732" fmla="*/ 2261689 h 7134208"/>
              <a:gd name="connsiteX34-1733" fmla="*/ 8567691 w 9397013"/>
              <a:gd name="connsiteY34-1734" fmla="*/ 7124971 h 7134208"/>
              <a:gd name="connsiteX35-1735" fmla="*/ 9397013 w 9397013"/>
              <a:gd name="connsiteY35-1736" fmla="*/ 7134207 h 7134208"/>
              <a:gd name="connsiteX36-1737" fmla="*/ 8921338 w 9397013"/>
              <a:gd name="connsiteY36-1738" fmla="*/ 7115735 h 7134208"/>
              <a:gd name="connsiteX37-1739" fmla="*/ 5045299 w 9397013"/>
              <a:gd name="connsiteY37-1740" fmla="*/ 2031113 h 7134208"/>
              <a:gd name="connsiteX38-1741" fmla="*/ 5273037 w 9397013"/>
              <a:gd name="connsiteY38-1742" fmla="*/ 1732846 h 7134208"/>
              <a:gd name="connsiteX39-1743" fmla="*/ 9397013 w 9397013"/>
              <a:gd name="connsiteY39-1744" fmla="*/ 7134207 h 7134208"/>
              <a:gd name="connsiteX0-1745" fmla="*/ 168369 w 9397013"/>
              <a:gd name="connsiteY0-1746" fmla="*/ 4571581 h 6925856"/>
              <a:gd name="connsiteX1-1747" fmla="*/ 0 w 9397013"/>
              <a:gd name="connsiteY1-1748" fmla="*/ 4200794 h 6925856"/>
              <a:gd name="connsiteX2-1749" fmla="*/ 3175788 w 9397013"/>
              <a:gd name="connsiteY2-1750" fmla="*/ 4084 h 6925856"/>
              <a:gd name="connsiteX3-1751" fmla="*/ 3628305 w 9397013"/>
              <a:gd name="connsiteY3-1752" fmla="*/ 0 h 6925856"/>
              <a:gd name="connsiteX4-1753" fmla="*/ 168369 w 9397013"/>
              <a:gd name="connsiteY4-1754" fmla="*/ 4571581 h 6925856"/>
              <a:gd name="connsiteX5-1755" fmla="*/ 488220 w 9397013"/>
              <a:gd name="connsiteY5-1756" fmla="*/ 5275963 h 6925856"/>
              <a:gd name="connsiteX6-1757" fmla="*/ 299082 w 9397013"/>
              <a:gd name="connsiteY6-1758" fmla="*/ 4859439 h 6925856"/>
              <a:gd name="connsiteX7-1759" fmla="*/ 3977147 w 9397013"/>
              <a:gd name="connsiteY7-1760" fmla="*/ 3723 h 6925856"/>
              <a:gd name="connsiteX8-1761" fmla="*/ 4465006 w 9397013"/>
              <a:gd name="connsiteY8-1762" fmla="*/ 840 h 6925856"/>
              <a:gd name="connsiteX9-1763" fmla="*/ 488220 w 9397013"/>
              <a:gd name="connsiteY9-1764" fmla="*/ 5275963 h 6925856"/>
              <a:gd name="connsiteX10-1765" fmla="*/ 779421 w 9397013"/>
              <a:gd name="connsiteY10-1766" fmla="*/ 5917254 h 6925856"/>
              <a:gd name="connsiteX11-1767" fmla="*/ 618065 w 9397013"/>
              <a:gd name="connsiteY11-1768" fmla="*/ 5561911 h 6925856"/>
              <a:gd name="connsiteX12-1769" fmla="*/ 4805164 w 9397013"/>
              <a:gd name="connsiteY12-1770" fmla="*/ 4602 h 6925856"/>
              <a:gd name="connsiteX13-1771" fmla="*/ 5260238 w 9397013"/>
              <a:gd name="connsiteY13-1772" fmla="*/ 25779 h 6925856"/>
              <a:gd name="connsiteX14-1773" fmla="*/ 779421 w 9397013"/>
              <a:gd name="connsiteY14-1774" fmla="*/ 5917254 h 6925856"/>
              <a:gd name="connsiteX15-1775" fmla="*/ 1099910 w 9397013"/>
              <a:gd name="connsiteY15-1776" fmla="*/ 6623043 h 6925856"/>
              <a:gd name="connsiteX16-1777" fmla="*/ 919656 w 9397013"/>
              <a:gd name="connsiteY16-1778" fmla="*/ 6226083 h 6925856"/>
              <a:gd name="connsiteX17-1779" fmla="*/ 5641256 w 9397013"/>
              <a:gd name="connsiteY17-1780" fmla="*/ 4084 h 6925856"/>
              <a:gd name="connsiteX18-1781" fmla="*/ 6077099 w 9397013"/>
              <a:gd name="connsiteY18-1782" fmla="*/ 17286 h 6925856"/>
              <a:gd name="connsiteX19-1783" fmla="*/ 1099910 w 9397013"/>
              <a:gd name="connsiteY19-1784" fmla="*/ 6623043 h 6925856"/>
              <a:gd name="connsiteX20-1785" fmla="*/ 6958778 w 9397013"/>
              <a:gd name="connsiteY20-1786" fmla="*/ 6916619 h 6925856"/>
              <a:gd name="connsiteX21-1787" fmla="*/ 6560038 w 9397013"/>
              <a:gd name="connsiteY21-1788" fmla="*/ 6925855 h 6925856"/>
              <a:gd name="connsiteX22-1789" fmla="*/ 3849932 w 9397013"/>
              <a:gd name="connsiteY22-1790" fmla="*/ 3388318 h 6925856"/>
              <a:gd name="connsiteX23-1791" fmla="*/ 4086202 w 9397013"/>
              <a:gd name="connsiteY23-1792" fmla="*/ 3078877 h 6925856"/>
              <a:gd name="connsiteX24-1793" fmla="*/ 6958778 w 9397013"/>
              <a:gd name="connsiteY24-1794" fmla="*/ 6916619 h 6925856"/>
              <a:gd name="connsiteX25-1795" fmla="*/ 7777211 w 9397013"/>
              <a:gd name="connsiteY25-1796" fmla="*/ 6916620 h 6925856"/>
              <a:gd name="connsiteX26-1797" fmla="*/ 7324729 w 9397013"/>
              <a:gd name="connsiteY26-1798" fmla="*/ 6916620 h 6925856"/>
              <a:gd name="connsiteX27-1799" fmla="*/ 4245793 w 9397013"/>
              <a:gd name="connsiteY27-1800" fmla="*/ 2869862 h 6925856"/>
              <a:gd name="connsiteX28-1801" fmla="*/ 4490696 w 9397013"/>
              <a:gd name="connsiteY28-1802" fmla="*/ 2549117 h 6925856"/>
              <a:gd name="connsiteX29-1803" fmla="*/ 7777211 w 9397013"/>
              <a:gd name="connsiteY29-1804" fmla="*/ 6916620 h 6925856"/>
              <a:gd name="connsiteX30-1805" fmla="*/ 8567691 w 9397013"/>
              <a:gd name="connsiteY30-1806" fmla="*/ 6916619 h 6925856"/>
              <a:gd name="connsiteX31-1807" fmla="*/ 8159389 w 9397013"/>
              <a:gd name="connsiteY31-1808" fmla="*/ 6925856 h 6925856"/>
              <a:gd name="connsiteX32-1809" fmla="*/ 4650570 w 9397013"/>
              <a:gd name="connsiteY32-1810" fmla="*/ 2339732 h 6925856"/>
              <a:gd name="connsiteX33-1811" fmla="*/ 4869244 w 9397013"/>
              <a:gd name="connsiteY33-1812" fmla="*/ 2053337 h 6925856"/>
              <a:gd name="connsiteX34-1813" fmla="*/ 8567691 w 9397013"/>
              <a:gd name="connsiteY34-1814" fmla="*/ 6916619 h 6925856"/>
              <a:gd name="connsiteX35-1815" fmla="*/ 9397013 w 9397013"/>
              <a:gd name="connsiteY35-1816" fmla="*/ 6925855 h 6925856"/>
              <a:gd name="connsiteX36-1817" fmla="*/ 8921338 w 9397013"/>
              <a:gd name="connsiteY36-1818" fmla="*/ 6907383 h 6925856"/>
              <a:gd name="connsiteX37-1819" fmla="*/ 5045299 w 9397013"/>
              <a:gd name="connsiteY37-1820" fmla="*/ 1822761 h 6925856"/>
              <a:gd name="connsiteX38-1821" fmla="*/ 5273037 w 9397013"/>
              <a:gd name="connsiteY38-1822" fmla="*/ 1524494 h 6925856"/>
              <a:gd name="connsiteX39-1823" fmla="*/ 9397013 w 9397013"/>
              <a:gd name="connsiteY39-1824" fmla="*/ 6925855 h 6925856"/>
              <a:gd name="connsiteX0-1825" fmla="*/ 168369 w 9397013"/>
              <a:gd name="connsiteY0-1826" fmla="*/ 4571581 h 6925856"/>
              <a:gd name="connsiteX1-1827" fmla="*/ 0 w 9397013"/>
              <a:gd name="connsiteY1-1828" fmla="*/ 4200794 h 6925856"/>
              <a:gd name="connsiteX2-1829" fmla="*/ 3175788 w 9397013"/>
              <a:gd name="connsiteY2-1830" fmla="*/ 4084 h 6925856"/>
              <a:gd name="connsiteX3-1831" fmla="*/ 3628305 w 9397013"/>
              <a:gd name="connsiteY3-1832" fmla="*/ 0 h 6925856"/>
              <a:gd name="connsiteX4-1833" fmla="*/ 168369 w 9397013"/>
              <a:gd name="connsiteY4-1834" fmla="*/ 4571581 h 6925856"/>
              <a:gd name="connsiteX5-1835" fmla="*/ 488220 w 9397013"/>
              <a:gd name="connsiteY5-1836" fmla="*/ 5275963 h 6925856"/>
              <a:gd name="connsiteX6-1837" fmla="*/ 299082 w 9397013"/>
              <a:gd name="connsiteY6-1838" fmla="*/ 4859439 h 6925856"/>
              <a:gd name="connsiteX7-1839" fmla="*/ 3977147 w 9397013"/>
              <a:gd name="connsiteY7-1840" fmla="*/ 3723 h 6925856"/>
              <a:gd name="connsiteX8-1841" fmla="*/ 4465006 w 9397013"/>
              <a:gd name="connsiteY8-1842" fmla="*/ 840 h 6925856"/>
              <a:gd name="connsiteX9-1843" fmla="*/ 488220 w 9397013"/>
              <a:gd name="connsiteY9-1844" fmla="*/ 5275963 h 6925856"/>
              <a:gd name="connsiteX10-1845" fmla="*/ 779421 w 9397013"/>
              <a:gd name="connsiteY10-1846" fmla="*/ 5917254 h 6925856"/>
              <a:gd name="connsiteX11-1847" fmla="*/ 618065 w 9397013"/>
              <a:gd name="connsiteY11-1848" fmla="*/ 5561911 h 6925856"/>
              <a:gd name="connsiteX12-1849" fmla="*/ 4805164 w 9397013"/>
              <a:gd name="connsiteY12-1850" fmla="*/ 4602 h 6925856"/>
              <a:gd name="connsiteX13-1851" fmla="*/ 5260238 w 9397013"/>
              <a:gd name="connsiteY13-1852" fmla="*/ 25779 h 6925856"/>
              <a:gd name="connsiteX14-1853" fmla="*/ 779421 w 9397013"/>
              <a:gd name="connsiteY14-1854" fmla="*/ 5917254 h 6925856"/>
              <a:gd name="connsiteX15-1855" fmla="*/ 1598673 w 9397013"/>
              <a:gd name="connsiteY15-1856" fmla="*/ 5976498 h 6925856"/>
              <a:gd name="connsiteX16-1857" fmla="*/ 919656 w 9397013"/>
              <a:gd name="connsiteY16-1858" fmla="*/ 6226083 h 6925856"/>
              <a:gd name="connsiteX17-1859" fmla="*/ 5641256 w 9397013"/>
              <a:gd name="connsiteY17-1860" fmla="*/ 4084 h 6925856"/>
              <a:gd name="connsiteX18-1861" fmla="*/ 6077099 w 9397013"/>
              <a:gd name="connsiteY18-1862" fmla="*/ 17286 h 6925856"/>
              <a:gd name="connsiteX19-1863" fmla="*/ 1598673 w 9397013"/>
              <a:gd name="connsiteY19-1864" fmla="*/ 5976498 h 6925856"/>
              <a:gd name="connsiteX20-1865" fmla="*/ 6958778 w 9397013"/>
              <a:gd name="connsiteY20-1866" fmla="*/ 6916619 h 6925856"/>
              <a:gd name="connsiteX21-1867" fmla="*/ 6560038 w 9397013"/>
              <a:gd name="connsiteY21-1868" fmla="*/ 6925855 h 6925856"/>
              <a:gd name="connsiteX22-1869" fmla="*/ 3849932 w 9397013"/>
              <a:gd name="connsiteY22-1870" fmla="*/ 3388318 h 6925856"/>
              <a:gd name="connsiteX23-1871" fmla="*/ 4086202 w 9397013"/>
              <a:gd name="connsiteY23-1872" fmla="*/ 3078877 h 6925856"/>
              <a:gd name="connsiteX24-1873" fmla="*/ 6958778 w 9397013"/>
              <a:gd name="connsiteY24-1874" fmla="*/ 6916619 h 6925856"/>
              <a:gd name="connsiteX25-1875" fmla="*/ 7777211 w 9397013"/>
              <a:gd name="connsiteY25-1876" fmla="*/ 6916620 h 6925856"/>
              <a:gd name="connsiteX26-1877" fmla="*/ 7324729 w 9397013"/>
              <a:gd name="connsiteY26-1878" fmla="*/ 6916620 h 6925856"/>
              <a:gd name="connsiteX27-1879" fmla="*/ 4245793 w 9397013"/>
              <a:gd name="connsiteY27-1880" fmla="*/ 2869862 h 6925856"/>
              <a:gd name="connsiteX28-1881" fmla="*/ 4490696 w 9397013"/>
              <a:gd name="connsiteY28-1882" fmla="*/ 2549117 h 6925856"/>
              <a:gd name="connsiteX29-1883" fmla="*/ 7777211 w 9397013"/>
              <a:gd name="connsiteY29-1884" fmla="*/ 6916620 h 6925856"/>
              <a:gd name="connsiteX30-1885" fmla="*/ 8567691 w 9397013"/>
              <a:gd name="connsiteY30-1886" fmla="*/ 6916619 h 6925856"/>
              <a:gd name="connsiteX31-1887" fmla="*/ 8159389 w 9397013"/>
              <a:gd name="connsiteY31-1888" fmla="*/ 6925856 h 6925856"/>
              <a:gd name="connsiteX32-1889" fmla="*/ 4650570 w 9397013"/>
              <a:gd name="connsiteY32-1890" fmla="*/ 2339732 h 6925856"/>
              <a:gd name="connsiteX33-1891" fmla="*/ 4869244 w 9397013"/>
              <a:gd name="connsiteY33-1892" fmla="*/ 2053337 h 6925856"/>
              <a:gd name="connsiteX34-1893" fmla="*/ 8567691 w 9397013"/>
              <a:gd name="connsiteY34-1894" fmla="*/ 6916619 h 6925856"/>
              <a:gd name="connsiteX35-1895" fmla="*/ 9397013 w 9397013"/>
              <a:gd name="connsiteY35-1896" fmla="*/ 6925855 h 6925856"/>
              <a:gd name="connsiteX36-1897" fmla="*/ 8921338 w 9397013"/>
              <a:gd name="connsiteY36-1898" fmla="*/ 6907383 h 6925856"/>
              <a:gd name="connsiteX37-1899" fmla="*/ 5045299 w 9397013"/>
              <a:gd name="connsiteY37-1900" fmla="*/ 1822761 h 6925856"/>
              <a:gd name="connsiteX38-1901" fmla="*/ 5273037 w 9397013"/>
              <a:gd name="connsiteY38-1902" fmla="*/ 1524494 h 6925856"/>
              <a:gd name="connsiteX39-1903" fmla="*/ 9397013 w 9397013"/>
              <a:gd name="connsiteY39-1904" fmla="*/ 6925855 h 6925856"/>
              <a:gd name="connsiteX0-1905" fmla="*/ 168369 w 9397013"/>
              <a:gd name="connsiteY0-1906" fmla="*/ 4571581 h 6925856"/>
              <a:gd name="connsiteX1-1907" fmla="*/ 0 w 9397013"/>
              <a:gd name="connsiteY1-1908" fmla="*/ 4200794 h 6925856"/>
              <a:gd name="connsiteX2-1909" fmla="*/ 3175788 w 9397013"/>
              <a:gd name="connsiteY2-1910" fmla="*/ 4084 h 6925856"/>
              <a:gd name="connsiteX3-1911" fmla="*/ 3628305 w 9397013"/>
              <a:gd name="connsiteY3-1912" fmla="*/ 0 h 6925856"/>
              <a:gd name="connsiteX4-1913" fmla="*/ 168369 w 9397013"/>
              <a:gd name="connsiteY4-1914" fmla="*/ 4571581 h 6925856"/>
              <a:gd name="connsiteX5-1915" fmla="*/ 488220 w 9397013"/>
              <a:gd name="connsiteY5-1916" fmla="*/ 5275963 h 6925856"/>
              <a:gd name="connsiteX6-1917" fmla="*/ 299082 w 9397013"/>
              <a:gd name="connsiteY6-1918" fmla="*/ 4859439 h 6925856"/>
              <a:gd name="connsiteX7-1919" fmla="*/ 3977147 w 9397013"/>
              <a:gd name="connsiteY7-1920" fmla="*/ 3723 h 6925856"/>
              <a:gd name="connsiteX8-1921" fmla="*/ 4465006 w 9397013"/>
              <a:gd name="connsiteY8-1922" fmla="*/ 840 h 6925856"/>
              <a:gd name="connsiteX9-1923" fmla="*/ 488220 w 9397013"/>
              <a:gd name="connsiteY9-1924" fmla="*/ 5275963 h 6925856"/>
              <a:gd name="connsiteX10-1925" fmla="*/ 779421 w 9397013"/>
              <a:gd name="connsiteY10-1926" fmla="*/ 5917254 h 6925856"/>
              <a:gd name="connsiteX11-1927" fmla="*/ 618065 w 9397013"/>
              <a:gd name="connsiteY11-1928" fmla="*/ 5561911 h 6925856"/>
              <a:gd name="connsiteX12-1929" fmla="*/ 4805164 w 9397013"/>
              <a:gd name="connsiteY12-1930" fmla="*/ 4602 h 6925856"/>
              <a:gd name="connsiteX13-1931" fmla="*/ 5260238 w 9397013"/>
              <a:gd name="connsiteY13-1932" fmla="*/ 25779 h 6925856"/>
              <a:gd name="connsiteX14-1933" fmla="*/ 779421 w 9397013"/>
              <a:gd name="connsiteY14-1934" fmla="*/ 5917254 h 6925856"/>
              <a:gd name="connsiteX15-1935" fmla="*/ 1598673 w 9397013"/>
              <a:gd name="connsiteY15-1936" fmla="*/ 5976498 h 6925856"/>
              <a:gd name="connsiteX16-1937" fmla="*/ 1566201 w 9397013"/>
              <a:gd name="connsiteY16-1938" fmla="*/ 5394811 h 6925856"/>
              <a:gd name="connsiteX17-1939" fmla="*/ 5641256 w 9397013"/>
              <a:gd name="connsiteY17-1940" fmla="*/ 4084 h 6925856"/>
              <a:gd name="connsiteX18-1941" fmla="*/ 6077099 w 9397013"/>
              <a:gd name="connsiteY18-1942" fmla="*/ 17286 h 6925856"/>
              <a:gd name="connsiteX19-1943" fmla="*/ 1598673 w 9397013"/>
              <a:gd name="connsiteY19-1944" fmla="*/ 5976498 h 6925856"/>
              <a:gd name="connsiteX20-1945" fmla="*/ 6958778 w 9397013"/>
              <a:gd name="connsiteY20-1946" fmla="*/ 6916619 h 6925856"/>
              <a:gd name="connsiteX21-1947" fmla="*/ 6560038 w 9397013"/>
              <a:gd name="connsiteY21-1948" fmla="*/ 6925855 h 6925856"/>
              <a:gd name="connsiteX22-1949" fmla="*/ 3849932 w 9397013"/>
              <a:gd name="connsiteY22-1950" fmla="*/ 3388318 h 6925856"/>
              <a:gd name="connsiteX23-1951" fmla="*/ 4086202 w 9397013"/>
              <a:gd name="connsiteY23-1952" fmla="*/ 3078877 h 6925856"/>
              <a:gd name="connsiteX24-1953" fmla="*/ 6958778 w 9397013"/>
              <a:gd name="connsiteY24-1954" fmla="*/ 6916619 h 6925856"/>
              <a:gd name="connsiteX25-1955" fmla="*/ 7777211 w 9397013"/>
              <a:gd name="connsiteY25-1956" fmla="*/ 6916620 h 6925856"/>
              <a:gd name="connsiteX26-1957" fmla="*/ 7324729 w 9397013"/>
              <a:gd name="connsiteY26-1958" fmla="*/ 6916620 h 6925856"/>
              <a:gd name="connsiteX27-1959" fmla="*/ 4245793 w 9397013"/>
              <a:gd name="connsiteY27-1960" fmla="*/ 2869862 h 6925856"/>
              <a:gd name="connsiteX28-1961" fmla="*/ 4490696 w 9397013"/>
              <a:gd name="connsiteY28-1962" fmla="*/ 2549117 h 6925856"/>
              <a:gd name="connsiteX29-1963" fmla="*/ 7777211 w 9397013"/>
              <a:gd name="connsiteY29-1964" fmla="*/ 6916620 h 6925856"/>
              <a:gd name="connsiteX30-1965" fmla="*/ 8567691 w 9397013"/>
              <a:gd name="connsiteY30-1966" fmla="*/ 6916619 h 6925856"/>
              <a:gd name="connsiteX31-1967" fmla="*/ 8159389 w 9397013"/>
              <a:gd name="connsiteY31-1968" fmla="*/ 6925856 h 6925856"/>
              <a:gd name="connsiteX32-1969" fmla="*/ 4650570 w 9397013"/>
              <a:gd name="connsiteY32-1970" fmla="*/ 2339732 h 6925856"/>
              <a:gd name="connsiteX33-1971" fmla="*/ 4869244 w 9397013"/>
              <a:gd name="connsiteY33-1972" fmla="*/ 2053337 h 6925856"/>
              <a:gd name="connsiteX34-1973" fmla="*/ 8567691 w 9397013"/>
              <a:gd name="connsiteY34-1974" fmla="*/ 6916619 h 6925856"/>
              <a:gd name="connsiteX35-1975" fmla="*/ 9397013 w 9397013"/>
              <a:gd name="connsiteY35-1976" fmla="*/ 6925855 h 6925856"/>
              <a:gd name="connsiteX36-1977" fmla="*/ 8921338 w 9397013"/>
              <a:gd name="connsiteY36-1978" fmla="*/ 6907383 h 6925856"/>
              <a:gd name="connsiteX37-1979" fmla="*/ 5045299 w 9397013"/>
              <a:gd name="connsiteY37-1980" fmla="*/ 1822761 h 6925856"/>
              <a:gd name="connsiteX38-1981" fmla="*/ 5273037 w 9397013"/>
              <a:gd name="connsiteY38-1982" fmla="*/ 1524494 h 6925856"/>
              <a:gd name="connsiteX39-1983" fmla="*/ 9397013 w 9397013"/>
              <a:gd name="connsiteY39-1984" fmla="*/ 6925855 h 6925856"/>
              <a:gd name="connsiteX0-1985" fmla="*/ 168369 w 9397013"/>
              <a:gd name="connsiteY0-1986" fmla="*/ 4571581 h 6925856"/>
              <a:gd name="connsiteX1-1987" fmla="*/ 0 w 9397013"/>
              <a:gd name="connsiteY1-1988" fmla="*/ 4200794 h 6925856"/>
              <a:gd name="connsiteX2-1989" fmla="*/ 3175788 w 9397013"/>
              <a:gd name="connsiteY2-1990" fmla="*/ 4084 h 6925856"/>
              <a:gd name="connsiteX3-1991" fmla="*/ 3628305 w 9397013"/>
              <a:gd name="connsiteY3-1992" fmla="*/ 0 h 6925856"/>
              <a:gd name="connsiteX4-1993" fmla="*/ 168369 w 9397013"/>
              <a:gd name="connsiteY4-1994" fmla="*/ 4571581 h 6925856"/>
              <a:gd name="connsiteX5-1995" fmla="*/ 488220 w 9397013"/>
              <a:gd name="connsiteY5-1996" fmla="*/ 5275963 h 6925856"/>
              <a:gd name="connsiteX6-1997" fmla="*/ 299082 w 9397013"/>
              <a:gd name="connsiteY6-1998" fmla="*/ 4859439 h 6925856"/>
              <a:gd name="connsiteX7-1999" fmla="*/ 3977147 w 9397013"/>
              <a:gd name="connsiteY7-2000" fmla="*/ 3723 h 6925856"/>
              <a:gd name="connsiteX8-2001" fmla="*/ 4465006 w 9397013"/>
              <a:gd name="connsiteY8-2002" fmla="*/ 840 h 6925856"/>
              <a:gd name="connsiteX9-2003" fmla="*/ 488220 w 9397013"/>
              <a:gd name="connsiteY9-2004" fmla="*/ 5275963 h 6925856"/>
              <a:gd name="connsiteX10-2005" fmla="*/ 779421 w 9397013"/>
              <a:gd name="connsiteY10-2006" fmla="*/ 5917254 h 6925856"/>
              <a:gd name="connsiteX11-2007" fmla="*/ 618065 w 9397013"/>
              <a:gd name="connsiteY11-2008" fmla="*/ 5561911 h 6925856"/>
              <a:gd name="connsiteX12-2009" fmla="*/ 4805164 w 9397013"/>
              <a:gd name="connsiteY12-2010" fmla="*/ 4602 h 6925856"/>
              <a:gd name="connsiteX13-2011" fmla="*/ 5260238 w 9397013"/>
              <a:gd name="connsiteY13-2012" fmla="*/ 25779 h 6925856"/>
              <a:gd name="connsiteX14-2013" fmla="*/ 779421 w 9397013"/>
              <a:gd name="connsiteY14-2014" fmla="*/ 5917254 h 6925856"/>
              <a:gd name="connsiteX15-2015" fmla="*/ 1580200 w 9397013"/>
              <a:gd name="connsiteY15-2016" fmla="*/ 5985735 h 6925856"/>
              <a:gd name="connsiteX16-2017" fmla="*/ 1566201 w 9397013"/>
              <a:gd name="connsiteY16-2018" fmla="*/ 5394811 h 6925856"/>
              <a:gd name="connsiteX17-2019" fmla="*/ 5641256 w 9397013"/>
              <a:gd name="connsiteY17-2020" fmla="*/ 4084 h 6925856"/>
              <a:gd name="connsiteX18-2021" fmla="*/ 6077099 w 9397013"/>
              <a:gd name="connsiteY18-2022" fmla="*/ 17286 h 6925856"/>
              <a:gd name="connsiteX19-2023" fmla="*/ 1580200 w 9397013"/>
              <a:gd name="connsiteY19-2024" fmla="*/ 5985735 h 6925856"/>
              <a:gd name="connsiteX20-2025" fmla="*/ 6958778 w 9397013"/>
              <a:gd name="connsiteY20-2026" fmla="*/ 6916619 h 6925856"/>
              <a:gd name="connsiteX21-2027" fmla="*/ 6560038 w 9397013"/>
              <a:gd name="connsiteY21-2028" fmla="*/ 6925855 h 6925856"/>
              <a:gd name="connsiteX22-2029" fmla="*/ 3849932 w 9397013"/>
              <a:gd name="connsiteY22-2030" fmla="*/ 3388318 h 6925856"/>
              <a:gd name="connsiteX23-2031" fmla="*/ 4086202 w 9397013"/>
              <a:gd name="connsiteY23-2032" fmla="*/ 3078877 h 6925856"/>
              <a:gd name="connsiteX24-2033" fmla="*/ 6958778 w 9397013"/>
              <a:gd name="connsiteY24-2034" fmla="*/ 6916619 h 6925856"/>
              <a:gd name="connsiteX25-2035" fmla="*/ 7777211 w 9397013"/>
              <a:gd name="connsiteY25-2036" fmla="*/ 6916620 h 6925856"/>
              <a:gd name="connsiteX26-2037" fmla="*/ 7324729 w 9397013"/>
              <a:gd name="connsiteY26-2038" fmla="*/ 6916620 h 6925856"/>
              <a:gd name="connsiteX27-2039" fmla="*/ 4245793 w 9397013"/>
              <a:gd name="connsiteY27-2040" fmla="*/ 2869862 h 6925856"/>
              <a:gd name="connsiteX28-2041" fmla="*/ 4490696 w 9397013"/>
              <a:gd name="connsiteY28-2042" fmla="*/ 2549117 h 6925856"/>
              <a:gd name="connsiteX29-2043" fmla="*/ 7777211 w 9397013"/>
              <a:gd name="connsiteY29-2044" fmla="*/ 6916620 h 6925856"/>
              <a:gd name="connsiteX30-2045" fmla="*/ 8567691 w 9397013"/>
              <a:gd name="connsiteY30-2046" fmla="*/ 6916619 h 6925856"/>
              <a:gd name="connsiteX31-2047" fmla="*/ 8159389 w 9397013"/>
              <a:gd name="connsiteY31-2048" fmla="*/ 6925856 h 6925856"/>
              <a:gd name="connsiteX32-2049" fmla="*/ 4650570 w 9397013"/>
              <a:gd name="connsiteY32-2050" fmla="*/ 2339732 h 6925856"/>
              <a:gd name="connsiteX33-2051" fmla="*/ 4869244 w 9397013"/>
              <a:gd name="connsiteY33-2052" fmla="*/ 2053337 h 6925856"/>
              <a:gd name="connsiteX34-2053" fmla="*/ 8567691 w 9397013"/>
              <a:gd name="connsiteY34-2054" fmla="*/ 6916619 h 6925856"/>
              <a:gd name="connsiteX35-2055" fmla="*/ 9397013 w 9397013"/>
              <a:gd name="connsiteY35-2056" fmla="*/ 6925855 h 6925856"/>
              <a:gd name="connsiteX36-2057" fmla="*/ 8921338 w 9397013"/>
              <a:gd name="connsiteY36-2058" fmla="*/ 6907383 h 6925856"/>
              <a:gd name="connsiteX37-2059" fmla="*/ 5045299 w 9397013"/>
              <a:gd name="connsiteY37-2060" fmla="*/ 1822761 h 6925856"/>
              <a:gd name="connsiteX38-2061" fmla="*/ 5273037 w 9397013"/>
              <a:gd name="connsiteY38-2062" fmla="*/ 1524494 h 6925856"/>
              <a:gd name="connsiteX39-2063" fmla="*/ 9397013 w 9397013"/>
              <a:gd name="connsiteY39-2064" fmla="*/ 6925855 h 6925856"/>
              <a:gd name="connsiteX0-2065" fmla="*/ 168369 w 9397013"/>
              <a:gd name="connsiteY0-2066" fmla="*/ 4571581 h 6925856"/>
              <a:gd name="connsiteX1-2067" fmla="*/ 0 w 9397013"/>
              <a:gd name="connsiteY1-2068" fmla="*/ 4200794 h 6925856"/>
              <a:gd name="connsiteX2-2069" fmla="*/ 3175788 w 9397013"/>
              <a:gd name="connsiteY2-2070" fmla="*/ 4084 h 6925856"/>
              <a:gd name="connsiteX3-2071" fmla="*/ 3628305 w 9397013"/>
              <a:gd name="connsiteY3-2072" fmla="*/ 0 h 6925856"/>
              <a:gd name="connsiteX4-2073" fmla="*/ 168369 w 9397013"/>
              <a:gd name="connsiteY4-2074" fmla="*/ 4571581 h 6925856"/>
              <a:gd name="connsiteX5-2075" fmla="*/ 488220 w 9397013"/>
              <a:gd name="connsiteY5-2076" fmla="*/ 5275963 h 6925856"/>
              <a:gd name="connsiteX6-2077" fmla="*/ 299082 w 9397013"/>
              <a:gd name="connsiteY6-2078" fmla="*/ 4859439 h 6925856"/>
              <a:gd name="connsiteX7-2079" fmla="*/ 3977147 w 9397013"/>
              <a:gd name="connsiteY7-2080" fmla="*/ 3723 h 6925856"/>
              <a:gd name="connsiteX8-2081" fmla="*/ 4465006 w 9397013"/>
              <a:gd name="connsiteY8-2082" fmla="*/ 840 h 6925856"/>
              <a:gd name="connsiteX9-2083" fmla="*/ 488220 w 9397013"/>
              <a:gd name="connsiteY9-2084" fmla="*/ 5275963 h 6925856"/>
              <a:gd name="connsiteX10-2085" fmla="*/ 1601458 w 9397013"/>
              <a:gd name="connsiteY10-2086" fmla="*/ 4845836 h 6925856"/>
              <a:gd name="connsiteX11-2087" fmla="*/ 618065 w 9397013"/>
              <a:gd name="connsiteY11-2088" fmla="*/ 5561911 h 6925856"/>
              <a:gd name="connsiteX12-2089" fmla="*/ 4805164 w 9397013"/>
              <a:gd name="connsiteY12-2090" fmla="*/ 4602 h 6925856"/>
              <a:gd name="connsiteX13-2091" fmla="*/ 5260238 w 9397013"/>
              <a:gd name="connsiteY13-2092" fmla="*/ 25779 h 6925856"/>
              <a:gd name="connsiteX14-2093" fmla="*/ 1601458 w 9397013"/>
              <a:gd name="connsiteY14-2094" fmla="*/ 4845836 h 6925856"/>
              <a:gd name="connsiteX15-2095" fmla="*/ 1580200 w 9397013"/>
              <a:gd name="connsiteY15-2096" fmla="*/ 5985735 h 6925856"/>
              <a:gd name="connsiteX16-2097" fmla="*/ 1566201 w 9397013"/>
              <a:gd name="connsiteY16-2098" fmla="*/ 5394811 h 6925856"/>
              <a:gd name="connsiteX17-2099" fmla="*/ 5641256 w 9397013"/>
              <a:gd name="connsiteY17-2100" fmla="*/ 4084 h 6925856"/>
              <a:gd name="connsiteX18-2101" fmla="*/ 6077099 w 9397013"/>
              <a:gd name="connsiteY18-2102" fmla="*/ 17286 h 6925856"/>
              <a:gd name="connsiteX19-2103" fmla="*/ 1580200 w 9397013"/>
              <a:gd name="connsiteY19-2104" fmla="*/ 5985735 h 6925856"/>
              <a:gd name="connsiteX20-2105" fmla="*/ 6958778 w 9397013"/>
              <a:gd name="connsiteY20-2106" fmla="*/ 6916619 h 6925856"/>
              <a:gd name="connsiteX21-2107" fmla="*/ 6560038 w 9397013"/>
              <a:gd name="connsiteY21-2108" fmla="*/ 6925855 h 6925856"/>
              <a:gd name="connsiteX22-2109" fmla="*/ 3849932 w 9397013"/>
              <a:gd name="connsiteY22-2110" fmla="*/ 3388318 h 6925856"/>
              <a:gd name="connsiteX23-2111" fmla="*/ 4086202 w 9397013"/>
              <a:gd name="connsiteY23-2112" fmla="*/ 3078877 h 6925856"/>
              <a:gd name="connsiteX24-2113" fmla="*/ 6958778 w 9397013"/>
              <a:gd name="connsiteY24-2114" fmla="*/ 6916619 h 6925856"/>
              <a:gd name="connsiteX25-2115" fmla="*/ 7777211 w 9397013"/>
              <a:gd name="connsiteY25-2116" fmla="*/ 6916620 h 6925856"/>
              <a:gd name="connsiteX26-2117" fmla="*/ 7324729 w 9397013"/>
              <a:gd name="connsiteY26-2118" fmla="*/ 6916620 h 6925856"/>
              <a:gd name="connsiteX27-2119" fmla="*/ 4245793 w 9397013"/>
              <a:gd name="connsiteY27-2120" fmla="*/ 2869862 h 6925856"/>
              <a:gd name="connsiteX28-2121" fmla="*/ 4490696 w 9397013"/>
              <a:gd name="connsiteY28-2122" fmla="*/ 2549117 h 6925856"/>
              <a:gd name="connsiteX29-2123" fmla="*/ 7777211 w 9397013"/>
              <a:gd name="connsiteY29-2124" fmla="*/ 6916620 h 6925856"/>
              <a:gd name="connsiteX30-2125" fmla="*/ 8567691 w 9397013"/>
              <a:gd name="connsiteY30-2126" fmla="*/ 6916619 h 6925856"/>
              <a:gd name="connsiteX31-2127" fmla="*/ 8159389 w 9397013"/>
              <a:gd name="connsiteY31-2128" fmla="*/ 6925856 h 6925856"/>
              <a:gd name="connsiteX32-2129" fmla="*/ 4650570 w 9397013"/>
              <a:gd name="connsiteY32-2130" fmla="*/ 2339732 h 6925856"/>
              <a:gd name="connsiteX33-2131" fmla="*/ 4869244 w 9397013"/>
              <a:gd name="connsiteY33-2132" fmla="*/ 2053337 h 6925856"/>
              <a:gd name="connsiteX34-2133" fmla="*/ 8567691 w 9397013"/>
              <a:gd name="connsiteY34-2134" fmla="*/ 6916619 h 6925856"/>
              <a:gd name="connsiteX35-2135" fmla="*/ 9397013 w 9397013"/>
              <a:gd name="connsiteY35-2136" fmla="*/ 6925855 h 6925856"/>
              <a:gd name="connsiteX36-2137" fmla="*/ 8921338 w 9397013"/>
              <a:gd name="connsiteY36-2138" fmla="*/ 6907383 h 6925856"/>
              <a:gd name="connsiteX37-2139" fmla="*/ 5045299 w 9397013"/>
              <a:gd name="connsiteY37-2140" fmla="*/ 1822761 h 6925856"/>
              <a:gd name="connsiteX38-2141" fmla="*/ 5273037 w 9397013"/>
              <a:gd name="connsiteY38-2142" fmla="*/ 1524494 h 6925856"/>
              <a:gd name="connsiteX39-2143" fmla="*/ 9397013 w 9397013"/>
              <a:gd name="connsiteY39-2144" fmla="*/ 6925855 h 6925856"/>
              <a:gd name="connsiteX0-2145" fmla="*/ 168369 w 9397013"/>
              <a:gd name="connsiteY0-2146" fmla="*/ 4571581 h 6925856"/>
              <a:gd name="connsiteX1-2147" fmla="*/ 0 w 9397013"/>
              <a:gd name="connsiteY1-2148" fmla="*/ 4200794 h 6925856"/>
              <a:gd name="connsiteX2-2149" fmla="*/ 3175788 w 9397013"/>
              <a:gd name="connsiteY2-2150" fmla="*/ 4084 h 6925856"/>
              <a:gd name="connsiteX3-2151" fmla="*/ 3628305 w 9397013"/>
              <a:gd name="connsiteY3-2152" fmla="*/ 0 h 6925856"/>
              <a:gd name="connsiteX4-2153" fmla="*/ 168369 w 9397013"/>
              <a:gd name="connsiteY4-2154" fmla="*/ 4571581 h 6925856"/>
              <a:gd name="connsiteX5-2155" fmla="*/ 488220 w 9397013"/>
              <a:gd name="connsiteY5-2156" fmla="*/ 5275963 h 6925856"/>
              <a:gd name="connsiteX6-2157" fmla="*/ 299082 w 9397013"/>
              <a:gd name="connsiteY6-2158" fmla="*/ 4859439 h 6925856"/>
              <a:gd name="connsiteX7-2159" fmla="*/ 3977147 w 9397013"/>
              <a:gd name="connsiteY7-2160" fmla="*/ 3723 h 6925856"/>
              <a:gd name="connsiteX8-2161" fmla="*/ 4465006 w 9397013"/>
              <a:gd name="connsiteY8-2162" fmla="*/ 840 h 6925856"/>
              <a:gd name="connsiteX9-2163" fmla="*/ 488220 w 9397013"/>
              <a:gd name="connsiteY9-2164" fmla="*/ 5275963 h 6925856"/>
              <a:gd name="connsiteX10-2165" fmla="*/ 1601458 w 9397013"/>
              <a:gd name="connsiteY10-2166" fmla="*/ 4845836 h 6925856"/>
              <a:gd name="connsiteX11-2167" fmla="*/ 1550937 w 9397013"/>
              <a:gd name="connsiteY11-2168" fmla="*/ 4315002 h 6925856"/>
              <a:gd name="connsiteX12-2169" fmla="*/ 4805164 w 9397013"/>
              <a:gd name="connsiteY12-2170" fmla="*/ 4602 h 6925856"/>
              <a:gd name="connsiteX13-2171" fmla="*/ 5260238 w 9397013"/>
              <a:gd name="connsiteY13-2172" fmla="*/ 25779 h 6925856"/>
              <a:gd name="connsiteX14-2173" fmla="*/ 1601458 w 9397013"/>
              <a:gd name="connsiteY14-2174" fmla="*/ 4845836 h 6925856"/>
              <a:gd name="connsiteX15-2175" fmla="*/ 1580200 w 9397013"/>
              <a:gd name="connsiteY15-2176" fmla="*/ 5985735 h 6925856"/>
              <a:gd name="connsiteX16-2177" fmla="*/ 1566201 w 9397013"/>
              <a:gd name="connsiteY16-2178" fmla="*/ 5394811 h 6925856"/>
              <a:gd name="connsiteX17-2179" fmla="*/ 5641256 w 9397013"/>
              <a:gd name="connsiteY17-2180" fmla="*/ 4084 h 6925856"/>
              <a:gd name="connsiteX18-2181" fmla="*/ 6077099 w 9397013"/>
              <a:gd name="connsiteY18-2182" fmla="*/ 17286 h 6925856"/>
              <a:gd name="connsiteX19-2183" fmla="*/ 1580200 w 9397013"/>
              <a:gd name="connsiteY19-2184" fmla="*/ 5985735 h 6925856"/>
              <a:gd name="connsiteX20-2185" fmla="*/ 6958778 w 9397013"/>
              <a:gd name="connsiteY20-2186" fmla="*/ 6916619 h 6925856"/>
              <a:gd name="connsiteX21-2187" fmla="*/ 6560038 w 9397013"/>
              <a:gd name="connsiteY21-2188" fmla="*/ 6925855 h 6925856"/>
              <a:gd name="connsiteX22-2189" fmla="*/ 3849932 w 9397013"/>
              <a:gd name="connsiteY22-2190" fmla="*/ 3388318 h 6925856"/>
              <a:gd name="connsiteX23-2191" fmla="*/ 4086202 w 9397013"/>
              <a:gd name="connsiteY23-2192" fmla="*/ 3078877 h 6925856"/>
              <a:gd name="connsiteX24-2193" fmla="*/ 6958778 w 9397013"/>
              <a:gd name="connsiteY24-2194" fmla="*/ 6916619 h 6925856"/>
              <a:gd name="connsiteX25-2195" fmla="*/ 7777211 w 9397013"/>
              <a:gd name="connsiteY25-2196" fmla="*/ 6916620 h 6925856"/>
              <a:gd name="connsiteX26-2197" fmla="*/ 7324729 w 9397013"/>
              <a:gd name="connsiteY26-2198" fmla="*/ 6916620 h 6925856"/>
              <a:gd name="connsiteX27-2199" fmla="*/ 4245793 w 9397013"/>
              <a:gd name="connsiteY27-2200" fmla="*/ 2869862 h 6925856"/>
              <a:gd name="connsiteX28-2201" fmla="*/ 4490696 w 9397013"/>
              <a:gd name="connsiteY28-2202" fmla="*/ 2549117 h 6925856"/>
              <a:gd name="connsiteX29-2203" fmla="*/ 7777211 w 9397013"/>
              <a:gd name="connsiteY29-2204" fmla="*/ 6916620 h 6925856"/>
              <a:gd name="connsiteX30-2205" fmla="*/ 8567691 w 9397013"/>
              <a:gd name="connsiteY30-2206" fmla="*/ 6916619 h 6925856"/>
              <a:gd name="connsiteX31-2207" fmla="*/ 8159389 w 9397013"/>
              <a:gd name="connsiteY31-2208" fmla="*/ 6925856 h 6925856"/>
              <a:gd name="connsiteX32-2209" fmla="*/ 4650570 w 9397013"/>
              <a:gd name="connsiteY32-2210" fmla="*/ 2339732 h 6925856"/>
              <a:gd name="connsiteX33-2211" fmla="*/ 4869244 w 9397013"/>
              <a:gd name="connsiteY33-2212" fmla="*/ 2053337 h 6925856"/>
              <a:gd name="connsiteX34-2213" fmla="*/ 8567691 w 9397013"/>
              <a:gd name="connsiteY34-2214" fmla="*/ 6916619 h 6925856"/>
              <a:gd name="connsiteX35-2215" fmla="*/ 9397013 w 9397013"/>
              <a:gd name="connsiteY35-2216" fmla="*/ 6925855 h 6925856"/>
              <a:gd name="connsiteX36-2217" fmla="*/ 8921338 w 9397013"/>
              <a:gd name="connsiteY36-2218" fmla="*/ 6907383 h 6925856"/>
              <a:gd name="connsiteX37-2219" fmla="*/ 5045299 w 9397013"/>
              <a:gd name="connsiteY37-2220" fmla="*/ 1822761 h 6925856"/>
              <a:gd name="connsiteX38-2221" fmla="*/ 5273037 w 9397013"/>
              <a:gd name="connsiteY38-2222" fmla="*/ 1524494 h 6925856"/>
              <a:gd name="connsiteX39-2223" fmla="*/ 9397013 w 9397013"/>
              <a:gd name="connsiteY39-2224" fmla="*/ 6925855 h 6925856"/>
              <a:gd name="connsiteX0-2225" fmla="*/ 168369 w 9397013"/>
              <a:gd name="connsiteY0-2226" fmla="*/ 4571581 h 6925856"/>
              <a:gd name="connsiteX1-2227" fmla="*/ 0 w 9397013"/>
              <a:gd name="connsiteY1-2228" fmla="*/ 4200794 h 6925856"/>
              <a:gd name="connsiteX2-2229" fmla="*/ 3175788 w 9397013"/>
              <a:gd name="connsiteY2-2230" fmla="*/ 4084 h 6925856"/>
              <a:gd name="connsiteX3-2231" fmla="*/ 3628305 w 9397013"/>
              <a:gd name="connsiteY3-2232" fmla="*/ 0 h 6925856"/>
              <a:gd name="connsiteX4-2233" fmla="*/ 168369 w 9397013"/>
              <a:gd name="connsiteY4-2234" fmla="*/ 4571581 h 6925856"/>
              <a:gd name="connsiteX5-2235" fmla="*/ 488220 w 9397013"/>
              <a:gd name="connsiteY5-2236" fmla="*/ 5275963 h 6925856"/>
              <a:gd name="connsiteX6-2237" fmla="*/ 299082 w 9397013"/>
              <a:gd name="connsiteY6-2238" fmla="*/ 4859439 h 6925856"/>
              <a:gd name="connsiteX7-2239" fmla="*/ 3977147 w 9397013"/>
              <a:gd name="connsiteY7-2240" fmla="*/ 3723 h 6925856"/>
              <a:gd name="connsiteX8-2241" fmla="*/ 4465006 w 9397013"/>
              <a:gd name="connsiteY8-2242" fmla="*/ 840 h 6925856"/>
              <a:gd name="connsiteX9-2243" fmla="*/ 488220 w 9397013"/>
              <a:gd name="connsiteY9-2244" fmla="*/ 5275963 h 6925856"/>
              <a:gd name="connsiteX10-2245" fmla="*/ 1573749 w 9397013"/>
              <a:gd name="connsiteY10-2246" fmla="*/ 4882781 h 6925856"/>
              <a:gd name="connsiteX11-2247" fmla="*/ 1550937 w 9397013"/>
              <a:gd name="connsiteY11-2248" fmla="*/ 4315002 h 6925856"/>
              <a:gd name="connsiteX12-2249" fmla="*/ 4805164 w 9397013"/>
              <a:gd name="connsiteY12-2250" fmla="*/ 4602 h 6925856"/>
              <a:gd name="connsiteX13-2251" fmla="*/ 5260238 w 9397013"/>
              <a:gd name="connsiteY13-2252" fmla="*/ 25779 h 6925856"/>
              <a:gd name="connsiteX14-2253" fmla="*/ 1573749 w 9397013"/>
              <a:gd name="connsiteY14-2254" fmla="*/ 4882781 h 6925856"/>
              <a:gd name="connsiteX15-2255" fmla="*/ 1580200 w 9397013"/>
              <a:gd name="connsiteY15-2256" fmla="*/ 5985735 h 6925856"/>
              <a:gd name="connsiteX16-2257" fmla="*/ 1566201 w 9397013"/>
              <a:gd name="connsiteY16-2258" fmla="*/ 5394811 h 6925856"/>
              <a:gd name="connsiteX17-2259" fmla="*/ 5641256 w 9397013"/>
              <a:gd name="connsiteY17-2260" fmla="*/ 4084 h 6925856"/>
              <a:gd name="connsiteX18-2261" fmla="*/ 6077099 w 9397013"/>
              <a:gd name="connsiteY18-2262" fmla="*/ 17286 h 6925856"/>
              <a:gd name="connsiteX19-2263" fmla="*/ 1580200 w 9397013"/>
              <a:gd name="connsiteY19-2264" fmla="*/ 5985735 h 6925856"/>
              <a:gd name="connsiteX20-2265" fmla="*/ 6958778 w 9397013"/>
              <a:gd name="connsiteY20-2266" fmla="*/ 6916619 h 6925856"/>
              <a:gd name="connsiteX21-2267" fmla="*/ 6560038 w 9397013"/>
              <a:gd name="connsiteY21-2268" fmla="*/ 6925855 h 6925856"/>
              <a:gd name="connsiteX22-2269" fmla="*/ 3849932 w 9397013"/>
              <a:gd name="connsiteY22-2270" fmla="*/ 3388318 h 6925856"/>
              <a:gd name="connsiteX23-2271" fmla="*/ 4086202 w 9397013"/>
              <a:gd name="connsiteY23-2272" fmla="*/ 3078877 h 6925856"/>
              <a:gd name="connsiteX24-2273" fmla="*/ 6958778 w 9397013"/>
              <a:gd name="connsiteY24-2274" fmla="*/ 6916619 h 6925856"/>
              <a:gd name="connsiteX25-2275" fmla="*/ 7777211 w 9397013"/>
              <a:gd name="connsiteY25-2276" fmla="*/ 6916620 h 6925856"/>
              <a:gd name="connsiteX26-2277" fmla="*/ 7324729 w 9397013"/>
              <a:gd name="connsiteY26-2278" fmla="*/ 6916620 h 6925856"/>
              <a:gd name="connsiteX27-2279" fmla="*/ 4245793 w 9397013"/>
              <a:gd name="connsiteY27-2280" fmla="*/ 2869862 h 6925856"/>
              <a:gd name="connsiteX28-2281" fmla="*/ 4490696 w 9397013"/>
              <a:gd name="connsiteY28-2282" fmla="*/ 2549117 h 6925856"/>
              <a:gd name="connsiteX29-2283" fmla="*/ 7777211 w 9397013"/>
              <a:gd name="connsiteY29-2284" fmla="*/ 6916620 h 6925856"/>
              <a:gd name="connsiteX30-2285" fmla="*/ 8567691 w 9397013"/>
              <a:gd name="connsiteY30-2286" fmla="*/ 6916619 h 6925856"/>
              <a:gd name="connsiteX31-2287" fmla="*/ 8159389 w 9397013"/>
              <a:gd name="connsiteY31-2288" fmla="*/ 6925856 h 6925856"/>
              <a:gd name="connsiteX32-2289" fmla="*/ 4650570 w 9397013"/>
              <a:gd name="connsiteY32-2290" fmla="*/ 2339732 h 6925856"/>
              <a:gd name="connsiteX33-2291" fmla="*/ 4869244 w 9397013"/>
              <a:gd name="connsiteY33-2292" fmla="*/ 2053337 h 6925856"/>
              <a:gd name="connsiteX34-2293" fmla="*/ 8567691 w 9397013"/>
              <a:gd name="connsiteY34-2294" fmla="*/ 6916619 h 6925856"/>
              <a:gd name="connsiteX35-2295" fmla="*/ 9397013 w 9397013"/>
              <a:gd name="connsiteY35-2296" fmla="*/ 6925855 h 6925856"/>
              <a:gd name="connsiteX36-2297" fmla="*/ 8921338 w 9397013"/>
              <a:gd name="connsiteY36-2298" fmla="*/ 6907383 h 6925856"/>
              <a:gd name="connsiteX37-2299" fmla="*/ 5045299 w 9397013"/>
              <a:gd name="connsiteY37-2300" fmla="*/ 1822761 h 6925856"/>
              <a:gd name="connsiteX38-2301" fmla="*/ 5273037 w 9397013"/>
              <a:gd name="connsiteY38-2302" fmla="*/ 1524494 h 6925856"/>
              <a:gd name="connsiteX39-2303" fmla="*/ 9397013 w 9397013"/>
              <a:gd name="connsiteY39-2304" fmla="*/ 6925855 h 6925856"/>
              <a:gd name="connsiteX0-2305" fmla="*/ 168369 w 9397013"/>
              <a:gd name="connsiteY0-2306" fmla="*/ 4571581 h 6925856"/>
              <a:gd name="connsiteX1-2307" fmla="*/ 0 w 9397013"/>
              <a:gd name="connsiteY1-2308" fmla="*/ 4200794 h 6925856"/>
              <a:gd name="connsiteX2-2309" fmla="*/ 3175788 w 9397013"/>
              <a:gd name="connsiteY2-2310" fmla="*/ 4084 h 6925856"/>
              <a:gd name="connsiteX3-2311" fmla="*/ 3628305 w 9397013"/>
              <a:gd name="connsiteY3-2312" fmla="*/ 0 h 6925856"/>
              <a:gd name="connsiteX4-2313" fmla="*/ 168369 w 9397013"/>
              <a:gd name="connsiteY4-2314" fmla="*/ 4571581 h 6925856"/>
              <a:gd name="connsiteX5-2315" fmla="*/ 1578111 w 9397013"/>
              <a:gd name="connsiteY5-2316" fmla="*/ 3835090 h 6925856"/>
              <a:gd name="connsiteX6-2317" fmla="*/ 299082 w 9397013"/>
              <a:gd name="connsiteY6-2318" fmla="*/ 4859439 h 6925856"/>
              <a:gd name="connsiteX7-2319" fmla="*/ 3977147 w 9397013"/>
              <a:gd name="connsiteY7-2320" fmla="*/ 3723 h 6925856"/>
              <a:gd name="connsiteX8-2321" fmla="*/ 4465006 w 9397013"/>
              <a:gd name="connsiteY8-2322" fmla="*/ 840 h 6925856"/>
              <a:gd name="connsiteX9-2323" fmla="*/ 1578111 w 9397013"/>
              <a:gd name="connsiteY9-2324" fmla="*/ 3835090 h 6925856"/>
              <a:gd name="connsiteX10-2325" fmla="*/ 1573749 w 9397013"/>
              <a:gd name="connsiteY10-2326" fmla="*/ 4882781 h 6925856"/>
              <a:gd name="connsiteX11-2327" fmla="*/ 1550937 w 9397013"/>
              <a:gd name="connsiteY11-2328" fmla="*/ 4315002 h 6925856"/>
              <a:gd name="connsiteX12-2329" fmla="*/ 4805164 w 9397013"/>
              <a:gd name="connsiteY12-2330" fmla="*/ 4602 h 6925856"/>
              <a:gd name="connsiteX13-2331" fmla="*/ 5260238 w 9397013"/>
              <a:gd name="connsiteY13-2332" fmla="*/ 25779 h 6925856"/>
              <a:gd name="connsiteX14-2333" fmla="*/ 1573749 w 9397013"/>
              <a:gd name="connsiteY14-2334" fmla="*/ 4882781 h 6925856"/>
              <a:gd name="connsiteX15-2335" fmla="*/ 1580200 w 9397013"/>
              <a:gd name="connsiteY15-2336" fmla="*/ 5985735 h 6925856"/>
              <a:gd name="connsiteX16-2337" fmla="*/ 1566201 w 9397013"/>
              <a:gd name="connsiteY16-2338" fmla="*/ 5394811 h 6925856"/>
              <a:gd name="connsiteX17-2339" fmla="*/ 5641256 w 9397013"/>
              <a:gd name="connsiteY17-2340" fmla="*/ 4084 h 6925856"/>
              <a:gd name="connsiteX18-2341" fmla="*/ 6077099 w 9397013"/>
              <a:gd name="connsiteY18-2342" fmla="*/ 17286 h 6925856"/>
              <a:gd name="connsiteX19-2343" fmla="*/ 1580200 w 9397013"/>
              <a:gd name="connsiteY19-2344" fmla="*/ 5985735 h 6925856"/>
              <a:gd name="connsiteX20-2345" fmla="*/ 6958778 w 9397013"/>
              <a:gd name="connsiteY20-2346" fmla="*/ 6916619 h 6925856"/>
              <a:gd name="connsiteX21-2347" fmla="*/ 6560038 w 9397013"/>
              <a:gd name="connsiteY21-2348" fmla="*/ 6925855 h 6925856"/>
              <a:gd name="connsiteX22-2349" fmla="*/ 3849932 w 9397013"/>
              <a:gd name="connsiteY22-2350" fmla="*/ 3388318 h 6925856"/>
              <a:gd name="connsiteX23-2351" fmla="*/ 4086202 w 9397013"/>
              <a:gd name="connsiteY23-2352" fmla="*/ 3078877 h 6925856"/>
              <a:gd name="connsiteX24-2353" fmla="*/ 6958778 w 9397013"/>
              <a:gd name="connsiteY24-2354" fmla="*/ 6916619 h 6925856"/>
              <a:gd name="connsiteX25-2355" fmla="*/ 7777211 w 9397013"/>
              <a:gd name="connsiteY25-2356" fmla="*/ 6916620 h 6925856"/>
              <a:gd name="connsiteX26-2357" fmla="*/ 7324729 w 9397013"/>
              <a:gd name="connsiteY26-2358" fmla="*/ 6916620 h 6925856"/>
              <a:gd name="connsiteX27-2359" fmla="*/ 4245793 w 9397013"/>
              <a:gd name="connsiteY27-2360" fmla="*/ 2869862 h 6925856"/>
              <a:gd name="connsiteX28-2361" fmla="*/ 4490696 w 9397013"/>
              <a:gd name="connsiteY28-2362" fmla="*/ 2549117 h 6925856"/>
              <a:gd name="connsiteX29-2363" fmla="*/ 7777211 w 9397013"/>
              <a:gd name="connsiteY29-2364" fmla="*/ 6916620 h 6925856"/>
              <a:gd name="connsiteX30-2365" fmla="*/ 8567691 w 9397013"/>
              <a:gd name="connsiteY30-2366" fmla="*/ 6916619 h 6925856"/>
              <a:gd name="connsiteX31-2367" fmla="*/ 8159389 w 9397013"/>
              <a:gd name="connsiteY31-2368" fmla="*/ 6925856 h 6925856"/>
              <a:gd name="connsiteX32-2369" fmla="*/ 4650570 w 9397013"/>
              <a:gd name="connsiteY32-2370" fmla="*/ 2339732 h 6925856"/>
              <a:gd name="connsiteX33-2371" fmla="*/ 4869244 w 9397013"/>
              <a:gd name="connsiteY33-2372" fmla="*/ 2053337 h 6925856"/>
              <a:gd name="connsiteX34-2373" fmla="*/ 8567691 w 9397013"/>
              <a:gd name="connsiteY34-2374" fmla="*/ 6916619 h 6925856"/>
              <a:gd name="connsiteX35-2375" fmla="*/ 9397013 w 9397013"/>
              <a:gd name="connsiteY35-2376" fmla="*/ 6925855 h 6925856"/>
              <a:gd name="connsiteX36-2377" fmla="*/ 8921338 w 9397013"/>
              <a:gd name="connsiteY36-2378" fmla="*/ 6907383 h 6925856"/>
              <a:gd name="connsiteX37-2379" fmla="*/ 5045299 w 9397013"/>
              <a:gd name="connsiteY37-2380" fmla="*/ 1822761 h 6925856"/>
              <a:gd name="connsiteX38-2381" fmla="*/ 5273037 w 9397013"/>
              <a:gd name="connsiteY38-2382" fmla="*/ 1524494 h 6925856"/>
              <a:gd name="connsiteX39-2383" fmla="*/ 9397013 w 9397013"/>
              <a:gd name="connsiteY39-2384" fmla="*/ 6925855 h 6925856"/>
              <a:gd name="connsiteX0-2385" fmla="*/ 168369 w 9397013"/>
              <a:gd name="connsiteY0-2386" fmla="*/ 4571581 h 6925856"/>
              <a:gd name="connsiteX1-2387" fmla="*/ 0 w 9397013"/>
              <a:gd name="connsiteY1-2388" fmla="*/ 4200794 h 6925856"/>
              <a:gd name="connsiteX2-2389" fmla="*/ 3175788 w 9397013"/>
              <a:gd name="connsiteY2-2390" fmla="*/ 4084 h 6925856"/>
              <a:gd name="connsiteX3-2391" fmla="*/ 3628305 w 9397013"/>
              <a:gd name="connsiteY3-2392" fmla="*/ 0 h 6925856"/>
              <a:gd name="connsiteX4-2393" fmla="*/ 168369 w 9397013"/>
              <a:gd name="connsiteY4-2394" fmla="*/ 4571581 h 6925856"/>
              <a:gd name="connsiteX5-2395" fmla="*/ 1578111 w 9397013"/>
              <a:gd name="connsiteY5-2396" fmla="*/ 3835090 h 6925856"/>
              <a:gd name="connsiteX6-2397" fmla="*/ 1564463 w 9397013"/>
              <a:gd name="connsiteY6-2398" fmla="*/ 3206130 h 6925856"/>
              <a:gd name="connsiteX7-2399" fmla="*/ 3977147 w 9397013"/>
              <a:gd name="connsiteY7-2400" fmla="*/ 3723 h 6925856"/>
              <a:gd name="connsiteX8-2401" fmla="*/ 4465006 w 9397013"/>
              <a:gd name="connsiteY8-2402" fmla="*/ 840 h 6925856"/>
              <a:gd name="connsiteX9-2403" fmla="*/ 1578111 w 9397013"/>
              <a:gd name="connsiteY9-2404" fmla="*/ 3835090 h 6925856"/>
              <a:gd name="connsiteX10-2405" fmla="*/ 1573749 w 9397013"/>
              <a:gd name="connsiteY10-2406" fmla="*/ 4882781 h 6925856"/>
              <a:gd name="connsiteX11-2407" fmla="*/ 1550937 w 9397013"/>
              <a:gd name="connsiteY11-2408" fmla="*/ 4315002 h 6925856"/>
              <a:gd name="connsiteX12-2409" fmla="*/ 4805164 w 9397013"/>
              <a:gd name="connsiteY12-2410" fmla="*/ 4602 h 6925856"/>
              <a:gd name="connsiteX13-2411" fmla="*/ 5260238 w 9397013"/>
              <a:gd name="connsiteY13-2412" fmla="*/ 25779 h 6925856"/>
              <a:gd name="connsiteX14-2413" fmla="*/ 1573749 w 9397013"/>
              <a:gd name="connsiteY14-2414" fmla="*/ 4882781 h 6925856"/>
              <a:gd name="connsiteX15-2415" fmla="*/ 1580200 w 9397013"/>
              <a:gd name="connsiteY15-2416" fmla="*/ 5985735 h 6925856"/>
              <a:gd name="connsiteX16-2417" fmla="*/ 1566201 w 9397013"/>
              <a:gd name="connsiteY16-2418" fmla="*/ 5394811 h 6925856"/>
              <a:gd name="connsiteX17-2419" fmla="*/ 5641256 w 9397013"/>
              <a:gd name="connsiteY17-2420" fmla="*/ 4084 h 6925856"/>
              <a:gd name="connsiteX18-2421" fmla="*/ 6077099 w 9397013"/>
              <a:gd name="connsiteY18-2422" fmla="*/ 17286 h 6925856"/>
              <a:gd name="connsiteX19-2423" fmla="*/ 1580200 w 9397013"/>
              <a:gd name="connsiteY19-2424" fmla="*/ 5985735 h 6925856"/>
              <a:gd name="connsiteX20-2425" fmla="*/ 6958778 w 9397013"/>
              <a:gd name="connsiteY20-2426" fmla="*/ 6916619 h 6925856"/>
              <a:gd name="connsiteX21-2427" fmla="*/ 6560038 w 9397013"/>
              <a:gd name="connsiteY21-2428" fmla="*/ 6925855 h 6925856"/>
              <a:gd name="connsiteX22-2429" fmla="*/ 3849932 w 9397013"/>
              <a:gd name="connsiteY22-2430" fmla="*/ 3388318 h 6925856"/>
              <a:gd name="connsiteX23-2431" fmla="*/ 4086202 w 9397013"/>
              <a:gd name="connsiteY23-2432" fmla="*/ 3078877 h 6925856"/>
              <a:gd name="connsiteX24-2433" fmla="*/ 6958778 w 9397013"/>
              <a:gd name="connsiteY24-2434" fmla="*/ 6916619 h 6925856"/>
              <a:gd name="connsiteX25-2435" fmla="*/ 7777211 w 9397013"/>
              <a:gd name="connsiteY25-2436" fmla="*/ 6916620 h 6925856"/>
              <a:gd name="connsiteX26-2437" fmla="*/ 7324729 w 9397013"/>
              <a:gd name="connsiteY26-2438" fmla="*/ 6916620 h 6925856"/>
              <a:gd name="connsiteX27-2439" fmla="*/ 4245793 w 9397013"/>
              <a:gd name="connsiteY27-2440" fmla="*/ 2869862 h 6925856"/>
              <a:gd name="connsiteX28-2441" fmla="*/ 4490696 w 9397013"/>
              <a:gd name="connsiteY28-2442" fmla="*/ 2549117 h 6925856"/>
              <a:gd name="connsiteX29-2443" fmla="*/ 7777211 w 9397013"/>
              <a:gd name="connsiteY29-2444" fmla="*/ 6916620 h 6925856"/>
              <a:gd name="connsiteX30-2445" fmla="*/ 8567691 w 9397013"/>
              <a:gd name="connsiteY30-2446" fmla="*/ 6916619 h 6925856"/>
              <a:gd name="connsiteX31-2447" fmla="*/ 8159389 w 9397013"/>
              <a:gd name="connsiteY31-2448" fmla="*/ 6925856 h 6925856"/>
              <a:gd name="connsiteX32-2449" fmla="*/ 4650570 w 9397013"/>
              <a:gd name="connsiteY32-2450" fmla="*/ 2339732 h 6925856"/>
              <a:gd name="connsiteX33-2451" fmla="*/ 4869244 w 9397013"/>
              <a:gd name="connsiteY33-2452" fmla="*/ 2053337 h 6925856"/>
              <a:gd name="connsiteX34-2453" fmla="*/ 8567691 w 9397013"/>
              <a:gd name="connsiteY34-2454" fmla="*/ 6916619 h 6925856"/>
              <a:gd name="connsiteX35-2455" fmla="*/ 9397013 w 9397013"/>
              <a:gd name="connsiteY35-2456" fmla="*/ 6925855 h 6925856"/>
              <a:gd name="connsiteX36-2457" fmla="*/ 8921338 w 9397013"/>
              <a:gd name="connsiteY36-2458" fmla="*/ 6907383 h 6925856"/>
              <a:gd name="connsiteX37-2459" fmla="*/ 5045299 w 9397013"/>
              <a:gd name="connsiteY37-2460" fmla="*/ 1822761 h 6925856"/>
              <a:gd name="connsiteX38-2461" fmla="*/ 5273037 w 9397013"/>
              <a:gd name="connsiteY38-2462" fmla="*/ 1524494 h 6925856"/>
              <a:gd name="connsiteX39-2463" fmla="*/ 9397013 w 9397013"/>
              <a:gd name="connsiteY39-2464" fmla="*/ 6925855 h 6925856"/>
              <a:gd name="connsiteX0-2465" fmla="*/ 1572296 w 9397013"/>
              <a:gd name="connsiteY0-2466" fmla="*/ 2715072 h 6925856"/>
              <a:gd name="connsiteX1-2467" fmla="*/ 0 w 9397013"/>
              <a:gd name="connsiteY1-2468" fmla="*/ 4200794 h 6925856"/>
              <a:gd name="connsiteX2-2469" fmla="*/ 3175788 w 9397013"/>
              <a:gd name="connsiteY2-2470" fmla="*/ 4084 h 6925856"/>
              <a:gd name="connsiteX3-2471" fmla="*/ 3628305 w 9397013"/>
              <a:gd name="connsiteY3-2472" fmla="*/ 0 h 6925856"/>
              <a:gd name="connsiteX4-2473" fmla="*/ 1572296 w 9397013"/>
              <a:gd name="connsiteY4-2474" fmla="*/ 2715072 h 6925856"/>
              <a:gd name="connsiteX5-2475" fmla="*/ 1578111 w 9397013"/>
              <a:gd name="connsiteY5-2476" fmla="*/ 3835090 h 6925856"/>
              <a:gd name="connsiteX6-2477" fmla="*/ 1564463 w 9397013"/>
              <a:gd name="connsiteY6-2478" fmla="*/ 3206130 h 6925856"/>
              <a:gd name="connsiteX7-2479" fmla="*/ 3977147 w 9397013"/>
              <a:gd name="connsiteY7-2480" fmla="*/ 3723 h 6925856"/>
              <a:gd name="connsiteX8-2481" fmla="*/ 4465006 w 9397013"/>
              <a:gd name="connsiteY8-2482" fmla="*/ 840 h 6925856"/>
              <a:gd name="connsiteX9-2483" fmla="*/ 1578111 w 9397013"/>
              <a:gd name="connsiteY9-2484" fmla="*/ 3835090 h 6925856"/>
              <a:gd name="connsiteX10-2485" fmla="*/ 1573749 w 9397013"/>
              <a:gd name="connsiteY10-2486" fmla="*/ 4882781 h 6925856"/>
              <a:gd name="connsiteX11-2487" fmla="*/ 1550937 w 9397013"/>
              <a:gd name="connsiteY11-2488" fmla="*/ 4315002 h 6925856"/>
              <a:gd name="connsiteX12-2489" fmla="*/ 4805164 w 9397013"/>
              <a:gd name="connsiteY12-2490" fmla="*/ 4602 h 6925856"/>
              <a:gd name="connsiteX13-2491" fmla="*/ 5260238 w 9397013"/>
              <a:gd name="connsiteY13-2492" fmla="*/ 25779 h 6925856"/>
              <a:gd name="connsiteX14-2493" fmla="*/ 1573749 w 9397013"/>
              <a:gd name="connsiteY14-2494" fmla="*/ 4882781 h 6925856"/>
              <a:gd name="connsiteX15-2495" fmla="*/ 1580200 w 9397013"/>
              <a:gd name="connsiteY15-2496" fmla="*/ 5985735 h 6925856"/>
              <a:gd name="connsiteX16-2497" fmla="*/ 1566201 w 9397013"/>
              <a:gd name="connsiteY16-2498" fmla="*/ 5394811 h 6925856"/>
              <a:gd name="connsiteX17-2499" fmla="*/ 5641256 w 9397013"/>
              <a:gd name="connsiteY17-2500" fmla="*/ 4084 h 6925856"/>
              <a:gd name="connsiteX18-2501" fmla="*/ 6077099 w 9397013"/>
              <a:gd name="connsiteY18-2502" fmla="*/ 17286 h 6925856"/>
              <a:gd name="connsiteX19-2503" fmla="*/ 1580200 w 9397013"/>
              <a:gd name="connsiteY19-2504" fmla="*/ 5985735 h 6925856"/>
              <a:gd name="connsiteX20-2505" fmla="*/ 6958778 w 9397013"/>
              <a:gd name="connsiteY20-2506" fmla="*/ 6916619 h 6925856"/>
              <a:gd name="connsiteX21-2507" fmla="*/ 6560038 w 9397013"/>
              <a:gd name="connsiteY21-2508" fmla="*/ 6925855 h 6925856"/>
              <a:gd name="connsiteX22-2509" fmla="*/ 3849932 w 9397013"/>
              <a:gd name="connsiteY22-2510" fmla="*/ 3388318 h 6925856"/>
              <a:gd name="connsiteX23-2511" fmla="*/ 4086202 w 9397013"/>
              <a:gd name="connsiteY23-2512" fmla="*/ 3078877 h 6925856"/>
              <a:gd name="connsiteX24-2513" fmla="*/ 6958778 w 9397013"/>
              <a:gd name="connsiteY24-2514" fmla="*/ 6916619 h 6925856"/>
              <a:gd name="connsiteX25-2515" fmla="*/ 7777211 w 9397013"/>
              <a:gd name="connsiteY25-2516" fmla="*/ 6916620 h 6925856"/>
              <a:gd name="connsiteX26-2517" fmla="*/ 7324729 w 9397013"/>
              <a:gd name="connsiteY26-2518" fmla="*/ 6916620 h 6925856"/>
              <a:gd name="connsiteX27-2519" fmla="*/ 4245793 w 9397013"/>
              <a:gd name="connsiteY27-2520" fmla="*/ 2869862 h 6925856"/>
              <a:gd name="connsiteX28-2521" fmla="*/ 4490696 w 9397013"/>
              <a:gd name="connsiteY28-2522" fmla="*/ 2549117 h 6925856"/>
              <a:gd name="connsiteX29-2523" fmla="*/ 7777211 w 9397013"/>
              <a:gd name="connsiteY29-2524" fmla="*/ 6916620 h 6925856"/>
              <a:gd name="connsiteX30-2525" fmla="*/ 8567691 w 9397013"/>
              <a:gd name="connsiteY30-2526" fmla="*/ 6916619 h 6925856"/>
              <a:gd name="connsiteX31-2527" fmla="*/ 8159389 w 9397013"/>
              <a:gd name="connsiteY31-2528" fmla="*/ 6925856 h 6925856"/>
              <a:gd name="connsiteX32-2529" fmla="*/ 4650570 w 9397013"/>
              <a:gd name="connsiteY32-2530" fmla="*/ 2339732 h 6925856"/>
              <a:gd name="connsiteX33-2531" fmla="*/ 4869244 w 9397013"/>
              <a:gd name="connsiteY33-2532" fmla="*/ 2053337 h 6925856"/>
              <a:gd name="connsiteX34-2533" fmla="*/ 8567691 w 9397013"/>
              <a:gd name="connsiteY34-2534" fmla="*/ 6916619 h 6925856"/>
              <a:gd name="connsiteX35-2535" fmla="*/ 9397013 w 9397013"/>
              <a:gd name="connsiteY35-2536" fmla="*/ 6925855 h 6925856"/>
              <a:gd name="connsiteX36-2537" fmla="*/ 8921338 w 9397013"/>
              <a:gd name="connsiteY36-2538" fmla="*/ 6907383 h 6925856"/>
              <a:gd name="connsiteX37-2539" fmla="*/ 5045299 w 9397013"/>
              <a:gd name="connsiteY37-2540" fmla="*/ 1822761 h 6925856"/>
              <a:gd name="connsiteX38-2541" fmla="*/ 5273037 w 9397013"/>
              <a:gd name="connsiteY38-2542" fmla="*/ 1524494 h 6925856"/>
              <a:gd name="connsiteX39-2543" fmla="*/ 9397013 w 9397013"/>
              <a:gd name="connsiteY39-2544" fmla="*/ 6925855 h 6925856"/>
              <a:gd name="connsiteX0-2545" fmla="*/ 21359 w 7846076"/>
              <a:gd name="connsiteY0-2546" fmla="*/ 2715072 h 6925856"/>
              <a:gd name="connsiteX1-2547" fmla="*/ 28481 w 7846076"/>
              <a:gd name="connsiteY1-2548" fmla="*/ 2104139 h 6925856"/>
              <a:gd name="connsiteX2-2549" fmla="*/ 1624851 w 7846076"/>
              <a:gd name="connsiteY2-2550" fmla="*/ 4084 h 6925856"/>
              <a:gd name="connsiteX3-2551" fmla="*/ 2077368 w 7846076"/>
              <a:gd name="connsiteY3-2552" fmla="*/ 0 h 6925856"/>
              <a:gd name="connsiteX4-2553" fmla="*/ 21359 w 7846076"/>
              <a:gd name="connsiteY4-2554" fmla="*/ 2715072 h 6925856"/>
              <a:gd name="connsiteX5-2555" fmla="*/ 27174 w 7846076"/>
              <a:gd name="connsiteY5-2556" fmla="*/ 3835090 h 6925856"/>
              <a:gd name="connsiteX6-2557" fmla="*/ 13526 w 7846076"/>
              <a:gd name="connsiteY6-2558" fmla="*/ 3206130 h 6925856"/>
              <a:gd name="connsiteX7-2559" fmla="*/ 2426210 w 7846076"/>
              <a:gd name="connsiteY7-2560" fmla="*/ 3723 h 6925856"/>
              <a:gd name="connsiteX8-2561" fmla="*/ 2914069 w 7846076"/>
              <a:gd name="connsiteY8-2562" fmla="*/ 840 h 6925856"/>
              <a:gd name="connsiteX9-2563" fmla="*/ 27174 w 7846076"/>
              <a:gd name="connsiteY9-2564" fmla="*/ 3835090 h 6925856"/>
              <a:gd name="connsiteX10-2565" fmla="*/ 22812 w 7846076"/>
              <a:gd name="connsiteY10-2566" fmla="*/ 4882781 h 6925856"/>
              <a:gd name="connsiteX11-2567" fmla="*/ 0 w 7846076"/>
              <a:gd name="connsiteY11-2568" fmla="*/ 4315002 h 6925856"/>
              <a:gd name="connsiteX12-2569" fmla="*/ 3254227 w 7846076"/>
              <a:gd name="connsiteY12-2570" fmla="*/ 4602 h 6925856"/>
              <a:gd name="connsiteX13-2571" fmla="*/ 3709301 w 7846076"/>
              <a:gd name="connsiteY13-2572" fmla="*/ 25779 h 6925856"/>
              <a:gd name="connsiteX14-2573" fmla="*/ 22812 w 7846076"/>
              <a:gd name="connsiteY14-2574" fmla="*/ 4882781 h 6925856"/>
              <a:gd name="connsiteX15-2575" fmla="*/ 29263 w 7846076"/>
              <a:gd name="connsiteY15-2576" fmla="*/ 5985735 h 6925856"/>
              <a:gd name="connsiteX16-2577" fmla="*/ 15264 w 7846076"/>
              <a:gd name="connsiteY16-2578" fmla="*/ 5394811 h 6925856"/>
              <a:gd name="connsiteX17-2579" fmla="*/ 4090319 w 7846076"/>
              <a:gd name="connsiteY17-2580" fmla="*/ 4084 h 6925856"/>
              <a:gd name="connsiteX18-2581" fmla="*/ 4526162 w 7846076"/>
              <a:gd name="connsiteY18-2582" fmla="*/ 17286 h 6925856"/>
              <a:gd name="connsiteX19-2583" fmla="*/ 29263 w 7846076"/>
              <a:gd name="connsiteY19-2584" fmla="*/ 5985735 h 6925856"/>
              <a:gd name="connsiteX20-2585" fmla="*/ 5407841 w 7846076"/>
              <a:gd name="connsiteY20-2586" fmla="*/ 6916619 h 6925856"/>
              <a:gd name="connsiteX21-2587" fmla="*/ 5009101 w 7846076"/>
              <a:gd name="connsiteY21-2588" fmla="*/ 6925855 h 6925856"/>
              <a:gd name="connsiteX22-2589" fmla="*/ 2298995 w 7846076"/>
              <a:gd name="connsiteY22-2590" fmla="*/ 3388318 h 6925856"/>
              <a:gd name="connsiteX23-2591" fmla="*/ 2535265 w 7846076"/>
              <a:gd name="connsiteY23-2592" fmla="*/ 3078877 h 6925856"/>
              <a:gd name="connsiteX24-2593" fmla="*/ 5407841 w 7846076"/>
              <a:gd name="connsiteY24-2594" fmla="*/ 6916619 h 6925856"/>
              <a:gd name="connsiteX25-2595" fmla="*/ 6226274 w 7846076"/>
              <a:gd name="connsiteY25-2596" fmla="*/ 6916620 h 6925856"/>
              <a:gd name="connsiteX26-2597" fmla="*/ 5773792 w 7846076"/>
              <a:gd name="connsiteY26-2598" fmla="*/ 6916620 h 6925856"/>
              <a:gd name="connsiteX27-2599" fmla="*/ 2694856 w 7846076"/>
              <a:gd name="connsiteY27-2600" fmla="*/ 2869862 h 6925856"/>
              <a:gd name="connsiteX28-2601" fmla="*/ 2939759 w 7846076"/>
              <a:gd name="connsiteY28-2602" fmla="*/ 2549117 h 6925856"/>
              <a:gd name="connsiteX29-2603" fmla="*/ 6226274 w 7846076"/>
              <a:gd name="connsiteY29-2604" fmla="*/ 6916620 h 6925856"/>
              <a:gd name="connsiteX30-2605" fmla="*/ 7016754 w 7846076"/>
              <a:gd name="connsiteY30-2606" fmla="*/ 6916619 h 6925856"/>
              <a:gd name="connsiteX31-2607" fmla="*/ 6608452 w 7846076"/>
              <a:gd name="connsiteY31-2608" fmla="*/ 6925856 h 6925856"/>
              <a:gd name="connsiteX32-2609" fmla="*/ 3099633 w 7846076"/>
              <a:gd name="connsiteY32-2610" fmla="*/ 2339732 h 6925856"/>
              <a:gd name="connsiteX33-2611" fmla="*/ 3318307 w 7846076"/>
              <a:gd name="connsiteY33-2612" fmla="*/ 2053337 h 6925856"/>
              <a:gd name="connsiteX34-2613" fmla="*/ 7016754 w 7846076"/>
              <a:gd name="connsiteY34-2614" fmla="*/ 6916619 h 6925856"/>
              <a:gd name="connsiteX35-2615" fmla="*/ 7846076 w 7846076"/>
              <a:gd name="connsiteY35-2616" fmla="*/ 6925855 h 6925856"/>
              <a:gd name="connsiteX36-2617" fmla="*/ 7370401 w 7846076"/>
              <a:gd name="connsiteY36-2618" fmla="*/ 6907383 h 6925856"/>
              <a:gd name="connsiteX37-2619" fmla="*/ 3494362 w 7846076"/>
              <a:gd name="connsiteY37-2620" fmla="*/ 1822761 h 6925856"/>
              <a:gd name="connsiteX38-2621" fmla="*/ 3722100 w 7846076"/>
              <a:gd name="connsiteY38-2622" fmla="*/ 1524494 h 6925856"/>
              <a:gd name="connsiteX39-2623" fmla="*/ 7846076 w 7846076"/>
              <a:gd name="connsiteY39-2624" fmla="*/ 6925855 h 692585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129" y="connsiteY32-130"/>
              </a:cxn>
              <a:cxn ang="0">
                <a:pos x="connsiteX33-131" y="connsiteY33-132"/>
              </a:cxn>
              <a:cxn ang="0">
                <a:pos x="connsiteX34-133" y="connsiteY34-134"/>
              </a:cxn>
              <a:cxn ang="0">
                <a:pos x="connsiteX35-135" y="connsiteY35-136"/>
              </a:cxn>
              <a:cxn ang="0">
                <a:pos x="connsiteX36-137" y="connsiteY36-138"/>
              </a:cxn>
              <a:cxn ang="0">
                <a:pos x="connsiteX37-139" y="connsiteY37-140"/>
              </a:cxn>
              <a:cxn ang="0">
                <a:pos x="connsiteX38-141" y="connsiteY38-142"/>
              </a:cxn>
              <a:cxn ang="0">
                <a:pos x="connsiteX39-143" y="connsiteY39-144"/>
              </a:cxn>
            </a:cxnLst>
            <a:rect l="l" t="t" r="r" b="b"/>
            <a:pathLst>
              <a:path w="7846076" h="6925856">
                <a:moveTo>
                  <a:pt x="21359" y="2715072"/>
                </a:moveTo>
                <a:lnTo>
                  <a:pt x="28481" y="2104139"/>
                </a:lnTo>
                <a:lnTo>
                  <a:pt x="1624851" y="4084"/>
                </a:lnTo>
                <a:lnTo>
                  <a:pt x="2077368" y="0"/>
                </a:lnTo>
                <a:lnTo>
                  <a:pt x="21359" y="2715072"/>
                </a:lnTo>
                <a:close/>
                <a:moveTo>
                  <a:pt x="27174" y="3835090"/>
                </a:moveTo>
                <a:lnTo>
                  <a:pt x="13526" y="3206130"/>
                </a:lnTo>
                <a:lnTo>
                  <a:pt x="2426210" y="3723"/>
                </a:lnTo>
                <a:lnTo>
                  <a:pt x="2914069" y="840"/>
                </a:lnTo>
                <a:lnTo>
                  <a:pt x="27174" y="3835090"/>
                </a:lnTo>
                <a:close/>
                <a:moveTo>
                  <a:pt x="22812" y="4882781"/>
                </a:moveTo>
                <a:lnTo>
                  <a:pt x="0" y="4315002"/>
                </a:lnTo>
                <a:lnTo>
                  <a:pt x="3254227" y="4602"/>
                </a:lnTo>
                <a:lnTo>
                  <a:pt x="3709301" y="25779"/>
                </a:lnTo>
                <a:lnTo>
                  <a:pt x="22812" y="4882781"/>
                </a:lnTo>
                <a:close/>
                <a:moveTo>
                  <a:pt x="29263" y="5985735"/>
                </a:moveTo>
                <a:lnTo>
                  <a:pt x="15264" y="5394811"/>
                </a:lnTo>
                <a:lnTo>
                  <a:pt x="4090319" y="4084"/>
                </a:lnTo>
                <a:lnTo>
                  <a:pt x="4526162" y="17286"/>
                </a:lnTo>
                <a:lnTo>
                  <a:pt x="29263" y="5985735"/>
                </a:lnTo>
                <a:close/>
                <a:moveTo>
                  <a:pt x="5407841" y="6916619"/>
                </a:moveTo>
                <a:lnTo>
                  <a:pt x="5009101" y="6925855"/>
                </a:lnTo>
                <a:lnTo>
                  <a:pt x="2298995" y="3388318"/>
                </a:lnTo>
                <a:lnTo>
                  <a:pt x="2535265" y="3078877"/>
                </a:lnTo>
                <a:lnTo>
                  <a:pt x="5407841" y="6916619"/>
                </a:lnTo>
                <a:close/>
                <a:moveTo>
                  <a:pt x="6226274" y="6916620"/>
                </a:moveTo>
                <a:lnTo>
                  <a:pt x="5773792" y="6916620"/>
                </a:lnTo>
                <a:lnTo>
                  <a:pt x="2694856" y="2869862"/>
                </a:lnTo>
                <a:lnTo>
                  <a:pt x="2939759" y="2549117"/>
                </a:lnTo>
                <a:lnTo>
                  <a:pt x="6226274" y="6916620"/>
                </a:lnTo>
                <a:close/>
                <a:moveTo>
                  <a:pt x="7016754" y="6916619"/>
                </a:moveTo>
                <a:lnTo>
                  <a:pt x="6608452" y="6925856"/>
                </a:lnTo>
                <a:lnTo>
                  <a:pt x="3099633" y="2339732"/>
                </a:lnTo>
                <a:lnTo>
                  <a:pt x="3318307" y="2053337"/>
                </a:lnTo>
                <a:lnTo>
                  <a:pt x="7016754" y="6916619"/>
                </a:lnTo>
                <a:close/>
                <a:moveTo>
                  <a:pt x="7846076" y="6925855"/>
                </a:moveTo>
                <a:lnTo>
                  <a:pt x="7370401" y="6907383"/>
                </a:lnTo>
                <a:lnTo>
                  <a:pt x="3494362" y="1822761"/>
                </a:lnTo>
                <a:lnTo>
                  <a:pt x="3722100" y="1524494"/>
                </a:lnTo>
                <a:lnTo>
                  <a:pt x="7846076" y="6925855"/>
                </a:lnTo>
                <a:close/>
              </a:path>
            </a:pathLst>
          </a:custGeom>
          <a:solidFill>
            <a:schemeClr val="bg1">
              <a:lumMod val="9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5" name="文本框 4"/>
          <p:cNvSpPr txBox="1"/>
          <p:nvPr/>
        </p:nvSpPr>
        <p:spPr>
          <a:xfrm>
            <a:off x="359456" y="1365689"/>
            <a:ext cx="3033031" cy="872034"/>
          </a:xfrm>
          <a:prstGeom prst="rect">
            <a:avLst/>
          </a:prstGeom>
          <a:noFill/>
        </p:spPr>
        <p:txBody>
          <a:bodyPr wrap="square" rtlCol="0">
            <a:spAutoFit/>
          </a:bodyPr>
          <a:lstStyle/>
          <a:p>
            <a:pPr>
              <a:lnSpc>
                <a:spcPct val="150000"/>
              </a:lnSpc>
            </a:pPr>
            <a:r>
              <a:rPr lang="zh-CN" altLang="en-US" dirty="0"/>
              <a:t>参与回归分析的变量列表：</a:t>
            </a:r>
            <a:endParaRPr lang="en-US" altLang="zh-CN" dirty="0"/>
          </a:p>
          <a:p>
            <a:pPr>
              <a:lnSpc>
                <a:spcPct val="150000"/>
              </a:lnSpc>
            </a:pPr>
            <a:endParaRPr lang="en-US" altLang="zh-CN" dirty="0"/>
          </a:p>
        </p:txBody>
      </p:sp>
      <p:graphicFrame>
        <p:nvGraphicFramePr>
          <p:cNvPr id="7" name="表格 7"/>
          <p:cNvGraphicFramePr>
            <a:graphicFrameLocks noGrp="1"/>
          </p:cNvGraphicFramePr>
          <p:nvPr/>
        </p:nvGraphicFramePr>
        <p:xfrm>
          <a:off x="3392487" y="1119886"/>
          <a:ext cx="8128000" cy="5618854"/>
        </p:xfrm>
        <a:graphic>
          <a:graphicData uri="http://schemas.openxmlformats.org/drawingml/2006/table">
            <a:tbl>
              <a:tblPr firstRow="1" bandRow="1">
                <a:tableStyleId>{9D7B26C5-4107-4FEC-AEDC-1716B250A1EF}</a:tableStyleId>
              </a:tblPr>
              <a:tblGrid>
                <a:gridCol w="4064000"/>
                <a:gridCol w="4064000"/>
              </a:tblGrid>
              <a:tr h="353784">
                <a:tc>
                  <a:txBody>
                    <a:bodyPr/>
                    <a:lstStyle/>
                    <a:p>
                      <a:r>
                        <a:rPr lang="zh-CN" altLang="en-US" sz="1400" dirty="0"/>
                        <a:t>因变量</a:t>
                      </a:r>
                      <a:endParaRPr lang="zh-CN" alt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CCCC"/>
                    </a:solidFill>
                  </a:tcPr>
                </a:tc>
                <a:tc>
                  <a:txBody>
                    <a:bodyPr/>
                    <a:lstStyle/>
                    <a:p>
                      <a:endParaRPr lang="zh-CN" alt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CCCC"/>
                    </a:solidFill>
                  </a:tcPr>
                </a:tc>
              </a:tr>
              <a:tr h="323825">
                <a:tc>
                  <a:txBody>
                    <a:bodyPr/>
                    <a:lstStyle/>
                    <a:p>
                      <a:r>
                        <a:rPr lang="zh-CN" altLang="en-US" sz="1400" dirty="0"/>
                        <a:t>投录时间（</a:t>
                      </a:r>
                      <a:r>
                        <a:rPr lang="en-US" altLang="zh-CN" sz="1400" dirty="0"/>
                        <a:t>Handling time</a:t>
                      </a:r>
                      <a:r>
                        <a:rPr lang="zh-CN" altLang="en-US" sz="1400" dirty="0"/>
                        <a:t>）</a:t>
                      </a:r>
                      <a:endParaRPr lang="en-US" altLang="zh-CN"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400" dirty="0"/>
                        <a:t>论文从投稿到被录用经历的天数</a:t>
                      </a:r>
                      <a:endParaRPr lang="zh-CN" alt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3825">
                <a:tc>
                  <a:txBody>
                    <a:bodyPr/>
                    <a:lstStyle/>
                    <a:p>
                      <a:r>
                        <a:rPr lang="zh-CN" altLang="en-US" sz="1400" b="1" dirty="0"/>
                        <a:t>自变量</a:t>
                      </a:r>
                      <a:endParaRPr lang="en-US" altLang="zh-CN"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CCCC"/>
                    </a:solidFill>
                  </a:tcPr>
                </a:tc>
                <a:tc>
                  <a:txBody>
                    <a:bodyPr/>
                    <a:lstStyle/>
                    <a:p>
                      <a:endParaRPr lang="zh-CN" alt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CCCC"/>
                    </a:solidFill>
                  </a:tcPr>
                </a:tc>
              </a:tr>
              <a:tr h="323825">
                <a:tc>
                  <a:txBody>
                    <a:bodyPr/>
                    <a:lstStyle/>
                    <a:p>
                      <a:r>
                        <a:rPr lang="zh-CN" altLang="en-US" sz="1400" dirty="0"/>
                        <a:t>创新性（</a:t>
                      </a:r>
                      <a:r>
                        <a:rPr lang="en-US" altLang="zh-CN" sz="1400" dirty="0"/>
                        <a:t>Novelty</a:t>
                      </a:r>
                      <a:r>
                        <a:rPr lang="zh-CN" altLang="en-US" sz="1400" dirty="0"/>
                        <a:t>）</a:t>
                      </a:r>
                      <a:endParaRPr lang="en-US" altLang="zh-CN"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400" dirty="0"/>
                        <a:t>论文对前人研究的颠覆程度</a:t>
                      </a:r>
                      <a:endParaRPr lang="zh-CN" alt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3825">
                <a:tc>
                  <a:txBody>
                    <a:bodyPr/>
                    <a:lstStyle/>
                    <a:p>
                      <a:r>
                        <a:rPr lang="zh-CN" altLang="en-US" sz="1400" b="1" dirty="0"/>
                        <a:t>控制变量</a:t>
                      </a:r>
                      <a:endParaRPr lang="en-US" altLang="zh-CN"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CCCC"/>
                    </a:solidFill>
                  </a:tcPr>
                </a:tc>
                <a:tc>
                  <a:txBody>
                    <a:bodyPr/>
                    <a:lstStyle/>
                    <a:p>
                      <a:endParaRPr lang="zh-CN" alt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CCCC"/>
                    </a:solidFill>
                  </a:tcPr>
                </a:tc>
              </a:tr>
              <a:tr h="323825">
                <a:tc>
                  <a:txBody>
                    <a:bodyPr/>
                    <a:lstStyle/>
                    <a:p>
                      <a:r>
                        <a:rPr lang="zh-CN" altLang="en-US" sz="1400" b="0" dirty="0"/>
                        <a:t>作者声望（</a:t>
                      </a:r>
                      <a:r>
                        <a:rPr lang="en-US" altLang="zh-CN" sz="1400" b="0" dirty="0"/>
                        <a:t>Author prestige</a:t>
                      </a:r>
                      <a:r>
                        <a:rPr lang="zh-CN" altLang="en-US" sz="1400" b="0" dirty="0"/>
                        <a:t>）</a:t>
                      </a:r>
                      <a:endParaRPr lang="en-US" altLang="zh-CN" sz="14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400" dirty="0"/>
                        <a:t>作者在论文投稿年份的</a:t>
                      </a:r>
                      <a:r>
                        <a:rPr lang="en-US" altLang="zh-CN" sz="1400" dirty="0"/>
                        <a:t>H</a:t>
                      </a:r>
                      <a:r>
                        <a:rPr lang="zh-CN" altLang="en-US" sz="1400" dirty="0"/>
                        <a:t>指数（库内计算，求平均）</a:t>
                      </a:r>
                      <a:endParaRPr lang="zh-CN" alt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97875">
                <a:tc>
                  <a:txBody>
                    <a:bodyPr/>
                    <a:lstStyle/>
                    <a:p>
                      <a:r>
                        <a:rPr lang="zh-CN" altLang="en-US" sz="1400" b="0" dirty="0"/>
                        <a:t>机构声望（</a:t>
                      </a:r>
                      <a:r>
                        <a:rPr lang="en-US" altLang="zh-CN" sz="1400" b="0" dirty="0"/>
                        <a:t>Affiliation prestige</a:t>
                      </a:r>
                      <a:r>
                        <a:rPr lang="zh-CN" altLang="en-US" sz="1400" b="0" dirty="0"/>
                        <a:t>）</a:t>
                      </a:r>
                      <a:endParaRPr lang="en-US" altLang="zh-CN" sz="14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400" dirty="0"/>
                        <a:t>泰晤士高等教育大学排名（</a:t>
                      </a:r>
                      <a:r>
                        <a:rPr lang="en-US" altLang="zh-CN" sz="1400" dirty="0"/>
                        <a:t>2014</a:t>
                      </a:r>
                      <a:r>
                        <a:rPr lang="zh-CN" altLang="en-US" sz="1400" dirty="0"/>
                        <a:t>年版，求平均），在附录中，使用</a:t>
                      </a:r>
                      <a:r>
                        <a:rPr lang="en-US" altLang="zh-CN" sz="1400" dirty="0" err="1"/>
                        <a:t>SCImago</a:t>
                      </a:r>
                      <a:r>
                        <a:rPr lang="zh-CN" altLang="en-US" sz="1400" dirty="0"/>
                        <a:t>机构排名进行了稳健性检验（包括大学和科研机构）</a:t>
                      </a:r>
                      <a:endParaRPr lang="zh-CN" alt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3825">
                <a:tc>
                  <a:txBody>
                    <a:bodyPr/>
                    <a:lstStyle/>
                    <a:p>
                      <a:r>
                        <a:rPr lang="zh-CN" altLang="en-US" sz="1400" b="0" dirty="0"/>
                        <a:t>期刊声望（</a:t>
                      </a:r>
                      <a:r>
                        <a:rPr lang="en-US" altLang="zh-CN" sz="1400" b="0" dirty="0"/>
                        <a:t>Journal prestige</a:t>
                      </a:r>
                      <a:r>
                        <a:rPr lang="zh-CN" altLang="en-US" sz="1400" b="0" dirty="0"/>
                        <a:t>）</a:t>
                      </a:r>
                      <a:endParaRPr lang="en-US" altLang="zh-CN" sz="14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altLang="zh-CN" sz="1400" dirty="0"/>
                        <a:t>JCR</a:t>
                      </a:r>
                      <a:r>
                        <a:rPr lang="zh-CN" altLang="en-US" sz="1400" dirty="0"/>
                        <a:t>影响因子（</a:t>
                      </a:r>
                      <a:r>
                        <a:rPr lang="en-US" altLang="zh-CN" sz="1400" dirty="0"/>
                        <a:t>2014</a:t>
                      </a:r>
                      <a:r>
                        <a:rPr lang="zh-CN" altLang="en-US" sz="1400" dirty="0"/>
                        <a:t>年版）</a:t>
                      </a:r>
                      <a:endParaRPr lang="zh-CN" alt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3825">
                <a:tc>
                  <a:txBody>
                    <a:bodyPr/>
                    <a:lstStyle/>
                    <a:p>
                      <a:r>
                        <a:rPr lang="zh-CN" altLang="en-US" sz="1400" b="0" dirty="0"/>
                        <a:t>团队规模（</a:t>
                      </a:r>
                      <a:r>
                        <a:rPr lang="en-US" altLang="zh-CN" sz="1400" b="0" dirty="0"/>
                        <a:t>Team size</a:t>
                      </a:r>
                      <a:r>
                        <a:rPr lang="zh-CN" altLang="en-US" sz="1400" b="0" dirty="0"/>
                        <a:t>）</a:t>
                      </a:r>
                      <a:endParaRPr lang="en-US" altLang="zh-CN" sz="14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400" dirty="0"/>
                        <a:t>论文作者数量</a:t>
                      </a:r>
                      <a:endParaRPr lang="zh-CN" alt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3825">
                <a:tc>
                  <a:txBody>
                    <a:bodyPr/>
                    <a:lstStyle/>
                    <a:p>
                      <a:r>
                        <a:rPr lang="zh-CN" altLang="en-US" sz="1400" b="0" dirty="0"/>
                        <a:t>论文长度（</a:t>
                      </a:r>
                      <a:r>
                        <a:rPr lang="en-US" altLang="zh-CN" sz="1400" b="0" dirty="0"/>
                        <a:t>Page length</a:t>
                      </a:r>
                      <a:r>
                        <a:rPr lang="zh-CN" altLang="en-US" sz="1400" b="0" dirty="0"/>
                        <a:t>）</a:t>
                      </a:r>
                      <a:endParaRPr lang="en-US" altLang="zh-CN" sz="14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400" dirty="0"/>
                        <a:t>论文的页数</a:t>
                      </a:r>
                      <a:endParaRPr lang="zh-CN" alt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3825">
                <a:tc>
                  <a:txBody>
                    <a:bodyPr/>
                    <a:lstStyle/>
                    <a:p>
                      <a:r>
                        <a:rPr lang="zh-CN" altLang="en-US" sz="1400" b="0" dirty="0"/>
                        <a:t>基金数量（</a:t>
                      </a:r>
                      <a:r>
                        <a:rPr lang="en-US" altLang="zh-CN" sz="1400" b="0" dirty="0"/>
                        <a:t>Grants</a:t>
                      </a:r>
                      <a:r>
                        <a:rPr lang="zh-CN" altLang="en-US" sz="1400" b="0" dirty="0"/>
                        <a:t>）</a:t>
                      </a:r>
                      <a:endParaRPr lang="en-US" altLang="zh-CN" sz="14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400" dirty="0"/>
                        <a:t>论文的基金数量</a:t>
                      </a:r>
                      <a:endParaRPr lang="zh-CN" alt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3825">
                <a:tc>
                  <a:txBody>
                    <a:bodyPr/>
                    <a:lstStyle/>
                    <a:p>
                      <a:r>
                        <a:rPr lang="zh-CN" altLang="en-US" sz="1400" b="0" dirty="0"/>
                        <a:t>主题广度（</a:t>
                      </a:r>
                      <a:r>
                        <a:rPr lang="en-US" altLang="zh-CN" sz="1400" b="0" dirty="0"/>
                        <a:t>Topic breadth</a:t>
                      </a:r>
                      <a:r>
                        <a:rPr lang="zh-CN" altLang="en-US" sz="1400" b="0" dirty="0"/>
                        <a:t>）</a:t>
                      </a:r>
                      <a:endParaRPr lang="en-US" altLang="zh-CN" sz="14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400" dirty="0"/>
                        <a:t>论文的</a:t>
                      </a:r>
                      <a:r>
                        <a:rPr lang="en-US" altLang="zh-CN" sz="1400" dirty="0" err="1"/>
                        <a:t>MeSH</a:t>
                      </a:r>
                      <a:r>
                        <a:rPr lang="zh-CN" altLang="en-US" sz="1400" dirty="0"/>
                        <a:t>数量</a:t>
                      </a:r>
                      <a:endParaRPr lang="zh-CN" alt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3825">
                <a:tc>
                  <a:txBody>
                    <a:bodyPr/>
                    <a:lstStyle/>
                    <a:p>
                      <a:r>
                        <a:rPr lang="zh-CN" altLang="en-US" sz="1400" b="0" dirty="0"/>
                        <a:t>固定效应</a:t>
                      </a:r>
                      <a:endParaRPr lang="en-US" altLang="zh-CN" sz="14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CCCC"/>
                    </a:solidFill>
                  </a:tcPr>
                </a:tc>
                <a:tc>
                  <a:txBody>
                    <a:bodyPr/>
                    <a:lstStyle/>
                    <a:p>
                      <a:endParaRPr lang="zh-CN" alt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CCCC"/>
                    </a:solidFill>
                  </a:tcPr>
                </a:tc>
              </a:tr>
              <a:tr h="323825">
                <a:tc>
                  <a:txBody>
                    <a:bodyPr/>
                    <a:lstStyle/>
                    <a:p>
                      <a:r>
                        <a:rPr lang="zh-CN" altLang="en-US" sz="1400" b="0" dirty="0"/>
                        <a:t>期刊</a:t>
                      </a:r>
                      <a:endParaRPr lang="en-US" altLang="zh-CN" sz="14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3825">
                <a:tc>
                  <a:txBody>
                    <a:bodyPr/>
                    <a:lstStyle/>
                    <a:p>
                      <a:r>
                        <a:rPr lang="zh-CN" altLang="en-US" sz="1400" b="0" dirty="0"/>
                        <a:t>年份</a:t>
                      </a:r>
                      <a:endParaRPr lang="en-US" altLang="zh-CN" sz="14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3825">
                <a:tc>
                  <a:txBody>
                    <a:bodyPr/>
                    <a:lstStyle/>
                    <a:p>
                      <a:r>
                        <a:rPr lang="zh-CN" altLang="en-US" sz="1400" b="0" dirty="0"/>
                        <a:t>学科领域</a:t>
                      </a:r>
                      <a:endParaRPr lang="en-US" altLang="zh-CN" sz="14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400" dirty="0"/>
                        <a:t>文献级别，来自</a:t>
                      </a:r>
                      <a:r>
                        <a:rPr lang="en-US" altLang="zh-CN" sz="1400" dirty="0"/>
                        <a:t>Dimensions</a:t>
                      </a:r>
                      <a:endParaRPr lang="zh-CN" alt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custDataLst>
      <p:tags r:id="rId1"/>
    </p:custData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iṣlide"/>
        <p:cNvGrpSpPr/>
        <p:nvPr/>
      </p:nvGrpSpPr>
      <p:grpSpPr>
        <a:xfrm>
          <a:off x="0" y="0"/>
          <a:ext cx="0" cy="0"/>
          <a:chOff x="0" y="0"/>
          <a:chExt cx="0" cy="0"/>
        </a:xfrm>
      </p:grpSpPr>
      <p:sp>
        <p:nvSpPr>
          <p:cNvPr id="2" name="íšľîḓê"/>
          <p:cNvSpPr>
            <a:spLocks noGrp="1"/>
          </p:cNvSpPr>
          <p:nvPr>
            <p:ph type="title"/>
          </p:nvPr>
        </p:nvSpPr>
        <p:spPr/>
        <p:txBody>
          <a:bodyPr/>
          <a:lstStyle/>
          <a:p>
            <a:r>
              <a:rPr lang="en-US" altLang="zh-CN" dirty="0"/>
              <a:t>3. </a:t>
            </a:r>
            <a:r>
              <a:rPr lang="zh-CN" altLang="en-US" dirty="0"/>
              <a:t>研究方法</a:t>
            </a:r>
            <a:endParaRPr lang="zh-CN" altLang="en-US" dirty="0"/>
          </a:p>
        </p:txBody>
      </p:sp>
      <p:sp>
        <p:nvSpPr>
          <p:cNvPr id="4" name="ïṣḷide"/>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110" name="íṥļîďè"/>
          <p:cNvSpPr/>
          <p:nvPr/>
        </p:nvSpPr>
        <p:spPr>
          <a:xfrm rot="10800000">
            <a:off x="4396104" y="0"/>
            <a:ext cx="7846076" cy="6857999"/>
          </a:xfrm>
          <a:custGeom>
            <a:avLst/>
            <a:gdLst>
              <a:gd name="connsiteX0" fmla="*/ 168369 w 9517086"/>
              <a:gd name="connsiteY0" fmla="*/ 4779933 h 7291226"/>
              <a:gd name="connsiteX1" fmla="*/ 0 w 9517086"/>
              <a:gd name="connsiteY1" fmla="*/ 4409146 h 7291226"/>
              <a:gd name="connsiteX2" fmla="*/ 3332806 w 9517086"/>
              <a:gd name="connsiteY2" fmla="*/ 0 h 7291226"/>
              <a:gd name="connsiteX3" fmla="*/ 3794560 w 9517086"/>
              <a:gd name="connsiteY3" fmla="*/ 32861 h 7291226"/>
              <a:gd name="connsiteX4" fmla="*/ 488220 w 9517086"/>
              <a:gd name="connsiteY4" fmla="*/ 5484315 h 7291226"/>
              <a:gd name="connsiteX5" fmla="*/ 299082 w 9517086"/>
              <a:gd name="connsiteY5" fmla="*/ 5067791 h 7291226"/>
              <a:gd name="connsiteX6" fmla="*/ 4106456 w 9517086"/>
              <a:gd name="connsiteY6" fmla="*/ 55057 h 7291226"/>
              <a:gd name="connsiteX7" fmla="*/ 4585079 w 9517086"/>
              <a:gd name="connsiteY7" fmla="*/ 89119 h 7291226"/>
              <a:gd name="connsiteX8" fmla="*/ 779421 w 9517086"/>
              <a:gd name="connsiteY8" fmla="*/ 6125606 h 7291226"/>
              <a:gd name="connsiteX9" fmla="*/ 618065 w 9517086"/>
              <a:gd name="connsiteY9" fmla="*/ 5770263 h 7291226"/>
              <a:gd name="connsiteX10" fmla="*/ 4897528 w 9517086"/>
              <a:gd name="connsiteY10" fmla="*/ 111354 h 7291226"/>
              <a:gd name="connsiteX11" fmla="*/ 5324893 w 9517086"/>
              <a:gd name="connsiteY11" fmla="*/ 141768 h 7291226"/>
              <a:gd name="connsiteX12" fmla="*/ 1099910 w 9517086"/>
              <a:gd name="connsiteY12" fmla="*/ 6831395 h 7291226"/>
              <a:gd name="connsiteX13" fmla="*/ 919656 w 9517086"/>
              <a:gd name="connsiteY13" fmla="*/ 6434435 h 7291226"/>
              <a:gd name="connsiteX14" fmla="*/ 5668965 w 9517086"/>
              <a:gd name="connsiteY14" fmla="*/ 166254 h 7291226"/>
              <a:gd name="connsiteX15" fmla="*/ 6114044 w 9517086"/>
              <a:gd name="connsiteY15" fmla="*/ 197929 h 7291226"/>
              <a:gd name="connsiteX16" fmla="*/ 7106560 w 9517086"/>
              <a:gd name="connsiteY16" fmla="*/ 7291226 h 7291226"/>
              <a:gd name="connsiteX17" fmla="*/ 6670875 w 9517086"/>
              <a:gd name="connsiteY17" fmla="*/ 7291226 h 7291226"/>
              <a:gd name="connsiteX18" fmla="*/ 3849932 w 9517086"/>
              <a:gd name="connsiteY18" fmla="*/ 3596670 h 7291226"/>
              <a:gd name="connsiteX19" fmla="*/ 4086202 w 9517086"/>
              <a:gd name="connsiteY19" fmla="*/ 3287229 h 7291226"/>
              <a:gd name="connsiteX20" fmla="*/ 7934229 w 9517086"/>
              <a:gd name="connsiteY20" fmla="*/ 7291226 h 7291226"/>
              <a:gd name="connsiteX21" fmla="*/ 7444802 w 9517086"/>
              <a:gd name="connsiteY21" fmla="*/ 7291226 h 7291226"/>
              <a:gd name="connsiteX22" fmla="*/ 4245793 w 9517086"/>
              <a:gd name="connsiteY22" fmla="*/ 3078214 h 7291226"/>
              <a:gd name="connsiteX23" fmla="*/ 4490696 w 9517086"/>
              <a:gd name="connsiteY23" fmla="*/ 2757469 h 7291226"/>
              <a:gd name="connsiteX24" fmla="*/ 8687764 w 9517086"/>
              <a:gd name="connsiteY24" fmla="*/ 7291226 h 7291226"/>
              <a:gd name="connsiteX25" fmla="*/ 8270226 w 9517086"/>
              <a:gd name="connsiteY25" fmla="*/ 7291226 h 7291226"/>
              <a:gd name="connsiteX26" fmla="*/ 4650570 w 9517086"/>
              <a:gd name="connsiteY26" fmla="*/ 2548084 h 7291226"/>
              <a:gd name="connsiteX27" fmla="*/ 4869244 w 9517086"/>
              <a:gd name="connsiteY27" fmla="*/ 2261689 h 7291226"/>
              <a:gd name="connsiteX28" fmla="*/ 9517086 w 9517086"/>
              <a:gd name="connsiteY28" fmla="*/ 7291226 h 7291226"/>
              <a:gd name="connsiteX29" fmla="*/ 9050647 w 9517086"/>
              <a:gd name="connsiteY29" fmla="*/ 7291226 h 7291226"/>
              <a:gd name="connsiteX30" fmla="*/ 5045299 w 9517086"/>
              <a:gd name="connsiteY30" fmla="*/ 2031113 h 7291226"/>
              <a:gd name="connsiteX31" fmla="*/ 5273037 w 9517086"/>
              <a:gd name="connsiteY31" fmla="*/ 1732846 h 7291226"/>
              <a:gd name="connsiteX0-1" fmla="*/ 168369 w 9378540"/>
              <a:gd name="connsiteY0-2" fmla="*/ 4779933 h 7291226"/>
              <a:gd name="connsiteX1-3" fmla="*/ 0 w 9378540"/>
              <a:gd name="connsiteY1-4" fmla="*/ 4409146 h 7291226"/>
              <a:gd name="connsiteX2-5" fmla="*/ 3332806 w 9378540"/>
              <a:gd name="connsiteY2-6" fmla="*/ 0 h 7291226"/>
              <a:gd name="connsiteX3-7" fmla="*/ 3794560 w 9378540"/>
              <a:gd name="connsiteY3-8" fmla="*/ 32861 h 7291226"/>
              <a:gd name="connsiteX4-9" fmla="*/ 168369 w 9378540"/>
              <a:gd name="connsiteY4-10" fmla="*/ 4779933 h 7291226"/>
              <a:gd name="connsiteX5-11" fmla="*/ 488220 w 9378540"/>
              <a:gd name="connsiteY5-12" fmla="*/ 5484315 h 7291226"/>
              <a:gd name="connsiteX6-13" fmla="*/ 299082 w 9378540"/>
              <a:gd name="connsiteY6-14" fmla="*/ 5067791 h 7291226"/>
              <a:gd name="connsiteX7-15" fmla="*/ 4106456 w 9378540"/>
              <a:gd name="connsiteY7-16" fmla="*/ 55057 h 7291226"/>
              <a:gd name="connsiteX8-17" fmla="*/ 4585079 w 9378540"/>
              <a:gd name="connsiteY8-18" fmla="*/ 89119 h 7291226"/>
              <a:gd name="connsiteX9-19" fmla="*/ 488220 w 9378540"/>
              <a:gd name="connsiteY9-20" fmla="*/ 5484315 h 7291226"/>
              <a:gd name="connsiteX10-21" fmla="*/ 779421 w 9378540"/>
              <a:gd name="connsiteY10-22" fmla="*/ 6125606 h 7291226"/>
              <a:gd name="connsiteX11-23" fmla="*/ 618065 w 9378540"/>
              <a:gd name="connsiteY11-24" fmla="*/ 5770263 h 7291226"/>
              <a:gd name="connsiteX12-25" fmla="*/ 4897528 w 9378540"/>
              <a:gd name="connsiteY12-26" fmla="*/ 111354 h 7291226"/>
              <a:gd name="connsiteX13-27" fmla="*/ 5324893 w 9378540"/>
              <a:gd name="connsiteY13-28" fmla="*/ 141768 h 7291226"/>
              <a:gd name="connsiteX14-29" fmla="*/ 779421 w 9378540"/>
              <a:gd name="connsiteY14-30" fmla="*/ 6125606 h 7291226"/>
              <a:gd name="connsiteX15-31" fmla="*/ 1099910 w 9378540"/>
              <a:gd name="connsiteY15-32" fmla="*/ 6831395 h 7291226"/>
              <a:gd name="connsiteX16-33" fmla="*/ 919656 w 9378540"/>
              <a:gd name="connsiteY16-34" fmla="*/ 6434435 h 7291226"/>
              <a:gd name="connsiteX17-35" fmla="*/ 5668965 w 9378540"/>
              <a:gd name="connsiteY17-36" fmla="*/ 166254 h 7291226"/>
              <a:gd name="connsiteX18-37" fmla="*/ 6114044 w 9378540"/>
              <a:gd name="connsiteY18-38" fmla="*/ 197929 h 7291226"/>
              <a:gd name="connsiteX19-39" fmla="*/ 1099910 w 9378540"/>
              <a:gd name="connsiteY19-40" fmla="*/ 6831395 h 7291226"/>
              <a:gd name="connsiteX20-41" fmla="*/ 7106560 w 9378540"/>
              <a:gd name="connsiteY20-42" fmla="*/ 7291226 h 7291226"/>
              <a:gd name="connsiteX21-43" fmla="*/ 6670875 w 9378540"/>
              <a:gd name="connsiteY21-44" fmla="*/ 7291226 h 7291226"/>
              <a:gd name="connsiteX22-45" fmla="*/ 3849932 w 9378540"/>
              <a:gd name="connsiteY22-46" fmla="*/ 3596670 h 7291226"/>
              <a:gd name="connsiteX23-47" fmla="*/ 4086202 w 9378540"/>
              <a:gd name="connsiteY23-48" fmla="*/ 3287229 h 7291226"/>
              <a:gd name="connsiteX24-49" fmla="*/ 7106560 w 9378540"/>
              <a:gd name="connsiteY24-50" fmla="*/ 7291226 h 7291226"/>
              <a:gd name="connsiteX25-51" fmla="*/ 7934229 w 9378540"/>
              <a:gd name="connsiteY25-52" fmla="*/ 7291226 h 7291226"/>
              <a:gd name="connsiteX26-53" fmla="*/ 7444802 w 9378540"/>
              <a:gd name="connsiteY26-54" fmla="*/ 7291226 h 7291226"/>
              <a:gd name="connsiteX27-55" fmla="*/ 4245793 w 9378540"/>
              <a:gd name="connsiteY27-56" fmla="*/ 3078214 h 7291226"/>
              <a:gd name="connsiteX28-57" fmla="*/ 4490696 w 9378540"/>
              <a:gd name="connsiteY28-58" fmla="*/ 2757469 h 7291226"/>
              <a:gd name="connsiteX29-59" fmla="*/ 7934229 w 9378540"/>
              <a:gd name="connsiteY29-60" fmla="*/ 7291226 h 7291226"/>
              <a:gd name="connsiteX30-61" fmla="*/ 8687764 w 9378540"/>
              <a:gd name="connsiteY30-62" fmla="*/ 7291226 h 7291226"/>
              <a:gd name="connsiteX31-63" fmla="*/ 8270226 w 9378540"/>
              <a:gd name="connsiteY31-64" fmla="*/ 7291226 h 7291226"/>
              <a:gd name="connsiteX32" fmla="*/ 4650570 w 9378540"/>
              <a:gd name="connsiteY32" fmla="*/ 2548084 h 7291226"/>
              <a:gd name="connsiteX33" fmla="*/ 4869244 w 9378540"/>
              <a:gd name="connsiteY33" fmla="*/ 2261689 h 7291226"/>
              <a:gd name="connsiteX34" fmla="*/ 8687764 w 9378540"/>
              <a:gd name="connsiteY34" fmla="*/ 7291226 h 7291226"/>
              <a:gd name="connsiteX35" fmla="*/ 9378540 w 9378540"/>
              <a:gd name="connsiteY35" fmla="*/ 7097262 h 7291226"/>
              <a:gd name="connsiteX36" fmla="*/ 9050647 w 9378540"/>
              <a:gd name="connsiteY36" fmla="*/ 7291226 h 7291226"/>
              <a:gd name="connsiteX37" fmla="*/ 5045299 w 9378540"/>
              <a:gd name="connsiteY37" fmla="*/ 2031113 h 7291226"/>
              <a:gd name="connsiteX38" fmla="*/ 5273037 w 9378540"/>
              <a:gd name="connsiteY38" fmla="*/ 1732846 h 7291226"/>
              <a:gd name="connsiteX39" fmla="*/ 9378540 w 9378540"/>
              <a:gd name="connsiteY39" fmla="*/ 7097262 h 7291226"/>
              <a:gd name="connsiteX0-65" fmla="*/ 168369 w 9378540"/>
              <a:gd name="connsiteY0-66" fmla="*/ 4779933 h 7291226"/>
              <a:gd name="connsiteX1-67" fmla="*/ 0 w 9378540"/>
              <a:gd name="connsiteY1-68" fmla="*/ 4409146 h 7291226"/>
              <a:gd name="connsiteX2-69" fmla="*/ 3332806 w 9378540"/>
              <a:gd name="connsiteY2-70" fmla="*/ 0 h 7291226"/>
              <a:gd name="connsiteX3-71" fmla="*/ 3794560 w 9378540"/>
              <a:gd name="connsiteY3-72" fmla="*/ 32861 h 7291226"/>
              <a:gd name="connsiteX4-73" fmla="*/ 168369 w 9378540"/>
              <a:gd name="connsiteY4-74" fmla="*/ 4779933 h 7291226"/>
              <a:gd name="connsiteX5-75" fmla="*/ 488220 w 9378540"/>
              <a:gd name="connsiteY5-76" fmla="*/ 5484315 h 7291226"/>
              <a:gd name="connsiteX6-77" fmla="*/ 299082 w 9378540"/>
              <a:gd name="connsiteY6-78" fmla="*/ 5067791 h 7291226"/>
              <a:gd name="connsiteX7-79" fmla="*/ 4106456 w 9378540"/>
              <a:gd name="connsiteY7-80" fmla="*/ 55057 h 7291226"/>
              <a:gd name="connsiteX8-81" fmla="*/ 4585079 w 9378540"/>
              <a:gd name="connsiteY8-82" fmla="*/ 89119 h 7291226"/>
              <a:gd name="connsiteX9-83" fmla="*/ 488220 w 9378540"/>
              <a:gd name="connsiteY9-84" fmla="*/ 5484315 h 7291226"/>
              <a:gd name="connsiteX10-85" fmla="*/ 779421 w 9378540"/>
              <a:gd name="connsiteY10-86" fmla="*/ 6125606 h 7291226"/>
              <a:gd name="connsiteX11-87" fmla="*/ 618065 w 9378540"/>
              <a:gd name="connsiteY11-88" fmla="*/ 5770263 h 7291226"/>
              <a:gd name="connsiteX12-89" fmla="*/ 4897528 w 9378540"/>
              <a:gd name="connsiteY12-90" fmla="*/ 111354 h 7291226"/>
              <a:gd name="connsiteX13-91" fmla="*/ 5324893 w 9378540"/>
              <a:gd name="connsiteY13-92" fmla="*/ 141768 h 7291226"/>
              <a:gd name="connsiteX14-93" fmla="*/ 779421 w 9378540"/>
              <a:gd name="connsiteY14-94" fmla="*/ 6125606 h 7291226"/>
              <a:gd name="connsiteX15-95" fmla="*/ 1099910 w 9378540"/>
              <a:gd name="connsiteY15-96" fmla="*/ 6831395 h 7291226"/>
              <a:gd name="connsiteX16-97" fmla="*/ 919656 w 9378540"/>
              <a:gd name="connsiteY16-98" fmla="*/ 6434435 h 7291226"/>
              <a:gd name="connsiteX17-99" fmla="*/ 5668965 w 9378540"/>
              <a:gd name="connsiteY17-100" fmla="*/ 166254 h 7291226"/>
              <a:gd name="connsiteX18-101" fmla="*/ 6114044 w 9378540"/>
              <a:gd name="connsiteY18-102" fmla="*/ 197929 h 7291226"/>
              <a:gd name="connsiteX19-103" fmla="*/ 1099910 w 9378540"/>
              <a:gd name="connsiteY19-104" fmla="*/ 6831395 h 7291226"/>
              <a:gd name="connsiteX20-105" fmla="*/ 7106560 w 9378540"/>
              <a:gd name="connsiteY20-106" fmla="*/ 7291226 h 7291226"/>
              <a:gd name="connsiteX21-107" fmla="*/ 6670875 w 9378540"/>
              <a:gd name="connsiteY21-108" fmla="*/ 7291226 h 7291226"/>
              <a:gd name="connsiteX22-109" fmla="*/ 3849932 w 9378540"/>
              <a:gd name="connsiteY22-110" fmla="*/ 3596670 h 7291226"/>
              <a:gd name="connsiteX23-111" fmla="*/ 4086202 w 9378540"/>
              <a:gd name="connsiteY23-112" fmla="*/ 3287229 h 7291226"/>
              <a:gd name="connsiteX24-113" fmla="*/ 7106560 w 9378540"/>
              <a:gd name="connsiteY24-114" fmla="*/ 7291226 h 7291226"/>
              <a:gd name="connsiteX25-115" fmla="*/ 7934229 w 9378540"/>
              <a:gd name="connsiteY25-116" fmla="*/ 7291226 h 7291226"/>
              <a:gd name="connsiteX26-117" fmla="*/ 7444802 w 9378540"/>
              <a:gd name="connsiteY26-118" fmla="*/ 7291226 h 7291226"/>
              <a:gd name="connsiteX27-119" fmla="*/ 4245793 w 9378540"/>
              <a:gd name="connsiteY27-120" fmla="*/ 3078214 h 7291226"/>
              <a:gd name="connsiteX28-121" fmla="*/ 4490696 w 9378540"/>
              <a:gd name="connsiteY28-122" fmla="*/ 2757469 h 7291226"/>
              <a:gd name="connsiteX29-123" fmla="*/ 7934229 w 9378540"/>
              <a:gd name="connsiteY29-124" fmla="*/ 7291226 h 7291226"/>
              <a:gd name="connsiteX30-125" fmla="*/ 8687764 w 9378540"/>
              <a:gd name="connsiteY30-126" fmla="*/ 7291226 h 7291226"/>
              <a:gd name="connsiteX31-127" fmla="*/ 8270226 w 9378540"/>
              <a:gd name="connsiteY31-128" fmla="*/ 7291226 h 7291226"/>
              <a:gd name="connsiteX32-129" fmla="*/ 4650570 w 9378540"/>
              <a:gd name="connsiteY32-130" fmla="*/ 2548084 h 7291226"/>
              <a:gd name="connsiteX33-131" fmla="*/ 4869244 w 9378540"/>
              <a:gd name="connsiteY33-132" fmla="*/ 2261689 h 7291226"/>
              <a:gd name="connsiteX34-133" fmla="*/ 8687764 w 9378540"/>
              <a:gd name="connsiteY34-134" fmla="*/ 7291226 h 7291226"/>
              <a:gd name="connsiteX35-135" fmla="*/ 9378540 w 9378540"/>
              <a:gd name="connsiteY35-136" fmla="*/ 7097262 h 7291226"/>
              <a:gd name="connsiteX36-137" fmla="*/ 8921338 w 9378540"/>
              <a:gd name="connsiteY36-138" fmla="*/ 7115735 h 7291226"/>
              <a:gd name="connsiteX37-139" fmla="*/ 5045299 w 9378540"/>
              <a:gd name="connsiteY37-140" fmla="*/ 2031113 h 7291226"/>
              <a:gd name="connsiteX38-141" fmla="*/ 5273037 w 9378540"/>
              <a:gd name="connsiteY38-142" fmla="*/ 1732846 h 7291226"/>
              <a:gd name="connsiteX39-143" fmla="*/ 9378540 w 9378540"/>
              <a:gd name="connsiteY39-144" fmla="*/ 7097262 h 7291226"/>
              <a:gd name="connsiteX0-145" fmla="*/ 168369 w 9397013"/>
              <a:gd name="connsiteY0-146" fmla="*/ 4779933 h 7291226"/>
              <a:gd name="connsiteX1-147" fmla="*/ 0 w 9397013"/>
              <a:gd name="connsiteY1-148" fmla="*/ 4409146 h 7291226"/>
              <a:gd name="connsiteX2-149" fmla="*/ 3332806 w 9397013"/>
              <a:gd name="connsiteY2-150" fmla="*/ 0 h 7291226"/>
              <a:gd name="connsiteX3-151" fmla="*/ 3794560 w 9397013"/>
              <a:gd name="connsiteY3-152" fmla="*/ 32861 h 7291226"/>
              <a:gd name="connsiteX4-153" fmla="*/ 168369 w 9397013"/>
              <a:gd name="connsiteY4-154" fmla="*/ 4779933 h 7291226"/>
              <a:gd name="connsiteX5-155" fmla="*/ 488220 w 9397013"/>
              <a:gd name="connsiteY5-156" fmla="*/ 5484315 h 7291226"/>
              <a:gd name="connsiteX6-157" fmla="*/ 299082 w 9397013"/>
              <a:gd name="connsiteY6-158" fmla="*/ 5067791 h 7291226"/>
              <a:gd name="connsiteX7-159" fmla="*/ 4106456 w 9397013"/>
              <a:gd name="connsiteY7-160" fmla="*/ 55057 h 7291226"/>
              <a:gd name="connsiteX8-161" fmla="*/ 4585079 w 9397013"/>
              <a:gd name="connsiteY8-162" fmla="*/ 89119 h 7291226"/>
              <a:gd name="connsiteX9-163" fmla="*/ 488220 w 9397013"/>
              <a:gd name="connsiteY9-164" fmla="*/ 5484315 h 7291226"/>
              <a:gd name="connsiteX10-165" fmla="*/ 779421 w 9397013"/>
              <a:gd name="connsiteY10-166" fmla="*/ 6125606 h 7291226"/>
              <a:gd name="connsiteX11-167" fmla="*/ 618065 w 9397013"/>
              <a:gd name="connsiteY11-168" fmla="*/ 5770263 h 7291226"/>
              <a:gd name="connsiteX12-169" fmla="*/ 4897528 w 9397013"/>
              <a:gd name="connsiteY12-170" fmla="*/ 111354 h 7291226"/>
              <a:gd name="connsiteX13-171" fmla="*/ 5324893 w 9397013"/>
              <a:gd name="connsiteY13-172" fmla="*/ 141768 h 7291226"/>
              <a:gd name="connsiteX14-173" fmla="*/ 779421 w 9397013"/>
              <a:gd name="connsiteY14-174" fmla="*/ 6125606 h 7291226"/>
              <a:gd name="connsiteX15-175" fmla="*/ 1099910 w 9397013"/>
              <a:gd name="connsiteY15-176" fmla="*/ 6831395 h 7291226"/>
              <a:gd name="connsiteX16-177" fmla="*/ 919656 w 9397013"/>
              <a:gd name="connsiteY16-178" fmla="*/ 6434435 h 7291226"/>
              <a:gd name="connsiteX17-179" fmla="*/ 5668965 w 9397013"/>
              <a:gd name="connsiteY17-180" fmla="*/ 166254 h 7291226"/>
              <a:gd name="connsiteX18-181" fmla="*/ 6114044 w 9397013"/>
              <a:gd name="connsiteY18-182" fmla="*/ 197929 h 7291226"/>
              <a:gd name="connsiteX19-183" fmla="*/ 1099910 w 9397013"/>
              <a:gd name="connsiteY19-184" fmla="*/ 6831395 h 7291226"/>
              <a:gd name="connsiteX20-185" fmla="*/ 7106560 w 9397013"/>
              <a:gd name="connsiteY20-186" fmla="*/ 7291226 h 7291226"/>
              <a:gd name="connsiteX21-187" fmla="*/ 6670875 w 9397013"/>
              <a:gd name="connsiteY21-188" fmla="*/ 7291226 h 7291226"/>
              <a:gd name="connsiteX22-189" fmla="*/ 3849932 w 9397013"/>
              <a:gd name="connsiteY22-190" fmla="*/ 3596670 h 7291226"/>
              <a:gd name="connsiteX23-191" fmla="*/ 4086202 w 9397013"/>
              <a:gd name="connsiteY23-192" fmla="*/ 3287229 h 7291226"/>
              <a:gd name="connsiteX24-193" fmla="*/ 7106560 w 9397013"/>
              <a:gd name="connsiteY24-194" fmla="*/ 7291226 h 7291226"/>
              <a:gd name="connsiteX25-195" fmla="*/ 7934229 w 9397013"/>
              <a:gd name="connsiteY25-196" fmla="*/ 7291226 h 7291226"/>
              <a:gd name="connsiteX26-197" fmla="*/ 7444802 w 9397013"/>
              <a:gd name="connsiteY26-198" fmla="*/ 7291226 h 7291226"/>
              <a:gd name="connsiteX27-199" fmla="*/ 4245793 w 9397013"/>
              <a:gd name="connsiteY27-200" fmla="*/ 3078214 h 7291226"/>
              <a:gd name="connsiteX28-201" fmla="*/ 4490696 w 9397013"/>
              <a:gd name="connsiteY28-202" fmla="*/ 2757469 h 7291226"/>
              <a:gd name="connsiteX29-203" fmla="*/ 7934229 w 9397013"/>
              <a:gd name="connsiteY29-204" fmla="*/ 7291226 h 7291226"/>
              <a:gd name="connsiteX30-205" fmla="*/ 8687764 w 9397013"/>
              <a:gd name="connsiteY30-206" fmla="*/ 7291226 h 7291226"/>
              <a:gd name="connsiteX31-207" fmla="*/ 8270226 w 9397013"/>
              <a:gd name="connsiteY31-208" fmla="*/ 7291226 h 7291226"/>
              <a:gd name="connsiteX32-209" fmla="*/ 4650570 w 9397013"/>
              <a:gd name="connsiteY32-210" fmla="*/ 2548084 h 7291226"/>
              <a:gd name="connsiteX33-211" fmla="*/ 4869244 w 9397013"/>
              <a:gd name="connsiteY33-212" fmla="*/ 2261689 h 7291226"/>
              <a:gd name="connsiteX34-213" fmla="*/ 8687764 w 9397013"/>
              <a:gd name="connsiteY34-214" fmla="*/ 7291226 h 7291226"/>
              <a:gd name="connsiteX35-215" fmla="*/ 9397013 w 9397013"/>
              <a:gd name="connsiteY35-216" fmla="*/ 7134207 h 7291226"/>
              <a:gd name="connsiteX36-217" fmla="*/ 8921338 w 9397013"/>
              <a:gd name="connsiteY36-218" fmla="*/ 7115735 h 7291226"/>
              <a:gd name="connsiteX37-219" fmla="*/ 5045299 w 9397013"/>
              <a:gd name="connsiteY37-220" fmla="*/ 2031113 h 7291226"/>
              <a:gd name="connsiteX38-221" fmla="*/ 5273037 w 9397013"/>
              <a:gd name="connsiteY38-222" fmla="*/ 1732846 h 7291226"/>
              <a:gd name="connsiteX39-223" fmla="*/ 9397013 w 9397013"/>
              <a:gd name="connsiteY39-224" fmla="*/ 7134207 h 7291226"/>
              <a:gd name="connsiteX0-225" fmla="*/ 168369 w 9397013"/>
              <a:gd name="connsiteY0-226" fmla="*/ 4779933 h 7291226"/>
              <a:gd name="connsiteX1-227" fmla="*/ 0 w 9397013"/>
              <a:gd name="connsiteY1-228" fmla="*/ 4409146 h 7291226"/>
              <a:gd name="connsiteX2-229" fmla="*/ 3332806 w 9397013"/>
              <a:gd name="connsiteY2-230" fmla="*/ 0 h 7291226"/>
              <a:gd name="connsiteX3-231" fmla="*/ 3794560 w 9397013"/>
              <a:gd name="connsiteY3-232" fmla="*/ 32861 h 7291226"/>
              <a:gd name="connsiteX4-233" fmla="*/ 168369 w 9397013"/>
              <a:gd name="connsiteY4-234" fmla="*/ 4779933 h 7291226"/>
              <a:gd name="connsiteX5-235" fmla="*/ 488220 w 9397013"/>
              <a:gd name="connsiteY5-236" fmla="*/ 5484315 h 7291226"/>
              <a:gd name="connsiteX6-237" fmla="*/ 299082 w 9397013"/>
              <a:gd name="connsiteY6-238" fmla="*/ 5067791 h 7291226"/>
              <a:gd name="connsiteX7-239" fmla="*/ 4106456 w 9397013"/>
              <a:gd name="connsiteY7-240" fmla="*/ 55057 h 7291226"/>
              <a:gd name="connsiteX8-241" fmla="*/ 4585079 w 9397013"/>
              <a:gd name="connsiteY8-242" fmla="*/ 89119 h 7291226"/>
              <a:gd name="connsiteX9-243" fmla="*/ 488220 w 9397013"/>
              <a:gd name="connsiteY9-244" fmla="*/ 5484315 h 7291226"/>
              <a:gd name="connsiteX10-245" fmla="*/ 779421 w 9397013"/>
              <a:gd name="connsiteY10-246" fmla="*/ 6125606 h 7291226"/>
              <a:gd name="connsiteX11-247" fmla="*/ 618065 w 9397013"/>
              <a:gd name="connsiteY11-248" fmla="*/ 5770263 h 7291226"/>
              <a:gd name="connsiteX12-249" fmla="*/ 4897528 w 9397013"/>
              <a:gd name="connsiteY12-250" fmla="*/ 111354 h 7291226"/>
              <a:gd name="connsiteX13-251" fmla="*/ 5324893 w 9397013"/>
              <a:gd name="connsiteY13-252" fmla="*/ 141768 h 7291226"/>
              <a:gd name="connsiteX14-253" fmla="*/ 779421 w 9397013"/>
              <a:gd name="connsiteY14-254" fmla="*/ 6125606 h 7291226"/>
              <a:gd name="connsiteX15-255" fmla="*/ 1099910 w 9397013"/>
              <a:gd name="connsiteY15-256" fmla="*/ 6831395 h 7291226"/>
              <a:gd name="connsiteX16-257" fmla="*/ 919656 w 9397013"/>
              <a:gd name="connsiteY16-258" fmla="*/ 6434435 h 7291226"/>
              <a:gd name="connsiteX17-259" fmla="*/ 5668965 w 9397013"/>
              <a:gd name="connsiteY17-260" fmla="*/ 166254 h 7291226"/>
              <a:gd name="connsiteX18-261" fmla="*/ 6114044 w 9397013"/>
              <a:gd name="connsiteY18-262" fmla="*/ 197929 h 7291226"/>
              <a:gd name="connsiteX19-263" fmla="*/ 1099910 w 9397013"/>
              <a:gd name="connsiteY19-264" fmla="*/ 6831395 h 7291226"/>
              <a:gd name="connsiteX20-265" fmla="*/ 7106560 w 9397013"/>
              <a:gd name="connsiteY20-266" fmla="*/ 7291226 h 7291226"/>
              <a:gd name="connsiteX21-267" fmla="*/ 6670875 w 9397013"/>
              <a:gd name="connsiteY21-268" fmla="*/ 7291226 h 7291226"/>
              <a:gd name="connsiteX22-269" fmla="*/ 3849932 w 9397013"/>
              <a:gd name="connsiteY22-270" fmla="*/ 3596670 h 7291226"/>
              <a:gd name="connsiteX23-271" fmla="*/ 4086202 w 9397013"/>
              <a:gd name="connsiteY23-272" fmla="*/ 3287229 h 7291226"/>
              <a:gd name="connsiteX24-273" fmla="*/ 7106560 w 9397013"/>
              <a:gd name="connsiteY24-274" fmla="*/ 7291226 h 7291226"/>
              <a:gd name="connsiteX25-275" fmla="*/ 7934229 w 9397013"/>
              <a:gd name="connsiteY25-276" fmla="*/ 7291226 h 7291226"/>
              <a:gd name="connsiteX26-277" fmla="*/ 7444802 w 9397013"/>
              <a:gd name="connsiteY26-278" fmla="*/ 7291226 h 7291226"/>
              <a:gd name="connsiteX27-279" fmla="*/ 4245793 w 9397013"/>
              <a:gd name="connsiteY27-280" fmla="*/ 3078214 h 7291226"/>
              <a:gd name="connsiteX28-281" fmla="*/ 4490696 w 9397013"/>
              <a:gd name="connsiteY28-282" fmla="*/ 2757469 h 7291226"/>
              <a:gd name="connsiteX29-283" fmla="*/ 7934229 w 9397013"/>
              <a:gd name="connsiteY29-284" fmla="*/ 7291226 h 7291226"/>
              <a:gd name="connsiteX30-285" fmla="*/ 8530746 w 9397013"/>
              <a:gd name="connsiteY30-286" fmla="*/ 7088026 h 7291226"/>
              <a:gd name="connsiteX31-287" fmla="*/ 8270226 w 9397013"/>
              <a:gd name="connsiteY31-288" fmla="*/ 7291226 h 7291226"/>
              <a:gd name="connsiteX32-289" fmla="*/ 4650570 w 9397013"/>
              <a:gd name="connsiteY32-290" fmla="*/ 2548084 h 7291226"/>
              <a:gd name="connsiteX33-291" fmla="*/ 4869244 w 9397013"/>
              <a:gd name="connsiteY33-292" fmla="*/ 2261689 h 7291226"/>
              <a:gd name="connsiteX34-293" fmla="*/ 8530746 w 9397013"/>
              <a:gd name="connsiteY34-294" fmla="*/ 7088026 h 7291226"/>
              <a:gd name="connsiteX35-295" fmla="*/ 9397013 w 9397013"/>
              <a:gd name="connsiteY35-296" fmla="*/ 7134207 h 7291226"/>
              <a:gd name="connsiteX36-297" fmla="*/ 8921338 w 9397013"/>
              <a:gd name="connsiteY36-298" fmla="*/ 7115735 h 7291226"/>
              <a:gd name="connsiteX37-299" fmla="*/ 5045299 w 9397013"/>
              <a:gd name="connsiteY37-300" fmla="*/ 2031113 h 7291226"/>
              <a:gd name="connsiteX38-301" fmla="*/ 5273037 w 9397013"/>
              <a:gd name="connsiteY38-302" fmla="*/ 1732846 h 7291226"/>
              <a:gd name="connsiteX39-303" fmla="*/ 9397013 w 9397013"/>
              <a:gd name="connsiteY39-304" fmla="*/ 7134207 h 7291226"/>
              <a:gd name="connsiteX0-305" fmla="*/ 168369 w 9397013"/>
              <a:gd name="connsiteY0-306" fmla="*/ 4779933 h 7291226"/>
              <a:gd name="connsiteX1-307" fmla="*/ 0 w 9397013"/>
              <a:gd name="connsiteY1-308" fmla="*/ 4409146 h 7291226"/>
              <a:gd name="connsiteX2-309" fmla="*/ 3332806 w 9397013"/>
              <a:gd name="connsiteY2-310" fmla="*/ 0 h 7291226"/>
              <a:gd name="connsiteX3-311" fmla="*/ 3794560 w 9397013"/>
              <a:gd name="connsiteY3-312" fmla="*/ 32861 h 7291226"/>
              <a:gd name="connsiteX4-313" fmla="*/ 168369 w 9397013"/>
              <a:gd name="connsiteY4-314" fmla="*/ 4779933 h 7291226"/>
              <a:gd name="connsiteX5-315" fmla="*/ 488220 w 9397013"/>
              <a:gd name="connsiteY5-316" fmla="*/ 5484315 h 7291226"/>
              <a:gd name="connsiteX6-317" fmla="*/ 299082 w 9397013"/>
              <a:gd name="connsiteY6-318" fmla="*/ 5067791 h 7291226"/>
              <a:gd name="connsiteX7-319" fmla="*/ 4106456 w 9397013"/>
              <a:gd name="connsiteY7-320" fmla="*/ 55057 h 7291226"/>
              <a:gd name="connsiteX8-321" fmla="*/ 4585079 w 9397013"/>
              <a:gd name="connsiteY8-322" fmla="*/ 89119 h 7291226"/>
              <a:gd name="connsiteX9-323" fmla="*/ 488220 w 9397013"/>
              <a:gd name="connsiteY9-324" fmla="*/ 5484315 h 7291226"/>
              <a:gd name="connsiteX10-325" fmla="*/ 779421 w 9397013"/>
              <a:gd name="connsiteY10-326" fmla="*/ 6125606 h 7291226"/>
              <a:gd name="connsiteX11-327" fmla="*/ 618065 w 9397013"/>
              <a:gd name="connsiteY11-328" fmla="*/ 5770263 h 7291226"/>
              <a:gd name="connsiteX12-329" fmla="*/ 4897528 w 9397013"/>
              <a:gd name="connsiteY12-330" fmla="*/ 111354 h 7291226"/>
              <a:gd name="connsiteX13-331" fmla="*/ 5324893 w 9397013"/>
              <a:gd name="connsiteY13-332" fmla="*/ 141768 h 7291226"/>
              <a:gd name="connsiteX14-333" fmla="*/ 779421 w 9397013"/>
              <a:gd name="connsiteY14-334" fmla="*/ 6125606 h 7291226"/>
              <a:gd name="connsiteX15-335" fmla="*/ 1099910 w 9397013"/>
              <a:gd name="connsiteY15-336" fmla="*/ 6831395 h 7291226"/>
              <a:gd name="connsiteX16-337" fmla="*/ 919656 w 9397013"/>
              <a:gd name="connsiteY16-338" fmla="*/ 6434435 h 7291226"/>
              <a:gd name="connsiteX17-339" fmla="*/ 5668965 w 9397013"/>
              <a:gd name="connsiteY17-340" fmla="*/ 166254 h 7291226"/>
              <a:gd name="connsiteX18-341" fmla="*/ 6114044 w 9397013"/>
              <a:gd name="connsiteY18-342" fmla="*/ 197929 h 7291226"/>
              <a:gd name="connsiteX19-343" fmla="*/ 1099910 w 9397013"/>
              <a:gd name="connsiteY19-344" fmla="*/ 6831395 h 7291226"/>
              <a:gd name="connsiteX20-345" fmla="*/ 7106560 w 9397013"/>
              <a:gd name="connsiteY20-346" fmla="*/ 7291226 h 7291226"/>
              <a:gd name="connsiteX21-347" fmla="*/ 6670875 w 9397013"/>
              <a:gd name="connsiteY21-348" fmla="*/ 7291226 h 7291226"/>
              <a:gd name="connsiteX22-349" fmla="*/ 3849932 w 9397013"/>
              <a:gd name="connsiteY22-350" fmla="*/ 3596670 h 7291226"/>
              <a:gd name="connsiteX23-351" fmla="*/ 4086202 w 9397013"/>
              <a:gd name="connsiteY23-352" fmla="*/ 3287229 h 7291226"/>
              <a:gd name="connsiteX24-353" fmla="*/ 7106560 w 9397013"/>
              <a:gd name="connsiteY24-354" fmla="*/ 7291226 h 7291226"/>
              <a:gd name="connsiteX25-355" fmla="*/ 7934229 w 9397013"/>
              <a:gd name="connsiteY25-356" fmla="*/ 7291226 h 7291226"/>
              <a:gd name="connsiteX26-357" fmla="*/ 7444802 w 9397013"/>
              <a:gd name="connsiteY26-358" fmla="*/ 7291226 h 7291226"/>
              <a:gd name="connsiteX27-359" fmla="*/ 4245793 w 9397013"/>
              <a:gd name="connsiteY27-360" fmla="*/ 3078214 h 7291226"/>
              <a:gd name="connsiteX28-361" fmla="*/ 4490696 w 9397013"/>
              <a:gd name="connsiteY28-362" fmla="*/ 2757469 h 7291226"/>
              <a:gd name="connsiteX29-363" fmla="*/ 7934229 w 9397013"/>
              <a:gd name="connsiteY29-364" fmla="*/ 7291226 h 7291226"/>
              <a:gd name="connsiteX30-365" fmla="*/ 8530746 w 9397013"/>
              <a:gd name="connsiteY30-366" fmla="*/ 7088026 h 7291226"/>
              <a:gd name="connsiteX31-367" fmla="*/ 8150153 w 9397013"/>
              <a:gd name="connsiteY31-368" fmla="*/ 7097262 h 7291226"/>
              <a:gd name="connsiteX32-369" fmla="*/ 4650570 w 9397013"/>
              <a:gd name="connsiteY32-370" fmla="*/ 2548084 h 7291226"/>
              <a:gd name="connsiteX33-371" fmla="*/ 4869244 w 9397013"/>
              <a:gd name="connsiteY33-372" fmla="*/ 2261689 h 7291226"/>
              <a:gd name="connsiteX34-373" fmla="*/ 8530746 w 9397013"/>
              <a:gd name="connsiteY34-374" fmla="*/ 7088026 h 7291226"/>
              <a:gd name="connsiteX35-375" fmla="*/ 9397013 w 9397013"/>
              <a:gd name="connsiteY35-376" fmla="*/ 7134207 h 7291226"/>
              <a:gd name="connsiteX36-377" fmla="*/ 8921338 w 9397013"/>
              <a:gd name="connsiteY36-378" fmla="*/ 7115735 h 7291226"/>
              <a:gd name="connsiteX37-379" fmla="*/ 5045299 w 9397013"/>
              <a:gd name="connsiteY37-380" fmla="*/ 2031113 h 7291226"/>
              <a:gd name="connsiteX38-381" fmla="*/ 5273037 w 9397013"/>
              <a:gd name="connsiteY38-382" fmla="*/ 1732846 h 7291226"/>
              <a:gd name="connsiteX39-383" fmla="*/ 9397013 w 9397013"/>
              <a:gd name="connsiteY39-384" fmla="*/ 7134207 h 7291226"/>
              <a:gd name="connsiteX0-385" fmla="*/ 168369 w 9397013"/>
              <a:gd name="connsiteY0-386" fmla="*/ 4779933 h 7291226"/>
              <a:gd name="connsiteX1-387" fmla="*/ 0 w 9397013"/>
              <a:gd name="connsiteY1-388" fmla="*/ 4409146 h 7291226"/>
              <a:gd name="connsiteX2-389" fmla="*/ 3332806 w 9397013"/>
              <a:gd name="connsiteY2-390" fmla="*/ 0 h 7291226"/>
              <a:gd name="connsiteX3-391" fmla="*/ 3794560 w 9397013"/>
              <a:gd name="connsiteY3-392" fmla="*/ 32861 h 7291226"/>
              <a:gd name="connsiteX4-393" fmla="*/ 168369 w 9397013"/>
              <a:gd name="connsiteY4-394" fmla="*/ 4779933 h 7291226"/>
              <a:gd name="connsiteX5-395" fmla="*/ 488220 w 9397013"/>
              <a:gd name="connsiteY5-396" fmla="*/ 5484315 h 7291226"/>
              <a:gd name="connsiteX6-397" fmla="*/ 299082 w 9397013"/>
              <a:gd name="connsiteY6-398" fmla="*/ 5067791 h 7291226"/>
              <a:gd name="connsiteX7-399" fmla="*/ 4106456 w 9397013"/>
              <a:gd name="connsiteY7-400" fmla="*/ 55057 h 7291226"/>
              <a:gd name="connsiteX8-401" fmla="*/ 4585079 w 9397013"/>
              <a:gd name="connsiteY8-402" fmla="*/ 89119 h 7291226"/>
              <a:gd name="connsiteX9-403" fmla="*/ 488220 w 9397013"/>
              <a:gd name="connsiteY9-404" fmla="*/ 5484315 h 7291226"/>
              <a:gd name="connsiteX10-405" fmla="*/ 779421 w 9397013"/>
              <a:gd name="connsiteY10-406" fmla="*/ 6125606 h 7291226"/>
              <a:gd name="connsiteX11-407" fmla="*/ 618065 w 9397013"/>
              <a:gd name="connsiteY11-408" fmla="*/ 5770263 h 7291226"/>
              <a:gd name="connsiteX12-409" fmla="*/ 4897528 w 9397013"/>
              <a:gd name="connsiteY12-410" fmla="*/ 111354 h 7291226"/>
              <a:gd name="connsiteX13-411" fmla="*/ 5324893 w 9397013"/>
              <a:gd name="connsiteY13-412" fmla="*/ 141768 h 7291226"/>
              <a:gd name="connsiteX14-413" fmla="*/ 779421 w 9397013"/>
              <a:gd name="connsiteY14-414" fmla="*/ 6125606 h 7291226"/>
              <a:gd name="connsiteX15-415" fmla="*/ 1099910 w 9397013"/>
              <a:gd name="connsiteY15-416" fmla="*/ 6831395 h 7291226"/>
              <a:gd name="connsiteX16-417" fmla="*/ 919656 w 9397013"/>
              <a:gd name="connsiteY16-418" fmla="*/ 6434435 h 7291226"/>
              <a:gd name="connsiteX17-419" fmla="*/ 5668965 w 9397013"/>
              <a:gd name="connsiteY17-420" fmla="*/ 166254 h 7291226"/>
              <a:gd name="connsiteX18-421" fmla="*/ 6114044 w 9397013"/>
              <a:gd name="connsiteY18-422" fmla="*/ 197929 h 7291226"/>
              <a:gd name="connsiteX19-423" fmla="*/ 1099910 w 9397013"/>
              <a:gd name="connsiteY19-424" fmla="*/ 6831395 h 7291226"/>
              <a:gd name="connsiteX20-425" fmla="*/ 7106560 w 9397013"/>
              <a:gd name="connsiteY20-426" fmla="*/ 7291226 h 7291226"/>
              <a:gd name="connsiteX21-427" fmla="*/ 6670875 w 9397013"/>
              <a:gd name="connsiteY21-428" fmla="*/ 7291226 h 7291226"/>
              <a:gd name="connsiteX22-429" fmla="*/ 3849932 w 9397013"/>
              <a:gd name="connsiteY22-430" fmla="*/ 3596670 h 7291226"/>
              <a:gd name="connsiteX23-431" fmla="*/ 4086202 w 9397013"/>
              <a:gd name="connsiteY23-432" fmla="*/ 3287229 h 7291226"/>
              <a:gd name="connsiteX24-433" fmla="*/ 7106560 w 9397013"/>
              <a:gd name="connsiteY24-434" fmla="*/ 7291226 h 7291226"/>
              <a:gd name="connsiteX25-435" fmla="*/ 7934229 w 9397013"/>
              <a:gd name="connsiteY25-436" fmla="*/ 7291226 h 7291226"/>
              <a:gd name="connsiteX26-437" fmla="*/ 7444802 w 9397013"/>
              <a:gd name="connsiteY26-438" fmla="*/ 7291226 h 7291226"/>
              <a:gd name="connsiteX27-439" fmla="*/ 4245793 w 9397013"/>
              <a:gd name="connsiteY27-440" fmla="*/ 3078214 h 7291226"/>
              <a:gd name="connsiteX28-441" fmla="*/ 4490696 w 9397013"/>
              <a:gd name="connsiteY28-442" fmla="*/ 2757469 h 7291226"/>
              <a:gd name="connsiteX29-443" fmla="*/ 7934229 w 9397013"/>
              <a:gd name="connsiteY29-444" fmla="*/ 7291226 h 7291226"/>
              <a:gd name="connsiteX30-445" fmla="*/ 8567691 w 9397013"/>
              <a:gd name="connsiteY30-446" fmla="*/ 7124971 h 7291226"/>
              <a:gd name="connsiteX31-447" fmla="*/ 8150153 w 9397013"/>
              <a:gd name="connsiteY31-448" fmla="*/ 7097262 h 7291226"/>
              <a:gd name="connsiteX32-449" fmla="*/ 4650570 w 9397013"/>
              <a:gd name="connsiteY32-450" fmla="*/ 2548084 h 7291226"/>
              <a:gd name="connsiteX33-451" fmla="*/ 4869244 w 9397013"/>
              <a:gd name="connsiteY33-452" fmla="*/ 2261689 h 7291226"/>
              <a:gd name="connsiteX34-453" fmla="*/ 8567691 w 9397013"/>
              <a:gd name="connsiteY34-454" fmla="*/ 7124971 h 7291226"/>
              <a:gd name="connsiteX35-455" fmla="*/ 9397013 w 9397013"/>
              <a:gd name="connsiteY35-456" fmla="*/ 7134207 h 7291226"/>
              <a:gd name="connsiteX36-457" fmla="*/ 8921338 w 9397013"/>
              <a:gd name="connsiteY36-458" fmla="*/ 7115735 h 7291226"/>
              <a:gd name="connsiteX37-459" fmla="*/ 5045299 w 9397013"/>
              <a:gd name="connsiteY37-460" fmla="*/ 2031113 h 7291226"/>
              <a:gd name="connsiteX38-461" fmla="*/ 5273037 w 9397013"/>
              <a:gd name="connsiteY38-462" fmla="*/ 1732846 h 7291226"/>
              <a:gd name="connsiteX39-463" fmla="*/ 9397013 w 9397013"/>
              <a:gd name="connsiteY39-464" fmla="*/ 7134207 h 7291226"/>
              <a:gd name="connsiteX0-465" fmla="*/ 168369 w 9397013"/>
              <a:gd name="connsiteY0-466" fmla="*/ 4779933 h 7291226"/>
              <a:gd name="connsiteX1-467" fmla="*/ 0 w 9397013"/>
              <a:gd name="connsiteY1-468" fmla="*/ 4409146 h 7291226"/>
              <a:gd name="connsiteX2-469" fmla="*/ 3332806 w 9397013"/>
              <a:gd name="connsiteY2-470" fmla="*/ 0 h 7291226"/>
              <a:gd name="connsiteX3-471" fmla="*/ 3794560 w 9397013"/>
              <a:gd name="connsiteY3-472" fmla="*/ 32861 h 7291226"/>
              <a:gd name="connsiteX4-473" fmla="*/ 168369 w 9397013"/>
              <a:gd name="connsiteY4-474" fmla="*/ 4779933 h 7291226"/>
              <a:gd name="connsiteX5-475" fmla="*/ 488220 w 9397013"/>
              <a:gd name="connsiteY5-476" fmla="*/ 5484315 h 7291226"/>
              <a:gd name="connsiteX6-477" fmla="*/ 299082 w 9397013"/>
              <a:gd name="connsiteY6-478" fmla="*/ 5067791 h 7291226"/>
              <a:gd name="connsiteX7-479" fmla="*/ 4106456 w 9397013"/>
              <a:gd name="connsiteY7-480" fmla="*/ 55057 h 7291226"/>
              <a:gd name="connsiteX8-481" fmla="*/ 4585079 w 9397013"/>
              <a:gd name="connsiteY8-482" fmla="*/ 89119 h 7291226"/>
              <a:gd name="connsiteX9-483" fmla="*/ 488220 w 9397013"/>
              <a:gd name="connsiteY9-484" fmla="*/ 5484315 h 7291226"/>
              <a:gd name="connsiteX10-485" fmla="*/ 779421 w 9397013"/>
              <a:gd name="connsiteY10-486" fmla="*/ 6125606 h 7291226"/>
              <a:gd name="connsiteX11-487" fmla="*/ 618065 w 9397013"/>
              <a:gd name="connsiteY11-488" fmla="*/ 5770263 h 7291226"/>
              <a:gd name="connsiteX12-489" fmla="*/ 4897528 w 9397013"/>
              <a:gd name="connsiteY12-490" fmla="*/ 111354 h 7291226"/>
              <a:gd name="connsiteX13-491" fmla="*/ 5324893 w 9397013"/>
              <a:gd name="connsiteY13-492" fmla="*/ 141768 h 7291226"/>
              <a:gd name="connsiteX14-493" fmla="*/ 779421 w 9397013"/>
              <a:gd name="connsiteY14-494" fmla="*/ 6125606 h 7291226"/>
              <a:gd name="connsiteX15-495" fmla="*/ 1099910 w 9397013"/>
              <a:gd name="connsiteY15-496" fmla="*/ 6831395 h 7291226"/>
              <a:gd name="connsiteX16-497" fmla="*/ 919656 w 9397013"/>
              <a:gd name="connsiteY16-498" fmla="*/ 6434435 h 7291226"/>
              <a:gd name="connsiteX17-499" fmla="*/ 5668965 w 9397013"/>
              <a:gd name="connsiteY17-500" fmla="*/ 166254 h 7291226"/>
              <a:gd name="connsiteX18-501" fmla="*/ 6114044 w 9397013"/>
              <a:gd name="connsiteY18-502" fmla="*/ 197929 h 7291226"/>
              <a:gd name="connsiteX19-503" fmla="*/ 1099910 w 9397013"/>
              <a:gd name="connsiteY19-504" fmla="*/ 6831395 h 7291226"/>
              <a:gd name="connsiteX20-505" fmla="*/ 7106560 w 9397013"/>
              <a:gd name="connsiteY20-506" fmla="*/ 7291226 h 7291226"/>
              <a:gd name="connsiteX21-507" fmla="*/ 6670875 w 9397013"/>
              <a:gd name="connsiteY21-508" fmla="*/ 7291226 h 7291226"/>
              <a:gd name="connsiteX22-509" fmla="*/ 3849932 w 9397013"/>
              <a:gd name="connsiteY22-510" fmla="*/ 3596670 h 7291226"/>
              <a:gd name="connsiteX23-511" fmla="*/ 4086202 w 9397013"/>
              <a:gd name="connsiteY23-512" fmla="*/ 3287229 h 7291226"/>
              <a:gd name="connsiteX24-513" fmla="*/ 7106560 w 9397013"/>
              <a:gd name="connsiteY24-514" fmla="*/ 7291226 h 7291226"/>
              <a:gd name="connsiteX25-515" fmla="*/ 7934229 w 9397013"/>
              <a:gd name="connsiteY25-516" fmla="*/ 7291226 h 7291226"/>
              <a:gd name="connsiteX26-517" fmla="*/ 7444802 w 9397013"/>
              <a:gd name="connsiteY26-518" fmla="*/ 7291226 h 7291226"/>
              <a:gd name="connsiteX27-519" fmla="*/ 4245793 w 9397013"/>
              <a:gd name="connsiteY27-520" fmla="*/ 3078214 h 7291226"/>
              <a:gd name="connsiteX28-521" fmla="*/ 4490696 w 9397013"/>
              <a:gd name="connsiteY28-522" fmla="*/ 2757469 h 7291226"/>
              <a:gd name="connsiteX29-523" fmla="*/ 7934229 w 9397013"/>
              <a:gd name="connsiteY29-524" fmla="*/ 7291226 h 7291226"/>
              <a:gd name="connsiteX30-525" fmla="*/ 8567691 w 9397013"/>
              <a:gd name="connsiteY30-526" fmla="*/ 7124971 h 7291226"/>
              <a:gd name="connsiteX31-527" fmla="*/ 8159389 w 9397013"/>
              <a:gd name="connsiteY31-528" fmla="*/ 7134208 h 7291226"/>
              <a:gd name="connsiteX32-529" fmla="*/ 4650570 w 9397013"/>
              <a:gd name="connsiteY32-530" fmla="*/ 2548084 h 7291226"/>
              <a:gd name="connsiteX33-531" fmla="*/ 4869244 w 9397013"/>
              <a:gd name="connsiteY33-532" fmla="*/ 2261689 h 7291226"/>
              <a:gd name="connsiteX34-533" fmla="*/ 8567691 w 9397013"/>
              <a:gd name="connsiteY34-534" fmla="*/ 7124971 h 7291226"/>
              <a:gd name="connsiteX35-535" fmla="*/ 9397013 w 9397013"/>
              <a:gd name="connsiteY35-536" fmla="*/ 7134207 h 7291226"/>
              <a:gd name="connsiteX36-537" fmla="*/ 8921338 w 9397013"/>
              <a:gd name="connsiteY36-538" fmla="*/ 7115735 h 7291226"/>
              <a:gd name="connsiteX37-539" fmla="*/ 5045299 w 9397013"/>
              <a:gd name="connsiteY37-540" fmla="*/ 2031113 h 7291226"/>
              <a:gd name="connsiteX38-541" fmla="*/ 5273037 w 9397013"/>
              <a:gd name="connsiteY38-542" fmla="*/ 1732846 h 7291226"/>
              <a:gd name="connsiteX39-543" fmla="*/ 9397013 w 9397013"/>
              <a:gd name="connsiteY39-544" fmla="*/ 7134207 h 7291226"/>
              <a:gd name="connsiteX0-545" fmla="*/ 168369 w 9397013"/>
              <a:gd name="connsiteY0-546" fmla="*/ 4779933 h 7291226"/>
              <a:gd name="connsiteX1-547" fmla="*/ 0 w 9397013"/>
              <a:gd name="connsiteY1-548" fmla="*/ 4409146 h 7291226"/>
              <a:gd name="connsiteX2-549" fmla="*/ 3332806 w 9397013"/>
              <a:gd name="connsiteY2-550" fmla="*/ 0 h 7291226"/>
              <a:gd name="connsiteX3-551" fmla="*/ 3794560 w 9397013"/>
              <a:gd name="connsiteY3-552" fmla="*/ 32861 h 7291226"/>
              <a:gd name="connsiteX4-553" fmla="*/ 168369 w 9397013"/>
              <a:gd name="connsiteY4-554" fmla="*/ 4779933 h 7291226"/>
              <a:gd name="connsiteX5-555" fmla="*/ 488220 w 9397013"/>
              <a:gd name="connsiteY5-556" fmla="*/ 5484315 h 7291226"/>
              <a:gd name="connsiteX6-557" fmla="*/ 299082 w 9397013"/>
              <a:gd name="connsiteY6-558" fmla="*/ 5067791 h 7291226"/>
              <a:gd name="connsiteX7-559" fmla="*/ 4106456 w 9397013"/>
              <a:gd name="connsiteY7-560" fmla="*/ 55057 h 7291226"/>
              <a:gd name="connsiteX8-561" fmla="*/ 4585079 w 9397013"/>
              <a:gd name="connsiteY8-562" fmla="*/ 89119 h 7291226"/>
              <a:gd name="connsiteX9-563" fmla="*/ 488220 w 9397013"/>
              <a:gd name="connsiteY9-564" fmla="*/ 5484315 h 7291226"/>
              <a:gd name="connsiteX10-565" fmla="*/ 779421 w 9397013"/>
              <a:gd name="connsiteY10-566" fmla="*/ 6125606 h 7291226"/>
              <a:gd name="connsiteX11-567" fmla="*/ 618065 w 9397013"/>
              <a:gd name="connsiteY11-568" fmla="*/ 5770263 h 7291226"/>
              <a:gd name="connsiteX12-569" fmla="*/ 4897528 w 9397013"/>
              <a:gd name="connsiteY12-570" fmla="*/ 111354 h 7291226"/>
              <a:gd name="connsiteX13-571" fmla="*/ 5324893 w 9397013"/>
              <a:gd name="connsiteY13-572" fmla="*/ 141768 h 7291226"/>
              <a:gd name="connsiteX14-573" fmla="*/ 779421 w 9397013"/>
              <a:gd name="connsiteY14-574" fmla="*/ 6125606 h 7291226"/>
              <a:gd name="connsiteX15-575" fmla="*/ 1099910 w 9397013"/>
              <a:gd name="connsiteY15-576" fmla="*/ 6831395 h 7291226"/>
              <a:gd name="connsiteX16-577" fmla="*/ 919656 w 9397013"/>
              <a:gd name="connsiteY16-578" fmla="*/ 6434435 h 7291226"/>
              <a:gd name="connsiteX17-579" fmla="*/ 5668965 w 9397013"/>
              <a:gd name="connsiteY17-580" fmla="*/ 166254 h 7291226"/>
              <a:gd name="connsiteX18-581" fmla="*/ 6114044 w 9397013"/>
              <a:gd name="connsiteY18-582" fmla="*/ 197929 h 7291226"/>
              <a:gd name="connsiteX19-583" fmla="*/ 1099910 w 9397013"/>
              <a:gd name="connsiteY19-584" fmla="*/ 6831395 h 7291226"/>
              <a:gd name="connsiteX20-585" fmla="*/ 7106560 w 9397013"/>
              <a:gd name="connsiteY20-586" fmla="*/ 7291226 h 7291226"/>
              <a:gd name="connsiteX21-587" fmla="*/ 6670875 w 9397013"/>
              <a:gd name="connsiteY21-588" fmla="*/ 7291226 h 7291226"/>
              <a:gd name="connsiteX22-589" fmla="*/ 3849932 w 9397013"/>
              <a:gd name="connsiteY22-590" fmla="*/ 3596670 h 7291226"/>
              <a:gd name="connsiteX23-591" fmla="*/ 4086202 w 9397013"/>
              <a:gd name="connsiteY23-592" fmla="*/ 3287229 h 7291226"/>
              <a:gd name="connsiteX24-593" fmla="*/ 7106560 w 9397013"/>
              <a:gd name="connsiteY24-594" fmla="*/ 7291226 h 7291226"/>
              <a:gd name="connsiteX25-595" fmla="*/ 7777211 w 9397013"/>
              <a:gd name="connsiteY25-596" fmla="*/ 7124972 h 7291226"/>
              <a:gd name="connsiteX26-597" fmla="*/ 7444802 w 9397013"/>
              <a:gd name="connsiteY26-598" fmla="*/ 7291226 h 7291226"/>
              <a:gd name="connsiteX27-599" fmla="*/ 4245793 w 9397013"/>
              <a:gd name="connsiteY27-600" fmla="*/ 3078214 h 7291226"/>
              <a:gd name="connsiteX28-601" fmla="*/ 4490696 w 9397013"/>
              <a:gd name="connsiteY28-602" fmla="*/ 2757469 h 7291226"/>
              <a:gd name="connsiteX29-603" fmla="*/ 7777211 w 9397013"/>
              <a:gd name="connsiteY29-604" fmla="*/ 7124972 h 7291226"/>
              <a:gd name="connsiteX30-605" fmla="*/ 8567691 w 9397013"/>
              <a:gd name="connsiteY30-606" fmla="*/ 7124971 h 7291226"/>
              <a:gd name="connsiteX31-607" fmla="*/ 8159389 w 9397013"/>
              <a:gd name="connsiteY31-608" fmla="*/ 7134208 h 7291226"/>
              <a:gd name="connsiteX32-609" fmla="*/ 4650570 w 9397013"/>
              <a:gd name="connsiteY32-610" fmla="*/ 2548084 h 7291226"/>
              <a:gd name="connsiteX33-611" fmla="*/ 4869244 w 9397013"/>
              <a:gd name="connsiteY33-612" fmla="*/ 2261689 h 7291226"/>
              <a:gd name="connsiteX34-613" fmla="*/ 8567691 w 9397013"/>
              <a:gd name="connsiteY34-614" fmla="*/ 7124971 h 7291226"/>
              <a:gd name="connsiteX35-615" fmla="*/ 9397013 w 9397013"/>
              <a:gd name="connsiteY35-616" fmla="*/ 7134207 h 7291226"/>
              <a:gd name="connsiteX36-617" fmla="*/ 8921338 w 9397013"/>
              <a:gd name="connsiteY36-618" fmla="*/ 7115735 h 7291226"/>
              <a:gd name="connsiteX37-619" fmla="*/ 5045299 w 9397013"/>
              <a:gd name="connsiteY37-620" fmla="*/ 2031113 h 7291226"/>
              <a:gd name="connsiteX38-621" fmla="*/ 5273037 w 9397013"/>
              <a:gd name="connsiteY38-622" fmla="*/ 1732846 h 7291226"/>
              <a:gd name="connsiteX39-623" fmla="*/ 9397013 w 9397013"/>
              <a:gd name="connsiteY39-624" fmla="*/ 7134207 h 7291226"/>
              <a:gd name="connsiteX0-625" fmla="*/ 168369 w 9397013"/>
              <a:gd name="connsiteY0-626" fmla="*/ 4779933 h 7291226"/>
              <a:gd name="connsiteX1-627" fmla="*/ 0 w 9397013"/>
              <a:gd name="connsiteY1-628" fmla="*/ 4409146 h 7291226"/>
              <a:gd name="connsiteX2-629" fmla="*/ 3332806 w 9397013"/>
              <a:gd name="connsiteY2-630" fmla="*/ 0 h 7291226"/>
              <a:gd name="connsiteX3-631" fmla="*/ 3794560 w 9397013"/>
              <a:gd name="connsiteY3-632" fmla="*/ 32861 h 7291226"/>
              <a:gd name="connsiteX4-633" fmla="*/ 168369 w 9397013"/>
              <a:gd name="connsiteY4-634" fmla="*/ 4779933 h 7291226"/>
              <a:gd name="connsiteX5-635" fmla="*/ 488220 w 9397013"/>
              <a:gd name="connsiteY5-636" fmla="*/ 5484315 h 7291226"/>
              <a:gd name="connsiteX6-637" fmla="*/ 299082 w 9397013"/>
              <a:gd name="connsiteY6-638" fmla="*/ 5067791 h 7291226"/>
              <a:gd name="connsiteX7-639" fmla="*/ 4106456 w 9397013"/>
              <a:gd name="connsiteY7-640" fmla="*/ 55057 h 7291226"/>
              <a:gd name="connsiteX8-641" fmla="*/ 4585079 w 9397013"/>
              <a:gd name="connsiteY8-642" fmla="*/ 89119 h 7291226"/>
              <a:gd name="connsiteX9-643" fmla="*/ 488220 w 9397013"/>
              <a:gd name="connsiteY9-644" fmla="*/ 5484315 h 7291226"/>
              <a:gd name="connsiteX10-645" fmla="*/ 779421 w 9397013"/>
              <a:gd name="connsiteY10-646" fmla="*/ 6125606 h 7291226"/>
              <a:gd name="connsiteX11-647" fmla="*/ 618065 w 9397013"/>
              <a:gd name="connsiteY11-648" fmla="*/ 5770263 h 7291226"/>
              <a:gd name="connsiteX12-649" fmla="*/ 4897528 w 9397013"/>
              <a:gd name="connsiteY12-650" fmla="*/ 111354 h 7291226"/>
              <a:gd name="connsiteX13-651" fmla="*/ 5324893 w 9397013"/>
              <a:gd name="connsiteY13-652" fmla="*/ 141768 h 7291226"/>
              <a:gd name="connsiteX14-653" fmla="*/ 779421 w 9397013"/>
              <a:gd name="connsiteY14-654" fmla="*/ 6125606 h 7291226"/>
              <a:gd name="connsiteX15-655" fmla="*/ 1099910 w 9397013"/>
              <a:gd name="connsiteY15-656" fmla="*/ 6831395 h 7291226"/>
              <a:gd name="connsiteX16-657" fmla="*/ 919656 w 9397013"/>
              <a:gd name="connsiteY16-658" fmla="*/ 6434435 h 7291226"/>
              <a:gd name="connsiteX17-659" fmla="*/ 5668965 w 9397013"/>
              <a:gd name="connsiteY17-660" fmla="*/ 166254 h 7291226"/>
              <a:gd name="connsiteX18-661" fmla="*/ 6114044 w 9397013"/>
              <a:gd name="connsiteY18-662" fmla="*/ 197929 h 7291226"/>
              <a:gd name="connsiteX19-663" fmla="*/ 1099910 w 9397013"/>
              <a:gd name="connsiteY19-664" fmla="*/ 6831395 h 7291226"/>
              <a:gd name="connsiteX20-665" fmla="*/ 7106560 w 9397013"/>
              <a:gd name="connsiteY20-666" fmla="*/ 7291226 h 7291226"/>
              <a:gd name="connsiteX21-667" fmla="*/ 6670875 w 9397013"/>
              <a:gd name="connsiteY21-668" fmla="*/ 7291226 h 7291226"/>
              <a:gd name="connsiteX22-669" fmla="*/ 3849932 w 9397013"/>
              <a:gd name="connsiteY22-670" fmla="*/ 3596670 h 7291226"/>
              <a:gd name="connsiteX23-671" fmla="*/ 4086202 w 9397013"/>
              <a:gd name="connsiteY23-672" fmla="*/ 3287229 h 7291226"/>
              <a:gd name="connsiteX24-673" fmla="*/ 7106560 w 9397013"/>
              <a:gd name="connsiteY24-674" fmla="*/ 7291226 h 7291226"/>
              <a:gd name="connsiteX25-675" fmla="*/ 7777211 w 9397013"/>
              <a:gd name="connsiteY25-676" fmla="*/ 7124972 h 7291226"/>
              <a:gd name="connsiteX26-677" fmla="*/ 7324729 w 9397013"/>
              <a:gd name="connsiteY26-678" fmla="*/ 7124972 h 7291226"/>
              <a:gd name="connsiteX27-679" fmla="*/ 4245793 w 9397013"/>
              <a:gd name="connsiteY27-680" fmla="*/ 3078214 h 7291226"/>
              <a:gd name="connsiteX28-681" fmla="*/ 4490696 w 9397013"/>
              <a:gd name="connsiteY28-682" fmla="*/ 2757469 h 7291226"/>
              <a:gd name="connsiteX29-683" fmla="*/ 7777211 w 9397013"/>
              <a:gd name="connsiteY29-684" fmla="*/ 7124972 h 7291226"/>
              <a:gd name="connsiteX30-685" fmla="*/ 8567691 w 9397013"/>
              <a:gd name="connsiteY30-686" fmla="*/ 7124971 h 7291226"/>
              <a:gd name="connsiteX31-687" fmla="*/ 8159389 w 9397013"/>
              <a:gd name="connsiteY31-688" fmla="*/ 7134208 h 7291226"/>
              <a:gd name="connsiteX32-689" fmla="*/ 4650570 w 9397013"/>
              <a:gd name="connsiteY32-690" fmla="*/ 2548084 h 7291226"/>
              <a:gd name="connsiteX33-691" fmla="*/ 4869244 w 9397013"/>
              <a:gd name="connsiteY33-692" fmla="*/ 2261689 h 7291226"/>
              <a:gd name="connsiteX34-693" fmla="*/ 8567691 w 9397013"/>
              <a:gd name="connsiteY34-694" fmla="*/ 7124971 h 7291226"/>
              <a:gd name="connsiteX35-695" fmla="*/ 9397013 w 9397013"/>
              <a:gd name="connsiteY35-696" fmla="*/ 7134207 h 7291226"/>
              <a:gd name="connsiteX36-697" fmla="*/ 8921338 w 9397013"/>
              <a:gd name="connsiteY36-698" fmla="*/ 7115735 h 7291226"/>
              <a:gd name="connsiteX37-699" fmla="*/ 5045299 w 9397013"/>
              <a:gd name="connsiteY37-700" fmla="*/ 2031113 h 7291226"/>
              <a:gd name="connsiteX38-701" fmla="*/ 5273037 w 9397013"/>
              <a:gd name="connsiteY38-702" fmla="*/ 1732846 h 7291226"/>
              <a:gd name="connsiteX39-703" fmla="*/ 9397013 w 9397013"/>
              <a:gd name="connsiteY39-704" fmla="*/ 7134207 h 7291226"/>
              <a:gd name="connsiteX0-705" fmla="*/ 168369 w 9397013"/>
              <a:gd name="connsiteY0-706" fmla="*/ 4779933 h 7291226"/>
              <a:gd name="connsiteX1-707" fmla="*/ 0 w 9397013"/>
              <a:gd name="connsiteY1-708" fmla="*/ 4409146 h 7291226"/>
              <a:gd name="connsiteX2-709" fmla="*/ 3332806 w 9397013"/>
              <a:gd name="connsiteY2-710" fmla="*/ 0 h 7291226"/>
              <a:gd name="connsiteX3-711" fmla="*/ 3794560 w 9397013"/>
              <a:gd name="connsiteY3-712" fmla="*/ 32861 h 7291226"/>
              <a:gd name="connsiteX4-713" fmla="*/ 168369 w 9397013"/>
              <a:gd name="connsiteY4-714" fmla="*/ 4779933 h 7291226"/>
              <a:gd name="connsiteX5-715" fmla="*/ 488220 w 9397013"/>
              <a:gd name="connsiteY5-716" fmla="*/ 5484315 h 7291226"/>
              <a:gd name="connsiteX6-717" fmla="*/ 299082 w 9397013"/>
              <a:gd name="connsiteY6-718" fmla="*/ 5067791 h 7291226"/>
              <a:gd name="connsiteX7-719" fmla="*/ 4106456 w 9397013"/>
              <a:gd name="connsiteY7-720" fmla="*/ 55057 h 7291226"/>
              <a:gd name="connsiteX8-721" fmla="*/ 4585079 w 9397013"/>
              <a:gd name="connsiteY8-722" fmla="*/ 89119 h 7291226"/>
              <a:gd name="connsiteX9-723" fmla="*/ 488220 w 9397013"/>
              <a:gd name="connsiteY9-724" fmla="*/ 5484315 h 7291226"/>
              <a:gd name="connsiteX10-725" fmla="*/ 779421 w 9397013"/>
              <a:gd name="connsiteY10-726" fmla="*/ 6125606 h 7291226"/>
              <a:gd name="connsiteX11-727" fmla="*/ 618065 w 9397013"/>
              <a:gd name="connsiteY11-728" fmla="*/ 5770263 h 7291226"/>
              <a:gd name="connsiteX12-729" fmla="*/ 4897528 w 9397013"/>
              <a:gd name="connsiteY12-730" fmla="*/ 111354 h 7291226"/>
              <a:gd name="connsiteX13-731" fmla="*/ 5324893 w 9397013"/>
              <a:gd name="connsiteY13-732" fmla="*/ 141768 h 7291226"/>
              <a:gd name="connsiteX14-733" fmla="*/ 779421 w 9397013"/>
              <a:gd name="connsiteY14-734" fmla="*/ 6125606 h 7291226"/>
              <a:gd name="connsiteX15-735" fmla="*/ 1099910 w 9397013"/>
              <a:gd name="connsiteY15-736" fmla="*/ 6831395 h 7291226"/>
              <a:gd name="connsiteX16-737" fmla="*/ 919656 w 9397013"/>
              <a:gd name="connsiteY16-738" fmla="*/ 6434435 h 7291226"/>
              <a:gd name="connsiteX17-739" fmla="*/ 5668965 w 9397013"/>
              <a:gd name="connsiteY17-740" fmla="*/ 166254 h 7291226"/>
              <a:gd name="connsiteX18-741" fmla="*/ 6114044 w 9397013"/>
              <a:gd name="connsiteY18-742" fmla="*/ 197929 h 7291226"/>
              <a:gd name="connsiteX19-743" fmla="*/ 1099910 w 9397013"/>
              <a:gd name="connsiteY19-744" fmla="*/ 6831395 h 7291226"/>
              <a:gd name="connsiteX20-745" fmla="*/ 6968015 w 9397013"/>
              <a:gd name="connsiteY20-746" fmla="*/ 7143444 h 7291226"/>
              <a:gd name="connsiteX21-747" fmla="*/ 6670875 w 9397013"/>
              <a:gd name="connsiteY21-748" fmla="*/ 7291226 h 7291226"/>
              <a:gd name="connsiteX22-749" fmla="*/ 3849932 w 9397013"/>
              <a:gd name="connsiteY22-750" fmla="*/ 3596670 h 7291226"/>
              <a:gd name="connsiteX23-751" fmla="*/ 4086202 w 9397013"/>
              <a:gd name="connsiteY23-752" fmla="*/ 3287229 h 7291226"/>
              <a:gd name="connsiteX24-753" fmla="*/ 6968015 w 9397013"/>
              <a:gd name="connsiteY24-754" fmla="*/ 7143444 h 7291226"/>
              <a:gd name="connsiteX25-755" fmla="*/ 7777211 w 9397013"/>
              <a:gd name="connsiteY25-756" fmla="*/ 7124972 h 7291226"/>
              <a:gd name="connsiteX26-757" fmla="*/ 7324729 w 9397013"/>
              <a:gd name="connsiteY26-758" fmla="*/ 7124972 h 7291226"/>
              <a:gd name="connsiteX27-759" fmla="*/ 4245793 w 9397013"/>
              <a:gd name="connsiteY27-760" fmla="*/ 3078214 h 7291226"/>
              <a:gd name="connsiteX28-761" fmla="*/ 4490696 w 9397013"/>
              <a:gd name="connsiteY28-762" fmla="*/ 2757469 h 7291226"/>
              <a:gd name="connsiteX29-763" fmla="*/ 7777211 w 9397013"/>
              <a:gd name="connsiteY29-764" fmla="*/ 7124972 h 7291226"/>
              <a:gd name="connsiteX30-765" fmla="*/ 8567691 w 9397013"/>
              <a:gd name="connsiteY30-766" fmla="*/ 7124971 h 7291226"/>
              <a:gd name="connsiteX31-767" fmla="*/ 8159389 w 9397013"/>
              <a:gd name="connsiteY31-768" fmla="*/ 7134208 h 7291226"/>
              <a:gd name="connsiteX32-769" fmla="*/ 4650570 w 9397013"/>
              <a:gd name="connsiteY32-770" fmla="*/ 2548084 h 7291226"/>
              <a:gd name="connsiteX33-771" fmla="*/ 4869244 w 9397013"/>
              <a:gd name="connsiteY33-772" fmla="*/ 2261689 h 7291226"/>
              <a:gd name="connsiteX34-773" fmla="*/ 8567691 w 9397013"/>
              <a:gd name="connsiteY34-774" fmla="*/ 7124971 h 7291226"/>
              <a:gd name="connsiteX35-775" fmla="*/ 9397013 w 9397013"/>
              <a:gd name="connsiteY35-776" fmla="*/ 7134207 h 7291226"/>
              <a:gd name="connsiteX36-777" fmla="*/ 8921338 w 9397013"/>
              <a:gd name="connsiteY36-778" fmla="*/ 7115735 h 7291226"/>
              <a:gd name="connsiteX37-779" fmla="*/ 5045299 w 9397013"/>
              <a:gd name="connsiteY37-780" fmla="*/ 2031113 h 7291226"/>
              <a:gd name="connsiteX38-781" fmla="*/ 5273037 w 9397013"/>
              <a:gd name="connsiteY38-782" fmla="*/ 1732846 h 7291226"/>
              <a:gd name="connsiteX39-783" fmla="*/ 9397013 w 9397013"/>
              <a:gd name="connsiteY39-784" fmla="*/ 7134207 h 7291226"/>
              <a:gd name="connsiteX0-785" fmla="*/ 168369 w 9397013"/>
              <a:gd name="connsiteY0-786" fmla="*/ 4779933 h 7143444"/>
              <a:gd name="connsiteX1-787" fmla="*/ 0 w 9397013"/>
              <a:gd name="connsiteY1-788" fmla="*/ 4409146 h 7143444"/>
              <a:gd name="connsiteX2-789" fmla="*/ 3332806 w 9397013"/>
              <a:gd name="connsiteY2-790" fmla="*/ 0 h 7143444"/>
              <a:gd name="connsiteX3-791" fmla="*/ 3794560 w 9397013"/>
              <a:gd name="connsiteY3-792" fmla="*/ 32861 h 7143444"/>
              <a:gd name="connsiteX4-793" fmla="*/ 168369 w 9397013"/>
              <a:gd name="connsiteY4-794" fmla="*/ 4779933 h 7143444"/>
              <a:gd name="connsiteX5-795" fmla="*/ 488220 w 9397013"/>
              <a:gd name="connsiteY5-796" fmla="*/ 5484315 h 7143444"/>
              <a:gd name="connsiteX6-797" fmla="*/ 299082 w 9397013"/>
              <a:gd name="connsiteY6-798" fmla="*/ 5067791 h 7143444"/>
              <a:gd name="connsiteX7-799" fmla="*/ 4106456 w 9397013"/>
              <a:gd name="connsiteY7-800" fmla="*/ 55057 h 7143444"/>
              <a:gd name="connsiteX8-801" fmla="*/ 4585079 w 9397013"/>
              <a:gd name="connsiteY8-802" fmla="*/ 89119 h 7143444"/>
              <a:gd name="connsiteX9-803" fmla="*/ 488220 w 9397013"/>
              <a:gd name="connsiteY9-804" fmla="*/ 5484315 h 7143444"/>
              <a:gd name="connsiteX10-805" fmla="*/ 779421 w 9397013"/>
              <a:gd name="connsiteY10-806" fmla="*/ 6125606 h 7143444"/>
              <a:gd name="connsiteX11-807" fmla="*/ 618065 w 9397013"/>
              <a:gd name="connsiteY11-808" fmla="*/ 5770263 h 7143444"/>
              <a:gd name="connsiteX12-809" fmla="*/ 4897528 w 9397013"/>
              <a:gd name="connsiteY12-810" fmla="*/ 111354 h 7143444"/>
              <a:gd name="connsiteX13-811" fmla="*/ 5324893 w 9397013"/>
              <a:gd name="connsiteY13-812" fmla="*/ 141768 h 7143444"/>
              <a:gd name="connsiteX14-813" fmla="*/ 779421 w 9397013"/>
              <a:gd name="connsiteY14-814" fmla="*/ 6125606 h 7143444"/>
              <a:gd name="connsiteX15-815" fmla="*/ 1099910 w 9397013"/>
              <a:gd name="connsiteY15-816" fmla="*/ 6831395 h 7143444"/>
              <a:gd name="connsiteX16-817" fmla="*/ 919656 w 9397013"/>
              <a:gd name="connsiteY16-818" fmla="*/ 6434435 h 7143444"/>
              <a:gd name="connsiteX17-819" fmla="*/ 5668965 w 9397013"/>
              <a:gd name="connsiteY17-820" fmla="*/ 166254 h 7143444"/>
              <a:gd name="connsiteX18-821" fmla="*/ 6114044 w 9397013"/>
              <a:gd name="connsiteY18-822" fmla="*/ 197929 h 7143444"/>
              <a:gd name="connsiteX19-823" fmla="*/ 1099910 w 9397013"/>
              <a:gd name="connsiteY19-824" fmla="*/ 6831395 h 7143444"/>
              <a:gd name="connsiteX20-825" fmla="*/ 6968015 w 9397013"/>
              <a:gd name="connsiteY20-826" fmla="*/ 7143444 h 7143444"/>
              <a:gd name="connsiteX21-827" fmla="*/ 6550802 w 9397013"/>
              <a:gd name="connsiteY21-828" fmla="*/ 7143444 h 7143444"/>
              <a:gd name="connsiteX22-829" fmla="*/ 3849932 w 9397013"/>
              <a:gd name="connsiteY22-830" fmla="*/ 3596670 h 7143444"/>
              <a:gd name="connsiteX23-831" fmla="*/ 4086202 w 9397013"/>
              <a:gd name="connsiteY23-832" fmla="*/ 3287229 h 7143444"/>
              <a:gd name="connsiteX24-833" fmla="*/ 6968015 w 9397013"/>
              <a:gd name="connsiteY24-834" fmla="*/ 7143444 h 7143444"/>
              <a:gd name="connsiteX25-835" fmla="*/ 7777211 w 9397013"/>
              <a:gd name="connsiteY25-836" fmla="*/ 7124972 h 7143444"/>
              <a:gd name="connsiteX26-837" fmla="*/ 7324729 w 9397013"/>
              <a:gd name="connsiteY26-838" fmla="*/ 7124972 h 7143444"/>
              <a:gd name="connsiteX27-839" fmla="*/ 4245793 w 9397013"/>
              <a:gd name="connsiteY27-840" fmla="*/ 3078214 h 7143444"/>
              <a:gd name="connsiteX28-841" fmla="*/ 4490696 w 9397013"/>
              <a:gd name="connsiteY28-842" fmla="*/ 2757469 h 7143444"/>
              <a:gd name="connsiteX29-843" fmla="*/ 7777211 w 9397013"/>
              <a:gd name="connsiteY29-844" fmla="*/ 7124972 h 7143444"/>
              <a:gd name="connsiteX30-845" fmla="*/ 8567691 w 9397013"/>
              <a:gd name="connsiteY30-846" fmla="*/ 7124971 h 7143444"/>
              <a:gd name="connsiteX31-847" fmla="*/ 8159389 w 9397013"/>
              <a:gd name="connsiteY31-848" fmla="*/ 7134208 h 7143444"/>
              <a:gd name="connsiteX32-849" fmla="*/ 4650570 w 9397013"/>
              <a:gd name="connsiteY32-850" fmla="*/ 2548084 h 7143444"/>
              <a:gd name="connsiteX33-851" fmla="*/ 4869244 w 9397013"/>
              <a:gd name="connsiteY33-852" fmla="*/ 2261689 h 7143444"/>
              <a:gd name="connsiteX34-853" fmla="*/ 8567691 w 9397013"/>
              <a:gd name="connsiteY34-854" fmla="*/ 7124971 h 7143444"/>
              <a:gd name="connsiteX35-855" fmla="*/ 9397013 w 9397013"/>
              <a:gd name="connsiteY35-856" fmla="*/ 7134207 h 7143444"/>
              <a:gd name="connsiteX36-857" fmla="*/ 8921338 w 9397013"/>
              <a:gd name="connsiteY36-858" fmla="*/ 7115735 h 7143444"/>
              <a:gd name="connsiteX37-859" fmla="*/ 5045299 w 9397013"/>
              <a:gd name="connsiteY37-860" fmla="*/ 2031113 h 7143444"/>
              <a:gd name="connsiteX38-861" fmla="*/ 5273037 w 9397013"/>
              <a:gd name="connsiteY38-862" fmla="*/ 1732846 h 7143444"/>
              <a:gd name="connsiteX39-863" fmla="*/ 9397013 w 9397013"/>
              <a:gd name="connsiteY39-864" fmla="*/ 7134207 h 7143444"/>
              <a:gd name="connsiteX0-865" fmla="*/ 168369 w 9397013"/>
              <a:gd name="connsiteY0-866" fmla="*/ 4779933 h 7143444"/>
              <a:gd name="connsiteX1-867" fmla="*/ 0 w 9397013"/>
              <a:gd name="connsiteY1-868" fmla="*/ 4409146 h 7143444"/>
              <a:gd name="connsiteX2-869" fmla="*/ 3332806 w 9397013"/>
              <a:gd name="connsiteY2-870" fmla="*/ 0 h 7143444"/>
              <a:gd name="connsiteX3-871" fmla="*/ 3794560 w 9397013"/>
              <a:gd name="connsiteY3-872" fmla="*/ 32861 h 7143444"/>
              <a:gd name="connsiteX4-873" fmla="*/ 168369 w 9397013"/>
              <a:gd name="connsiteY4-874" fmla="*/ 4779933 h 7143444"/>
              <a:gd name="connsiteX5-875" fmla="*/ 488220 w 9397013"/>
              <a:gd name="connsiteY5-876" fmla="*/ 5484315 h 7143444"/>
              <a:gd name="connsiteX6-877" fmla="*/ 299082 w 9397013"/>
              <a:gd name="connsiteY6-878" fmla="*/ 5067791 h 7143444"/>
              <a:gd name="connsiteX7-879" fmla="*/ 4106456 w 9397013"/>
              <a:gd name="connsiteY7-880" fmla="*/ 55057 h 7143444"/>
              <a:gd name="connsiteX8-881" fmla="*/ 4585079 w 9397013"/>
              <a:gd name="connsiteY8-882" fmla="*/ 89119 h 7143444"/>
              <a:gd name="connsiteX9-883" fmla="*/ 488220 w 9397013"/>
              <a:gd name="connsiteY9-884" fmla="*/ 5484315 h 7143444"/>
              <a:gd name="connsiteX10-885" fmla="*/ 779421 w 9397013"/>
              <a:gd name="connsiteY10-886" fmla="*/ 6125606 h 7143444"/>
              <a:gd name="connsiteX11-887" fmla="*/ 618065 w 9397013"/>
              <a:gd name="connsiteY11-888" fmla="*/ 5770263 h 7143444"/>
              <a:gd name="connsiteX12-889" fmla="*/ 4897528 w 9397013"/>
              <a:gd name="connsiteY12-890" fmla="*/ 111354 h 7143444"/>
              <a:gd name="connsiteX13-891" fmla="*/ 5324893 w 9397013"/>
              <a:gd name="connsiteY13-892" fmla="*/ 141768 h 7143444"/>
              <a:gd name="connsiteX14-893" fmla="*/ 779421 w 9397013"/>
              <a:gd name="connsiteY14-894" fmla="*/ 6125606 h 7143444"/>
              <a:gd name="connsiteX15-895" fmla="*/ 1099910 w 9397013"/>
              <a:gd name="connsiteY15-896" fmla="*/ 6831395 h 7143444"/>
              <a:gd name="connsiteX16-897" fmla="*/ 919656 w 9397013"/>
              <a:gd name="connsiteY16-898" fmla="*/ 6434435 h 7143444"/>
              <a:gd name="connsiteX17-899" fmla="*/ 5668965 w 9397013"/>
              <a:gd name="connsiteY17-900" fmla="*/ 166254 h 7143444"/>
              <a:gd name="connsiteX18-901" fmla="*/ 6114044 w 9397013"/>
              <a:gd name="connsiteY18-902" fmla="*/ 197929 h 7143444"/>
              <a:gd name="connsiteX19-903" fmla="*/ 1099910 w 9397013"/>
              <a:gd name="connsiteY19-904" fmla="*/ 6831395 h 7143444"/>
              <a:gd name="connsiteX20-905" fmla="*/ 6958778 w 9397013"/>
              <a:gd name="connsiteY20-906" fmla="*/ 7124971 h 7143444"/>
              <a:gd name="connsiteX21-907" fmla="*/ 6550802 w 9397013"/>
              <a:gd name="connsiteY21-908" fmla="*/ 7143444 h 7143444"/>
              <a:gd name="connsiteX22-909" fmla="*/ 3849932 w 9397013"/>
              <a:gd name="connsiteY22-910" fmla="*/ 3596670 h 7143444"/>
              <a:gd name="connsiteX23-911" fmla="*/ 4086202 w 9397013"/>
              <a:gd name="connsiteY23-912" fmla="*/ 3287229 h 7143444"/>
              <a:gd name="connsiteX24-913" fmla="*/ 6958778 w 9397013"/>
              <a:gd name="connsiteY24-914" fmla="*/ 7124971 h 7143444"/>
              <a:gd name="connsiteX25-915" fmla="*/ 7777211 w 9397013"/>
              <a:gd name="connsiteY25-916" fmla="*/ 7124972 h 7143444"/>
              <a:gd name="connsiteX26-917" fmla="*/ 7324729 w 9397013"/>
              <a:gd name="connsiteY26-918" fmla="*/ 7124972 h 7143444"/>
              <a:gd name="connsiteX27-919" fmla="*/ 4245793 w 9397013"/>
              <a:gd name="connsiteY27-920" fmla="*/ 3078214 h 7143444"/>
              <a:gd name="connsiteX28-921" fmla="*/ 4490696 w 9397013"/>
              <a:gd name="connsiteY28-922" fmla="*/ 2757469 h 7143444"/>
              <a:gd name="connsiteX29-923" fmla="*/ 7777211 w 9397013"/>
              <a:gd name="connsiteY29-924" fmla="*/ 7124972 h 7143444"/>
              <a:gd name="connsiteX30-925" fmla="*/ 8567691 w 9397013"/>
              <a:gd name="connsiteY30-926" fmla="*/ 7124971 h 7143444"/>
              <a:gd name="connsiteX31-927" fmla="*/ 8159389 w 9397013"/>
              <a:gd name="connsiteY31-928" fmla="*/ 7134208 h 7143444"/>
              <a:gd name="connsiteX32-929" fmla="*/ 4650570 w 9397013"/>
              <a:gd name="connsiteY32-930" fmla="*/ 2548084 h 7143444"/>
              <a:gd name="connsiteX33-931" fmla="*/ 4869244 w 9397013"/>
              <a:gd name="connsiteY33-932" fmla="*/ 2261689 h 7143444"/>
              <a:gd name="connsiteX34-933" fmla="*/ 8567691 w 9397013"/>
              <a:gd name="connsiteY34-934" fmla="*/ 7124971 h 7143444"/>
              <a:gd name="connsiteX35-935" fmla="*/ 9397013 w 9397013"/>
              <a:gd name="connsiteY35-936" fmla="*/ 7134207 h 7143444"/>
              <a:gd name="connsiteX36-937" fmla="*/ 8921338 w 9397013"/>
              <a:gd name="connsiteY36-938" fmla="*/ 7115735 h 7143444"/>
              <a:gd name="connsiteX37-939" fmla="*/ 5045299 w 9397013"/>
              <a:gd name="connsiteY37-940" fmla="*/ 2031113 h 7143444"/>
              <a:gd name="connsiteX38-941" fmla="*/ 5273037 w 9397013"/>
              <a:gd name="connsiteY38-942" fmla="*/ 1732846 h 7143444"/>
              <a:gd name="connsiteX39-943" fmla="*/ 9397013 w 9397013"/>
              <a:gd name="connsiteY39-944" fmla="*/ 7134207 h 7143444"/>
              <a:gd name="connsiteX0-945" fmla="*/ 168369 w 9397013"/>
              <a:gd name="connsiteY0-946" fmla="*/ 4779933 h 7134208"/>
              <a:gd name="connsiteX1-947" fmla="*/ 0 w 9397013"/>
              <a:gd name="connsiteY1-948" fmla="*/ 4409146 h 7134208"/>
              <a:gd name="connsiteX2-949" fmla="*/ 3332806 w 9397013"/>
              <a:gd name="connsiteY2-950" fmla="*/ 0 h 7134208"/>
              <a:gd name="connsiteX3-951" fmla="*/ 3794560 w 9397013"/>
              <a:gd name="connsiteY3-952" fmla="*/ 32861 h 7134208"/>
              <a:gd name="connsiteX4-953" fmla="*/ 168369 w 9397013"/>
              <a:gd name="connsiteY4-954" fmla="*/ 4779933 h 7134208"/>
              <a:gd name="connsiteX5-955" fmla="*/ 488220 w 9397013"/>
              <a:gd name="connsiteY5-956" fmla="*/ 5484315 h 7134208"/>
              <a:gd name="connsiteX6-957" fmla="*/ 299082 w 9397013"/>
              <a:gd name="connsiteY6-958" fmla="*/ 5067791 h 7134208"/>
              <a:gd name="connsiteX7-959" fmla="*/ 4106456 w 9397013"/>
              <a:gd name="connsiteY7-960" fmla="*/ 55057 h 7134208"/>
              <a:gd name="connsiteX8-961" fmla="*/ 4585079 w 9397013"/>
              <a:gd name="connsiteY8-962" fmla="*/ 89119 h 7134208"/>
              <a:gd name="connsiteX9-963" fmla="*/ 488220 w 9397013"/>
              <a:gd name="connsiteY9-964" fmla="*/ 5484315 h 7134208"/>
              <a:gd name="connsiteX10-965" fmla="*/ 779421 w 9397013"/>
              <a:gd name="connsiteY10-966" fmla="*/ 6125606 h 7134208"/>
              <a:gd name="connsiteX11-967" fmla="*/ 618065 w 9397013"/>
              <a:gd name="connsiteY11-968" fmla="*/ 5770263 h 7134208"/>
              <a:gd name="connsiteX12-969" fmla="*/ 4897528 w 9397013"/>
              <a:gd name="connsiteY12-970" fmla="*/ 111354 h 7134208"/>
              <a:gd name="connsiteX13-971" fmla="*/ 5324893 w 9397013"/>
              <a:gd name="connsiteY13-972" fmla="*/ 141768 h 7134208"/>
              <a:gd name="connsiteX14-973" fmla="*/ 779421 w 9397013"/>
              <a:gd name="connsiteY14-974" fmla="*/ 6125606 h 7134208"/>
              <a:gd name="connsiteX15-975" fmla="*/ 1099910 w 9397013"/>
              <a:gd name="connsiteY15-976" fmla="*/ 6831395 h 7134208"/>
              <a:gd name="connsiteX16-977" fmla="*/ 919656 w 9397013"/>
              <a:gd name="connsiteY16-978" fmla="*/ 6434435 h 7134208"/>
              <a:gd name="connsiteX17-979" fmla="*/ 5668965 w 9397013"/>
              <a:gd name="connsiteY17-980" fmla="*/ 166254 h 7134208"/>
              <a:gd name="connsiteX18-981" fmla="*/ 6114044 w 9397013"/>
              <a:gd name="connsiteY18-982" fmla="*/ 197929 h 7134208"/>
              <a:gd name="connsiteX19-983" fmla="*/ 1099910 w 9397013"/>
              <a:gd name="connsiteY19-984" fmla="*/ 6831395 h 7134208"/>
              <a:gd name="connsiteX20-985" fmla="*/ 6958778 w 9397013"/>
              <a:gd name="connsiteY20-986" fmla="*/ 7124971 h 7134208"/>
              <a:gd name="connsiteX21-987" fmla="*/ 6541566 w 9397013"/>
              <a:gd name="connsiteY21-988" fmla="*/ 7115735 h 7134208"/>
              <a:gd name="connsiteX22-989" fmla="*/ 3849932 w 9397013"/>
              <a:gd name="connsiteY22-990" fmla="*/ 3596670 h 7134208"/>
              <a:gd name="connsiteX23-991" fmla="*/ 4086202 w 9397013"/>
              <a:gd name="connsiteY23-992" fmla="*/ 3287229 h 7134208"/>
              <a:gd name="connsiteX24-993" fmla="*/ 6958778 w 9397013"/>
              <a:gd name="connsiteY24-994" fmla="*/ 7124971 h 7134208"/>
              <a:gd name="connsiteX25-995" fmla="*/ 7777211 w 9397013"/>
              <a:gd name="connsiteY25-996" fmla="*/ 7124972 h 7134208"/>
              <a:gd name="connsiteX26-997" fmla="*/ 7324729 w 9397013"/>
              <a:gd name="connsiteY26-998" fmla="*/ 7124972 h 7134208"/>
              <a:gd name="connsiteX27-999" fmla="*/ 4245793 w 9397013"/>
              <a:gd name="connsiteY27-1000" fmla="*/ 3078214 h 7134208"/>
              <a:gd name="connsiteX28-1001" fmla="*/ 4490696 w 9397013"/>
              <a:gd name="connsiteY28-1002" fmla="*/ 2757469 h 7134208"/>
              <a:gd name="connsiteX29-1003" fmla="*/ 7777211 w 9397013"/>
              <a:gd name="connsiteY29-1004" fmla="*/ 7124972 h 7134208"/>
              <a:gd name="connsiteX30-1005" fmla="*/ 8567691 w 9397013"/>
              <a:gd name="connsiteY30-1006" fmla="*/ 7124971 h 7134208"/>
              <a:gd name="connsiteX31-1007" fmla="*/ 8159389 w 9397013"/>
              <a:gd name="connsiteY31-1008" fmla="*/ 7134208 h 7134208"/>
              <a:gd name="connsiteX32-1009" fmla="*/ 4650570 w 9397013"/>
              <a:gd name="connsiteY32-1010" fmla="*/ 2548084 h 7134208"/>
              <a:gd name="connsiteX33-1011" fmla="*/ 4869244 w 9397013"/>
              <a:gd name="connsiteY33-1012" fmla="*/ 2261689 h 7134208"/>
              <a:gd name="connsiteX34-1013" fmla="*/ 8567691 w 9397013"/>
              <a:gd name="connsiteY34-1014" fmla="*/ 7124971 h 7134208"/>
              <a:gd name="connsiteX35-1015" fmla="*/ 9397013 w 9397013"/>
              <a:gd name="connsiteY35-1016" fmla="*/ 7134207 h 7134208"/>
              <a:gd name="connsiteX36-1017" fmla="*/ 8921338 w 9397013"/>
              <a:gd name="connsiteY36-1018" fmla="*/ 7115735 h 7134208"/>
              <a:gd name="connsiteX37-1019" fmla="*/ 5045299 w 9397013"/>
              <a:gd name="connsiteY37-1020" fmla="*/ 2031113 h 7134208"/>
              <a:gd name="connsiteX38-1021" fmla="*/ 5273037 w 9397013"/>
              <a:gd name="connsiteY38-1022" fmla="*/ 1732846 h 7134208"/>
              <a:gd name="connsiteX39-1023" fmla="*/ 9397013 w 9397013"/>
              <a:gd name="connsiteY39-1024" fmla="*/ 7134207 h 7134208"/>
              <a:gd name="connsiteX0-1025" fmla="*/ 168369 w 9397013"/>
              <a:gd name="connsiteY0-1026" fmla="*/ 4779933 h 7134208"/>
              <a:gd name="connsiteX1-1027" fmla="*/ 0 w 9397013"/>
              <a:gd name="connsiteY1-1028" fmla="*/ 4409146 h 7134208"/>
              <a:gd name="connsiteX2-1029" fmla="*/ 3332806 w 9397013"/>
              <a:gd name="connsiteY2-1030" fmla="*/ 0 h 7134208"/>
              <a:gd name="connsiteX3-1031" fmla="*/ 3794560 w 9397013"/>
              <a:gd name="connsiteY3-1032" fmla="*/ 32861 h 7134208"/>
              <a:gd name="connsiteX4-1033" fmla="*/ 168369 w 9397013"/>
              <a:gd name="connsiteY4-1034" fmla="*/ 4779933 h 7134208"/>
              <a:gd name="connsiteX5-1035" fmla="*/ 488220 w 9397013"/>
              <a:gd name="connsiteY5-1036" fmla="*/ 5484315 h 7134208"/>
              <a:gd name="connsiteX6-1037" fmla="*/ 299082 w 9397013"/>
              <a:gd name="connsiteY6-1038" fmla="*/ 5067791 h 7134208"/>
              <a:gd name="connsiteX7-1039" fmla="*/ 4106456 w 9397013"/>
              <a:gd name="connsiteY7-1040" fmla="*/ 55057 h 7134208"/>
              <a:gd name="connsiteX8-1041" fmla="*/ 4585079 w 9397013"/>
              <a:gd name="connsiteY8-1042" fmla="*/ 89119 h 7134208"/>
              <a:gd name="connsiteX9-1043" fmla="*/ 488220 w 9397013"/>
              <a:gd name="connsiteY9-1044" fmla="*/ 5484315 h 7134208"/>
              <a:gd name="connsiteX10-1045" fmla="*/ 779421 w 9397013"/>
              <a:gd name="connsiteY10-1046" fmla="*/ 6125606 h 7134208"/>
              <a:gd name="connsiteX11-1047" fmla="*/ 618065 w 9397013"/>
              <a:gd name="connsiteY11-1048" fmla="*/ 5770263 h 7134208"/>
              <a:gd name="connsiteX12-1049" fmla="*/ 4897528 w 9397013"/>
              <a:gd name="connsiteY12-1050" fmla="*/ 111354 h 7134208"/>
              <a:gd name="connsiteX13-1051" fmla="*/ 5324893 w 9397013"/>
              <a:gd name="connsiteY13-1052" fmla="*/ 141768 h 7134208"/>
              <a:gd name="connsiteX14-1053" fmla="*/ 779421 w 9397013"/>
              <a:gd name="connsiteY14-1054" fmla="*/ 6125606 h 7134208"/>
              <a:gd name="connsiteX15-1055" fmla="*/ 1099910 w 9397013"/>
              <a:gd name="connsiteY15-1056" fmla="*/ 6831395 h 7134208"/>
              <a:gd name="connsiteX16-1057" fmla="*/ 919656 w 9397013"/>
              <a:gd name="connsiteY16-1058" fmla="*/ 6434435 h 7134208"/>
              <a:gd name="connsiteX17-1059" fmla="*/ 5668965 w 9397013"/>
              <a:gd name="connsiteY17-1060" fmla="*/ 166254 h 7134208"/>
              <a:gd name="connsiteX18-1061" fmla="*/ 6114044 w 9397013"/>
              <a:gd name="connsiteY18-1062" fmla="*/ 197929 h 7134208"/>
              <a:gd name="connsiteX19-1063" fmla="*/ 1099910 w 9397013"/>
              <a:gd name="connsiteY19-1064" fmla="*/ 6831395 h 7134208"/>
              <a:gd name="connsiteX20-1065" fmla="*/ 6958778 w 9397013"/>
              <a:gd name="connsiteY20-1066" fmla="*/ 7124971 h 7134208"/>
              <a:gd name="connsiteX21-1067" fmla="*/ 6560038 w 9397013"/>
              <a:gd name="connsiteY21-1068" fmla="*/ 7134207 h 7134208"/>
              <a:gd name="connsiteX22-1069" fmla="*/ 3849932 w 9397013"/>
              <a:gd name="connsiteY22-1070" fmla="*/ 3596670 h 7134208"/>
              <a:gd name="connsiteX23-1071" fmla="*/ 4086202 w 9397013"/>
              <a:gd name="connsiteY23-1072" fmla="*/ 3287229 h 7134208"/>
              <a:gd name="connsiteX24-1073" fmla="*/ 6958778 w 9397013"/>
              <a:gd name="connsiteY24-1074" fmla="*/ 7124971 h 7134208"/>
              <a:gd name="connsiteX25-1075" fmla="*/ 7777211 w 9397013"/>
              <a:gd name="connsiteY25-1076" fmla="*/ 7124972 h 7134208"/>
              <a:gd name="connsiteX26-1077" fmla="*/ 7324729 w 9397013"/>
              <a:gd name="connsiteY26-1078" fmla="*/ 7124972 h 7134208"/>
              <a:gd name="connsiteX27-1079" fmla="*/ 4245793 w 9397013"/>
              <a:gd name="connsiteY27-1080" fmla="*/ 3078214 h 7134208"/>
              <a:gd name="connsiteX28-1081" fmla="*/ 4490696 w 9397013"/>
              <a:gd name="connsiteY28-1082" fmla="*/ 2757469 h 7134208"/>
              <a:gd name="connsiteX29-1083" fmla="*/ 7777211 w 9397013"/>
              <a:gd name="connsiteY29-1084" fmla="*/ 7124972 h 7134208"/>
              <a:gd name="connsiteX30-1085" fmla="*/ 8567691 w 9397013"/>
              <a:gd name="connsiteY30-1086" fmla="*/ 7124971 h 7134208"/>
              <a:gd name="connsiteX31-1087" fmla="*/ 8159389 w 9397013"/>
              <a:gd name="connsiteY31-1088" fmla="*/ 7134208 h 7134208"/>
              <a:gd name="connsiteX32-1089" fmla="*/ 4650570 w 9397013"/>
              <a:gd name="connsiteY32-1090" fmla="*/ 2548084 h 7134208"/>
              <a:gd name="connsiteX33-1091" fmla="*/ 4869244 w 9397013"/>
              <a:gd name="connsiteY33-1092" fmla="*/ 2261689 h 7134208"/>
              <a:gd name="connsiteX34-1093" fmla="*/ 8567691 w 9397013"/>
              <a:gd name="connsiteY34-1094" fmla="*/ 7124971 h 7134208"/>
              <a:gd name="connsiteX35-1095" fmla="*/ 9397013 w 9397013"/>
              <a:gd name="connsiteY35-1096" fmla="*/ 7134207 h 7134208"/>
              <a:gd name="connsiteX36-1097" fmla="*/ 8921338 w 9397013"/>
              <a:gd name="connsiteY36-1098" fmla="*/ 7115735 h 7134208"/>
              <a:gd name="connsiteX37-1099" fmla="*/ 5045299 w 9397013"/>
              <a:gd name="connsiteY37-1100" fmla="*/ 2031113 h 7134208"/>
              <a:gd name="connsiteX38-1101" fmla="*/ 5273037 w 9397013"/>
              <a:gd name="connsiteY38-1102" fmla="*/ 1732846 h 7134208"/>
              <a:gd name="connsiteX39-1103" fmla="*/ 9397013 w 9397013"/>
              <a:gd name="connsiteY39-1104" fmla="*/ 7134207 h 7134208"/>
              <a:gd name="connsiteX0-1105" fmla="*/ 168369 w 9397013"/>
              <a:gd name="connsiteY0-1106" fmla="*/ 4779933 h 7134208"/>
              <a:gd name="connsiteX1-1107" fmla="*/ 0 w 9397013"/>
              <a:gd name="connsiteY1-1108" fmla="*/ 4409146 h 7134208"/>
              <a:gd name="connsiteX2-1109" fmla="*/ 3332806 w 9397013"/>
              <a:gd name="connsiteY2-1110" fmla="*/ 0 h 7134208"/>
              <a:gd name="connsiteX3-1111" fmla="*/ 3794560 w 9397013"/>
              <a:gd name="connsiteY3-1112" fmla="*/ 32861 h 7134208"/>
              <a:gd name="connsiteX4-1113" fmla="*/ 168369 w 9397013"/>
              <a:gd name="connsiteY4-1114" fmla="*/ 4779933 h 7134208"/>
              <a:gd name="connsiteX5-1115" fmla="*/ 488220 w 9397013"/>
              <a:gd name="connsiteY5-1116" fmla="*/ 5484315 h 7134208"/>
              <a:gd name="connsiteX6-1117" fmla="*/ 299082 w 9397013"/>
              <a:gd name="connsiteY6-1118" fmla="*/ 5067791 h 7134208"/>
              <a:gd name="connsiteX7-1119" fmla="*/ 4106456 w 9397013"/>
              <a:gd name="connsiteY7-1120" fmla="*/ 55057 h 7134208"/>
              <a:gd name="connsiteX8-1121" fmla="*/ 4585079 w 9397013"/>
              <a:gd name="connsiteY8-1122" fmla="*/ 89119 h 7134208"/>
              <a:gd name="connsiteX9-1123" fmla="*/ 488220 w 9397013"/>
              <a:gd name="connsiteY9-1124" fmla="*/ 5484315 h 7134208"/>
              <a:gd name="connsiteX10-1125" fmla="*/ 779421 w 9397013"/>
              <a:gd name="connsiteY10-1126" fmla="*/ 6125606 h 7134208"/>
              <a:gd name="connsiteX11-1127" fmla="*/ 618065 w 9397013"/>
              <a:gd name="connsiteY11-1128" fmla="*/ 5770263 h 7134208"/>
              <a:gd name="connsiteX12-1129" fmla="*/ 4897528 w 9397013"/>
              <a:gd name="connsiteY12-1130" fmla="*/ 111354 h 7134208"/>
              <a:gd name="connsiteX13-1131" fmla="*/ 5324893 w 9397013"/>
              <a:gd name="connsiteY13-1132" fmla="*/ 141768 h 7134208"/>
              <a:gd name="connsiteX14-1133" fmla="*/ 779421 w 9397013"/>
              <a:gd name="connsiteY14-1134" fmla="*/ 6125606 h 7134208"/>
              <a:gd name="connsiteX15-1135" fmla="*/ 1099910 w 9397013"/>
              <a:gd name="connsiteY15-1136" fmla="*/ 6831395 h 7134208"/>
              <a:gd name="connsiteX16-1137" fmla="*/ 919656 w 9397013"/>
              <a:gd name="connsiteY16-1138" fmla="*/ 6434435 h 7134208"/>
              <a:gd name="connsiteX17-1139" fmla="*/ 5668965 w 9397013"/>
              <a:gd name="connsiteY17-1140" fmla="*/ 166254 h 7134208"/>
              <a:gd name="connsiteX18-1141" fmla="*/ 6077099 w 9397013"/>
              <a:gd name="connsiteY18-1142" fmla="*/ 225638 h 7134208"/>
              <a:gd name="connsiteX19-1143" fmla="*/ 1099910 w 9397013"/>
              <a:gd name="connsiteY19-1144" fmla="*/ 6831395 h 7134208"/>
              <a:gd name="connsiteX20-1145" fmla="*/ 6958778 w 9397013"/>
              <a:gd name="connsiteY20-1146" fmla="*/ 7124971 h 7134208"/>
              <a:gd name="connsiteX21-1147" fmla="*/ 6560038 w 9397013"/>
              <a:gd name="connsiteY21-1148" fmla="*/ 7134207 h 7134208"/>
              <a:gd name="connsiteX22-1149" fmla="*/ 3849932 w 9397013"/>
              <a:gd name="connsiteY22-1150" fmla="*/ 3596670 h 7134208"/>
              <a:gd name="connsiteX23-1151" fmla="*/ 4086202 w 9397013"/>
              <a:gd name="connsiteY23-1152" fmla="*/ 3287229 h 7134208"/>
              <a:gd name="connsiteX24-1153" fmla="*/ 6958778 w 9397013"/>
              <a:gd name="connsiteY24-1154" fmla="*/ 7124971 h 7134208"/>
              <a:gd name="connsiteX25-1155" fmla="*/ 7777211 w 9397013"/>
              <a:gd name="connsiteY25-1156" fmla="*/ 7124972 h 7134208"/>
              <a:gd name="connsiteX26-1157" fmla="*/ 7324729 w 9397013"/>
              <a:gd name="connsiteY26-1158" fmla="*/ 7124972 h 7134208"/>
              <a:gd name="connsiteX27-1159" fmla="*/ 4245793 w 9397013"/>
              <a:gd name="connsiteY27-1160" fmla="*/ 3078214 h 7134208"/>
              <a:gd name="connsiteX28-1161" fmla="*/ 4490696 w 9397013"/>
              <a:gd name="connsiteY28-1162" fmla="*/ 2757469 h 7134208"/>
              <a:gd name="connsiteX29-1163" fmla="*/ 7777211 w 9397013"/>
              <a:gd name="connsiteY29-1164" fmla="*/ 7124972 h 7134208"/>
              <a:gd name="connsiteX30-1165" fmla="*/ 8567691 w 9397013"/>
              <a:gd name="connsiteY30-1166" fmla="*/ 7124971 h 7134208"/>
              <a:gd name="connsiteX31-1167" fmla="*/ 8159389 w 9397013"/>
              <a:gd name="connsiteY31-1168" fmla="*/ 7134208 h 7134208"/>
              <a:gd name="connsiteX32-1169" fmla="*/ 4650570 w 9397013"/>
              <a:gd name="connsiteY32-1170" fmla="*/ 2548084 h 7134208"/>
              <a:gd name="connsiteX33-1171" fmla="*/ 4869244 w 9397013"/>
              <a:gd name="connsiteY33-1172" fmla="*/ 2261689 h 7134208"/>
              <a:gd name="connsiteX34-1173" fmla="*/ 8567691 w 9397013"/>
              <a:gd name="connsiteY34-1174" fmla="*/ 7124971 h 7134208"/>
              <a:gd name="connsiteX35-1175" fmla="*/ 9397013 w 9397013"/>
              <a:gd name="connsiteY35-1176" fmla="*/ 7134207 h 7134208"/>
              <a:gd name="connsiteX36-1177" fmla="*/ 8921338 w 9397013"/>
              <a:gd name="connsiteY36-1178" fmla="*/ 7115735 h 7134208"/>
              <a:gd name="connsiteX37-1179" fmla="*/ 5045299 w 9397013"/>
              <a:gd name="connsiteY37-1180" fmla="*/ 2031113 h 7134208"/>
              <a:gd name="connsiteX38-1181" fmla="*/ 5273037 w 9397013"/>
              <a:gd name="connsiteY38-1182" fmla="*/ 1732846 h 7134208"/>
              <a:gd name="connsiteX39-1183" fmla="*/ 9397013 w 9397013"/>
              <a:gd name="connsiteY39-1184" fmla="*/ 7134207 h 7134208"/>
              <a:gd name="connsiteX0-1185" fmla="*/ 168369 w 9397013"/>
              <a:gd name="connsiteY0-1186" fmla="*/ 4779933 h 7134208"/>
              <a:gd name="connsiteX1-1187" fmla="*/ 0 w 9397013"/>
              <a:gd name="connsiteY1-1188" fmla="*/ 4409146 h 7134208"/>
              <a:gd name="connsiteX2-1189" fmla="*/ 3332806 w 9397013"/>
              <a:gd name="connsiteY2-1190" fmla="*/ 0 h 7134208"/>
              <a:gd name="connsiteX3-1191" fmla="*/ 3794560 w 9397013"/>
              <a:gd name="connsiteY3-1192" fmla="*/ 32861 h 7134208"/>
              <a:gd name="connsiteX4-1193" fmla="*/ 168369 w 9397013"/>
              <a:gd name="connsiteY4-1194" fmla="*/ 4779933 h 7134208"/>
              <a:gd name="connsiteX5-1195" fmla="*/ 488220 w 9397013"/>
              <a:gd name="connsiteY5-1196" fmla="*/ 5484315 h 7134208"/>
              <a:gd name="connsiteX6-1197" fmla="*/ 299082 w 9397013"/>
              <a:gd name="connsiteY6-1198" fmla="*/ 5067791 h 7134208"/>
              <a:gd name="connsiteX7-1199" fmla="*/ 4106456 w 9397013"/>
              <a:gd name="connsiteY7-1200" fmla="*/ 55057 h 7134208"/>
              <a:gd name="connsiteX8-1201" fmla="*/ 4585079 w 9397013"/>
              <a:gd name="connsiteY8-1202" fmla="*/ 89119 h 7134208"/>
              <a:gd name="connsiteX9-1203" fmla="*/ 488220 w 9397013"/>
              <a:gd name="connsiteY9-1204" fmla="*/ 5484315 h 7134208"/>
              <a:gd name="connsiteX10-1205" fmla="*/ 779421 w 9397013"/>
              <a:gd name="connsiteY10-1206" fmla="*/ 6125606 h 7134208"/>
              <a:gd name="connsiteX11-1207" fmla="*/ 618065 w 9397013"/>
              <a:gd name="connsiteY11-1208" fmla="*/ 5770263 h 7134208"/>
              <a:gd name="connsiteX12-1209" fmla="*/ 4897528 w 9397013"/>
              <a:gd name="connsiteY12-1210" fmla="*/ 111354 h 7134208"/>
              <a:gd name="connsiteX13-1211" fmla="*/ 5324893 w 9397013"/>
              <a:gd name="connsiteY13-1212" fmla="*/ 141768 h 7134208"/>
              <a:gd name="connsiteX14-1213" fmla="*/ 779421 w 9397013"/>
              <a:gd name="connsiteY14-1214" fmla="*/ 6125606 h 7134208"/>
              <a:gd name="connsiteX15-1215" fmla="*/ 1099910 w 9397013"/>
              <a:gd name="connsiteY15-1216" fmla="*/ 6831395 h 7134208"/>
              <a:gd name="connsiteX16-1217" fmla="*/ 919656 w 9397013"/>
              <a:gd name="connsiteY16-1218" fmla="*/ 6434435 h 7134208"/>
              <a:gd name="connsiteX17-1219" fmla="*/ 5613547 w 9397013"/>
              <a:gd name="connsiteY17-1220" fmla="*/ 240145 h 7134208"/>
              <a:gd name="connsiteX18-1221" fmla="*/ 6077099 w 9397013"/>
              <a:gd name="connsiteY18-1222" fmla="*/ 225638 h 7134208"/>
              <a:gd name="connsiteX19-1223" fmla="*/ 1099910 w 9397013"/>
              <a:gd name="connsiteY19-1224" fmla="*/ 6831395 h 7134208"/>
              <a:gd name="connsiteX20-1225" fmla="*/ 6958778 w 9397013"/>
              <a:gd name="connsiteY20-1226" fmla="*/ 7124971 h 7134208"/>
              <a:gd name="connsiteX21-1227" fmla="*/ 6560038 w 9397013"/>
              <a:gd name="connsiteY21-1228" fmla="*/ 7134207 h 7134208"/>
              <a:gd name="connsiteX22-1229" fmla="*/ 3849932 w 9397013"/>
              <a:gd name="connsiteY22-1230" fmla="*/ 3596670 h 7134208"/>
              <a:gd name="connsiteX23-1231" fmla="*/ 4086202 w 9397013"/>
              <a:gd name="connsiteY23-1232" fmla="*/ 3287229 h 7134208"/>
              <a:gd name="connsiteX24-1233" fmla="*/ 6958778 w 9397013"/>
              <a:gd name="connsiteY24-1234" fmla="*/ 7124971 h 7134208"/>
              <a:gd name="connsiteX25-1235" fmla="*/ 7777211 w 9397013"/>
              <a:gd name="connsiteY25-1236" fmla="*/ 7124972 h 7134208"/>
              <a:gd name="connsiteX26-1237" fmla="*/ 7324729 w 9397013"/>
              <a:gd name="connsiteY26-1238" fmla="*/ 7124972 h 7134208"/>
              <a:gd name="connsiteX27-1239" fmla="*/ 4245793 w 9397013"/>
              <a:gd name="connsiteY27-1240" fmla="*/ 3078214 h 7134208"/>
              <a:gd name="connsiteX28-1241" fmla="*/ 4490696 w 9397013"/>
              <a:gd name="connsiteY28-1242" fmla="*/ 2757469 h 7134208"/>
              <a:gd name="connsiteX29-1243" fmla="*/ 7777211 w 9397013"/>
              <a:gd name="connsiteY29-1244" fmla="*/ 7124972 h 7134208"/>
              <a:gd name="connsiteX30-1245" fmla="*/ 8567691 w 9397013"/>
              <a:gd name="connsiteY30-1246" fmla="*/ 7124971 h 7134208"/>
              <a:gd name="connsiteX31-1247" fmla="*/ 8159389 w 9397013"/>
              <a:gd name="connsiteY31-1248" fmla="*/ 7134208 h 7134208"/>
              <a:gd name="connsiteX32-1249" fmla="*/ 4650570 w 9397013"/>
              <a:gd name="connsiteY32-1250" fmla="*/ 2548084 h 7134208"/>
              <a:gd name="connsiteX33-1251" fmla="*/ 4869244 w 9397013"/>
              <a:gd name="connsiteY33-1252" fmla="*/ 2261689 h 7134208"/>
              <a:gd name="connsiteX34-1253" fmla="*/ 8567691 w 9397013"/>
              <a:gd name="connsiteY34-1254" fmla="*/ 7124971 h 7134208"/>
              <a:gd name="connsiteX35-1255" fmla="*/ 9397013 w 9397013"/>
              <a:gd name="connsiteY35-1256" fmla="*/ 7134207 h 7134208"/>
              <a:gd name="connsiteX36-1257" fmla="*/ 8921338 w 9397013"/>
              <a:gd name="connsiteY36-1258" fmla="*/ 7115735 h 7134208"/>
              <a:gd name="connsiteX37-1259" fmla="*/ 5045299 w 9397013"/>
              <a:gd name="connsiteY37-1260" fmla="*/ 2031113 h 7134208"/>
              <a:gd name="connsiteX38-1261" fmla="*/ 5273037 w 9397013"/>
              <a:gd name="connsiteY38-1262" fmla="*/ 1732846 h 7134208"/>
              <a:gd name="connsiteX39-1263" fmla="*/ 9397013 w 9397013"/>
              <a:gd name="connsiteY39-1264" fmla="*/ 7134207 h 7134208"/>
              <a:gd name="connsiteX0-1265" fmla="*/ 168369 w 9397013"/>
              <a:gd name="connsiteY0-1266" fmla="*/ 4779933 h 7134208"/>
              <a:gd name="connsiteX1-1267" fmla="*/ 0 w 9397013"/>
              <a:gd name="connsiteY1-1268" fmla="*/ 4409146 h 7134208"/>
              <a:gd name="connsiteX2-1269" fmla="*/ 3332806 w 9397013"/>
              <a:gd name="connsiteY2-1270" fmla="*/ 0 h 7134208"/>
              <a:gd name="connsiteX3-1271" fmla="*/ 3794560 w 9397013"/>
              <a:gd name="connsiteY3-1272" fmla="*/ 32861 h 7134208"/>
              <a:gd name="connsiteX4-1273" fmla="*/ 168369 w 9397013"/>
              <a:gd name="connsiteY4-1274" fmla="*/ 4779933 h 7134208"/>
              <a:gd name="connsiteX5-1275" fmla="*/ 488220 w 9397013"/>
              <a:gd name="connsiteY5-1276" fmla="*/ 5484315 h 7134208"/>
              <a:gd name="connsiteX6-1277" fmla="*/ 299082 w 9397013"/>
              <a:gd name="connsiteY6-1278" fmla="*/ 5067791 h 7134208"/>
              <a:gd name="connsiteX7-1279" fmla="*/ 4106456 w 9397013"/>
              <a:gd name="connsiteY7-1280" fmla="*/ 55057 h 7134208"/>
              <a:gd name="connsiteX8-1281" fmla="*/ 4585079 w 9397013"/>
              <a:gd name="connsiteY8-1282" fmla="*/ 89119 h 7134208"/>
              <a:gd name="connsiteX9-1283" fmla="*/ 488220 w 9397013"/>
              <a:gd name="connsiteY9-1284" fmla="*/ 5484315 h 7134208"/>
              <a:gd name="connsiteX10-1285" fmla="*/ 779421 w 9397013"/>
              <a:gd name="connsiteY10-1286" fmla="*/ 6125606 h 7134208"/>
              <a:gd name="connsiteX11-1287" fmla="*/ 618065 w 9397013"/>
              <a:gd name="connsiteY11-1288" fmla="*/ 5770263 h 7134208"/>
              <a:gd name="connsiteX12-1289" fmla="*/ 4897528 w 9397013"/>
              <a:gd name="connsiteY12-1290" fmla="*/ 111354 h 7134208"/>
              <a:gd name="connsiteX13-1291" fmla="*/ 5324893 w 9397013"/>
              <a:gd name="connsiteY13-1292" fmla="*/ 141768 h 7134208"/>
              <a:gd name="connsiteX14-1293" fmla="*/ 779421 w 9397013"/>
              <a:gd name="connsiteY14-1294" fmla="*/ 6125606 h 7134208"/>
              <a:gd name="connsiteX15-1295" fmla="*/ 1099910 w 9397013"/>
              <a:gd name="connsiteY15-1296" fmla="*/ 6831395 h 7134208"/>
              <a:gd name="connsiteX16-1297" fmla="*/ 919656 w 9397013"/>
              <a:gd name="connsiteY16-1298" fmla="*/ 6434435 h 7134208"/>
              <a:gd name="connsiteX17-1299" fmla="*/ 5641256 w 9397013"/>
              <a:gd name="connsiteY17-1300" fmla="*/ 212436 h 7134208"/>
              <a:gd name="connsiteX18-1301" fmla="*/ 6077099 w 9397013"/>
              <a:gd name="connsiteY18-1302" fmla="*/ 225638 h 7134208"/>
              <a:gd name="connsiteX19-1303" fmla="*/ 1099910 w 9397013"/>
              <a:gd name="connsiteY19-1304" fmla="*/ 6831395 h 7134208"/>
              <a:gd name="connsiteX20-1305" fmla="*/ 6958778 w 9397013"/>
              <a:gd name="connsiteY20-1306" fmla="*/ 7124971 h 7134208"/>
              <a:gd name="connsiteX21-1307" fmla="*/ 6560038 w 9397013"/>
              <a:gd name="connsiteY21-1308" fmla="*/ 7134207 h 7134208"/>
              <a:gd name="connsiteX22-1309" fmla="*/ 3849932 w 9397013"/>
              <a:gd name="connsiteY22-1310" fmla="*/ 3596670 h 7134208"/>
              <a:gd name="connsiteX23-1311" fmla="*/ 4086202 w 9397013"/>
              <a:gd name="connsiteY23-1312" fmla="*/ 3287229 h 7134208"/>
              <a:gd name="connsiteX24-1313" fmla="*/ 6958778 w 9397013"/>
              <a:gd name="connsiteY24-1314" fmla="*/ 7124971 h 7134208"/>
              <a:gd name="connsiteX25-1315" fmla="*/ 7777211 w 9397013"/>
              <a:gd name="connsiteY25-1316" fmla="*/ 7124972 h 7134208"/>
              <a:gd name="connsiteX26-1317" fmla="*/ 7324729 w 9397013"/>
              <a:gd name="connsiteY26-1318" fmla="*/ 7124972 h 7134208"/>
              <a:gd name="connsiteX27-1319" fmla="*/ 4245793 w 9397013"/>
              <a:gd name="connsiteY27-1320" fmla="*/ 3078214 h 7134208"/>
              <a:gd name="connsiteX28-1321" fmla="*/ 4490696 w 9397013"/>
              <a:gd name="connsiteY28-1322" fmla="*/ 2757469 h 7134208"/>
              <a:gd name="connsiteX29-1323" fmla="*/ 7777211 w 9397013"/>
              <a:gd name="connsiteY29-1324" fmla="*/ 7124972 h 7134208"/>
              <a:gd name="connsiteX30-1325" fmla="*/ 8567691 w 9397013"/>
              <a:gd name="connsiteY30-1326" fmla="*/ 7124971 h 7134208"/>
              <a:gd name="connsiteX31-1327" fmla="*/ 8159389 w 9397013"/>
              <a:gd name="connsiteY31-1328" fmla="*/ 7134208 h 7134208"/>
              <a:gd name="connsiteX32-1329" fmla="*/ 4650570 w 9397013"/>
              <a:gd name="connsiteY32-1330" fmla="*/ 2548084 h 7134208"/>
              <a:gd name="connsiteX33-1331" fmla="*/ 4869244 w 9397013"/>
              <a:gd name="connsiteY33-1332" fmla="*/ 2261689 h 7134208"/>
              <a:gd name="connsiteX34-1333" fmla="*/ 8567691 w 9397013"/>
              <a:gd name="connsiteY34-1334" fmla="*/ 7124971 h 7134208"/>
              <a:gd name="connsiteX35-1335" fmla="*/ 9397013 w 9397013"/>
              <a:gd name="connsiteY35-1336" fmla="*/ 7134207 h 7134208"/>
              <a:gd name="connsiteX36-1337" fmla="*/ 8921338 w 9397013"/>
              <a:gd name="connsiteY36-1338" fmla="*/ 7115735 h 7134208"/>
              <a:gd name="connsiteX37-1339" fmla="*/ 5045299 w 9397013"/>
              <a:gd name="connsiteY37-1340" fmla="*/ 2031113 h 7134208"/>
              <a:gd name="connsiteX38-1341" fmla="*/ 5273037 w 9397013"/>
              <a:gd name="connsiteY38-1342" fmla="*/ 1732846 h 7134208"/>
              <a:gd name="connsiteX39-1343" fmla="*/ 9397013 w 9397013"/>
              <a:gd name="connsiteY39-1344" fmla="*/ 7134207 h 7134208"/>
              <a:gd name="connsiteX0-1345" fmla="*/ 168369 w 9397013"/>
              <a:gd name="connsiteY0-1346" fmla="*/ 4779933 h 7134208"/>
              <a:gd name="connsiteX1-1347" fmla="*/ 0 w 9397013"/>
              <a:gd name="connsiteY1-1348" fmla="*/ 4409146 h 7134208"/>
              <a:gd name="connsiteX2-1349" fmla="*/ 3332806 w 9397013"/>
              <a:gd name="connsiteY2-1350" fmla="*/ 0 h 7134208"/>
              <a:gd name="connsiteX3-1351" fmla="*/ 3794560 w 9397013"/>
              <a:gd name="connsiteY3-1352" fmla="*/ 32861 h 7134208"/>
              <a:gd name="connsiteX4-1353" fmla="*/ 168369 w 9397013"/>
              <a:gd name="connsiteY4-1354" fmla="*/ 4779933 h 7134208"/>
              <a:gd name="connsiteX5-1355" fmla="*/ 488220 w 9397013"/>
              <a:gd name="connsiteY5-1356" fmla="*/ 5484315 h 7134208"/>
              <a:gd name="connsiteX6-1357" fmla="*/ 299082 w 9397013"/>
              <a:gd name="connsiteY6-1358" fmla="*/ 5067791 h 7134208"/>
              <a:gd name="connsiteX7-1359" fmla="*/ 4106456 w 9397013"/>
              <a:gd name="connsiteY7-1360" fmla="*/ 55057 h 7134208"/>
              <a:gd name="connsiteX8-1361" fmla="*/ 4585079 w 9397013"/>
              <a:gd name="connsiteY8-1362" fmla="*/ 89119 h 7134208"/>
              <a:gd name="connsiteX9-1363" fmla="*/ 488220 w 9397013"/>
              <a:gd name="connsiteY9-1364" fmla="*/ 5484315 h 7134208"/>
              <a:gd name="connsiteX10-1365" fmla="*/ 779421 w 9397013"/>
              <a:gd name="connsiteY10-1366" fmla="*/ 6125606 h 7134208"/>
              <a:gd name="connsiteX11-1367" fmla="*/ 618065 w 9397013"/>
              <a:gd name="connsiteY11-1368" fmla="*/ 5770263 h 7134208"/>
              <a:gd name="connsiteX12-1369" fmla="*/ 4897528 w 9397013"/>
              <a:gd name="connsiteY12-1370" fmla="*/ 111354 h 7134208"/>
              <a:gd name="connsiteX13-1371" fmla="*/ 5260238 w 9397013"/>
              <a:gd name="connsiteY13-1372" fmla="*/ 234131 h 7134208"/>
              <a:gd name="connsiteX14-1373" fmla="*/ 779421 w 9397013"/>
              <a:gd name="connsiteY14-1374" fmla="*/ 6125606 h 7134208"/>
              <a:gd name="connsiteX15-1375" fmla="*/ 1099910 w 9397013"/>
              <a:gd name="connsiteY15-1376" fmla="*/ 6831395 h 7134208"/>
              <a:gd name="connsiteX16-1377" fmla="*/ 919656 w 9397013"/>
              <a:gd name="connsiteY16-1378" fmla="*/ 6434435 h 7134208"/>
              <a:gd name="connsiteX17-1379" fmla="*/ 5641256 w 9397013"/>
              <a:gd name="connsiteY17-1380" fmla="*/ 212436 h 7134208"/>
              <a:gd name="connsiteX18-1381" fmla="*/ 6077099 w 9397013"/>
              <a:gd name="connsiteY18-1382" fmla="*/ 225638 h 7134208"/>
              <a:gd name="connsiteX19-1383" fmla="*/ 1099910 w 9397013"/>
              <a:gd name="connsiteY19-1384" fmla="*/ 6831395 h 7134208"/>
              <a:gd name="connsiteX20-1385" fmla="*/ 6958778 w 9397013"/>
              <a:gd name="connsiteY20-1386" fmla="*/ 7124971 h 7134208"/>
              <a:gd name="connsiteX21-1387" fmla="*/ 6560038 w 9397013"/>
              <a:gd name="connsiteY21-1388" fmla="*/ 7134207 h 7134208"/>
              <a:gd name="connsiteX22-1389" fmla="*/ 3849932 w 9397013"/>
              <a:gd name="connsiteY22-1390" fmla="*/ 3596670 h 7134208"/>
              <a:gd name="connsiteX23-1391" fmla="*/ 4086202 w 9397013"/>
              <a:gd name="connsiteY23-1392" fmla="*/ 3287229 h 7134208"/>
              <a:gd name="connsiteX24-1393" fmla="*/ 6958778 w 9397013"/>
              <a:gd name="connsiteY24-1394" fmla="*/ 7124971 h 7134208"/>
              <a:gd name="connsiteX25-1395" fmla="*/ 7777211 w 9397013"/>
              <a:gd name="connsiteY25-1396" fmla="*/ 7124972 h 7134208"/>
              <a:gd name="connsiteX26-1397" fmla="*/ 7324729 w 9397013"/>
              <a:gd name="connsiteY26-1398" fmla="*/ 7124972 h 7134208"/>
              <a:gd name="connsiteX27-1399" fmla="*/ 4245793 w 9397013"/>
              <a:gd name="connsiteY27-1400" fmla="*/ 3078214 h 7134208"/>
              <a:gd name="connsiteX28-1401" fmla="*/ 4490696 w 9397013"/>
              <a:gd name="connsiteY28-1402" fmla="*/ 2757469 h 7134208"/>
              <a:gd name="connsiteX29-1403" fmla="*/ 7777211 w 9397013"/>
              <a:gd name="connsiteY29-1404" fmla="*/ 7124972 h 7134208"/>
              <a:gd name="connsiteX30-1405" fmla="*/ 8567691 w 9397013"/>
              <a:gd name="connsiteY30-1406" fmla="*/ 7124971 h 7134208"/>
              <a:gd name="connsiteX31-1407" fmla="*/ 8159389 w 9397013"/>
              <a:gd name="connsiteY31-1408" fmla="*/ 7134208 h 7134208"/>
              <a:gd name="connsiteX32-1409" fmla="*/ 4650570 w 9397013"/>
              <a:gd name="connsiteY32-1410" fmla="*/ 2548084 h 7134208"/>
              <a:gd name="connsiteX33-1411" fmla="*/ 4869244 w 9397013"/>
              <a:gd name="connsiteY33-1412" fmla="*/ 2261689 h 7134208"/>
              <a:gd name="connsiteX34-1413" fmla="*/ 8567691 w 9397013"/>
              <a:gd name="connsiteY34-1414" fmla="*/ 7124971 h 7134208"/>
              <a:gd name="connsiteX35-1415" fmla="*/ 9397013 w 9397013"/>
              <a:gd name="connsiteY35-1416" fmla="*/ 7134207 h 7134208"/>
              <a:gd name="connsiteX36-1417" fmla="*/ 8921338 w 9397013"/>
              <a:gd name="connsiteY36-1418" fmla="*/ 7115735 h 7134208"/>
              <a:gd name="connsiteX37-1419" fmla="*/ 5045299 w 9397013"/>
              <a:gd name="connsiteY37-1420" fmla="*/ 2031113 h 7134208"/>
              <a:gd name="connsiteX38-1421" fmla="*/ 5273037 w 9397013"/>
              <a:gd name="connsiteY38-1422" fmla="*/ 1732846 h 7134208"/>
              <a:gd name="connsiteX39-1423" fmla="*/ 9397013 w 9397013"/>
              <a:gd name="connsiteY39-1424" fmla="*/ 7134207 h 7134208"/>
              <a:gd name="connsiteX0-1425" fmla="*/ 168369 w 9397013"/>
              <a:gd name="connsiteY0-1426" fmla="*/ 4779933 h 7134208"/>
              <a:gd name="connsiteX1-1427" fmla="*/ 0 w 9397013"/>
              <a:gd name="connsiteY1-1428" fmla="*/ 4409146 h 7134208"/>
              <a:gd name="connsiteX2-1429" fmla="*/ 3332806 w 9397013"/>
              <a:gd name="connsiteY2-1430" fmla="*/ 0 h 7134208"/>
              <a:gd name="connsiteX3-1431" fmla="*/ 3794560 w 9397013"/>
              <a:gd name="connsiteY3-1432" fmla="*/ 32861 h 7134208"/>
              <a:gd name="connsiteX4-1433" fmla="*/ 168369 w 9397013"/>
              <a:gd name="connsiteY4-1434" fmla="*/ 4779933 h 7134208"/>
              <a:gd name="connsiteX5-1435" fmla="*/ 488220 w 9397013"/>
              <a:gd name="connsiteY5-1436" fmla="*/ 5484315 h 7134208"/>
              <a:gd name="connsiteX6-1437" fmla="*/ 299082 w 9397013"/>
              <a:gd name="connsiteY6-1438" fmla="*/ 5067791 h 7134208"/>
              <a:gd name="connsiteX7-1439" fmla="*/ 4106456 w 9397013"/>
              <a:gd name="connsiteY7-1440" fmla="*/ 55057 h 7134208"/>
              <a:gd name="connsiteX8-1441" fmla="*/ 4585079 w 9397013"/>
              <a:gd name="connsiteY8-1442" fmla="*/ 89119 h 7134208"/>
              <a:gd name="connsiteX9-1443" fmla="*/ 488220 w 9397013"/>
              <a:gd name="connsiteY9-1444" fmla="*/ 5484315 h 7134208"/>
              <a:gd name="connsiteX10-1445" fmla="*/ 779421 w 9397013"/>
              <a:gd name="connsiteY10-1446" fmla="*/ 6125606 h 7134208"/>
              <a:gd name="connsiteX11-1447" fmla="*/ 618065 w 9397013"/>
              <a:gd name="connsiteY11-1448" fmla="*/ 5770263 h 7134208"/>
              <a:gd name="connsiteX12-1449" fmla="*/ 4805164 w 9397013"/>
              <a:gd name="connsiteY12-1450" fmla="*/ 212954 h 7134208"/>
              <a:gd name="connsiteX13-1451" fmla="*/ 5260238 w 9397013"/>
              <a:gd name="connsiteY13-1452" fmla="*/ 234131 h 7134208"/>
              <a:gd name="connsiteX14-1453" fmla="*/ 779421 w 9397013"/>
              <a:gd name="connsiteY14-1454" fmla="*/ 6125606 h 7134208"/>
              <a:gd name="connsiteX15-1455" fmla="*/ 1099910 w 9397013"/>
              <a:gd name="connsiteY15-1456" fmla="*/ 6831395 h 7134208"/>
              <a:gd name="connsiteX16-1457" fmla="*/ 919656 w 9397013"/>
              <a:gd name="connsiteY16-1458" fmla="*/ 6434435 h 7134208"/>
              <a:gd name="connsiteX17-1459" fmla="*/ 5641256 w 9397013"/>
              <a:gd name="connsiteY17-1460" fmla="*/ 212436 h 7134208"/>
              <a:gd name="connsiteX18-1461" fmla="*/ 6077099 w 9397013"/>
              <a:gd name="connsiteY18-1462" fmla="*/ 225638 h 7134208"/>
              <a:gd name="connsiteX19-1463" fmla="*/ 1099910 w 9397013"/>
              <a:gd name="connsiteY19-1464" fmla="*/ 6831395 h 7134208"/>
              <a:gd name="connsiteX20-1465" fmla="*/ 6958778 w 9397013"/>
              <a:gd name="connsiteY20-1466" fmla="*/ 7124971 h 7134208"/>
              <a:gd name="connsiteX21-1467" fmla="*/ 6560038 w 9397013"/>
              <a:gd name="connsiteY21-1468" fmla="*/ 7134207 h 7134208"/>
              <a:gd name="connsiteX22-1469" fmla="*/ 3849932 w 9397013"/>
              <a:gd name="connsiteY22-1470" fmla="*/ 3596670 h 7134208"/>
              <a:gd name="connsiteX23-1471" fmla="*/ 4086202 w 9397013"/>
              <a:gd name="connsiteY23-1472" fmla="*/ 3287229 h 7134208"/>
              <a:gd name="connsiteX24-1473" fmla="*/ 6958778 w 9397013"/>
              <a:gd name="connsiteY24-1474" fmla="*/ 7124971 h 7134208"/>
              <a:gd name="connsiteX25-1475" fmla="*/ 7777211 w 9397013"/>
              <a:gd name="connsiteY25-1476" fmla="*/ 7124972 h 7134208"/>
              <a:gd name="connsiteX26-1477" fmla="*/ 7324729 w 9397013"/>
              <a:gd name="connsiteY26-1478" fmla="*/ 7124972 h 7134208"/>
              <a:gd name="connsiteX27-1479" fmla="*/ 4245793 w 9397013"/>
              <a:gd name="connsiteY27-1480" fmla="*/ 3078214 h 7134208"/>
              <a:gd name="connsiteX28-1481" fmla="*/ 4490696 w 9397013"/>
              <a:gd name="connsiteY28-1482" fmla="*/ 2757469 h 7134208"/>
              <a:gd name="connsiteX29-1483" fmla="*/ 7777211 w 9397013"/>
              <a:gd name="connsiteY29-1484" fmla="*/ 7124972 h 7134208"/>
              <a:gd name="connsiteX30-1485" fmla="*/ 8567691 w 9397013"/>
              <a:gd name="connsiteY30-1486" fmla="*/ 7124971 h 7134208"/>
              <a:gd name="connsiteX31-1487" fmla="*/ 8159389 w 9397013"/>
              <a:gd name="connsiteY31-1488" fmla="*/ 7134208 h 7134208"/>
              <a:gd name="connsiteX32-1489" fmla="*/ 4650570 w 9397013"/>
              <a:gd name="connsiteY32-1490" fmla="*/ 2548084 h 7134208"/>
              <a:gd name="connsiteX33-1491" fmla="*/ 4869244 w 9397013"/>
              <a:gd name="connsiteY33-1492" fmla="*/ 2261689 h 7134208"/>
              <a:gd name="connsiteX34-1493" fmla="*/ 8567691 w 9397013"/>
              <a:gd name="connsiteY34-1494" fmla="*/ 7124971 h 7134208"/>
              <a:gd name="connsiteX35-1495" fmla="*/ 9397013 w 9397013"/>
              <a:gd name="connsiteY35-1496" fmla="*/ 7134207 h 7134208"/>
              <a:gd name="connsiteX36-1497" fmla="*/ 8921338 w 9397013"/>
              <a:gd name="connsiteY36-1498" fmla="*/ 7115735 h 7134208"/>
              <a:gd name="connsiteX37-1499" fmla="*/ 5045299 w 9397013"/>
              <a:gd name="connsiteY37-1500" fmla="*/ 2031113 h 7134208"/>
              <a:gd name="connsiteX38-1501" fmla="*/ 5273037 w 9397013"/>
              <a:gd name="connsiteY38-1502" fmla="*/ 1732846 h 7134208"/>
              <a:gd name="connsiteX39-1503" fmla="*/ 9397013 w 9397013"/>
              <a:gd name="connsiteY39-1504" fmla="*/ 7134207 h 7134208"/>
              <a:gd name="connsiteX0-1505" fmla="*/ 168369 w 9397013"/>
              <a:gd name="connsiteY0-1506" fmla="*/ 4779933 h 7134208"/>
              <a:gd name="connsiteX1-1507" fmla="*/ 0 w 9397013"/>
              <a:gd name="connsiteY1-1508" fmla="*/ 4409146 h 7134208"/>
              <a:gd name="connsiteX2-1509" fmla="*/ 3332806 w 9397013"/>
              <a:gd name="connsiteY2-1510" fmla="*/ 0 h 7134208"/>
              <a:gd name="connsiteX3-1511" fmla="*/ 3794560 w 9397013"/>
              <a:gd name="connsiteY3-1512" fmla="*/ 32861 h 7134208"/>
              <a:gd name="connsiteX4-1513" fmla="*/ 168369 w 9397013"/>
              <a:gd name="connsiteY4-1514" fmla="*/ 4779933 h 7134208"/>
              <a:gd name="connsiteX5-1515" fmla="*/ 488220 w 9397013"/>
              <a:gd name="connsiteY5-1516" fmla="*/ 5484315 h 7134208"/>
              <a:gd name="connsiteX6-1517" fmla="*/ 299082 w 9397013"/>
              <a:gd name="connsiteY6-1518" fmla="*/ 5067791 h 7134208"/>
              <a:gd name="connsiteX7-1519" fmla="*/ 4106456 w 9397013"/>
              <a:gd name="connsiteY7-1520" fmla="*/ 55057 h 7134208"/>
              <a:gd name="connsiteX8-1521" fmla="*/ 4465006 w 9397013"/>
              <a:gd name="connsiteY8-1522" fmla="*/ 209192 h 7134208"/>
              <a:gd name="connsiteX9-1523" fmla="*/ 488220 w 9397013"/>
              <a:gd name="connsiteY9-1524" fmla="*/ 5484315 h 7134208"/>
              <a:gd name="connsiteX10-1525" fmla="*/ 779421 w 9397013"/>
              <a:gd name="connsiteY10-1526" fmla="*/ 6125606 h 7134208"/>
              <a:gd name="connsiteX11-1527" fmla="*/ 618065 w 9397013"/>
              <a:gd name="connsiteY11-1528" fmla="*/ 5770263 h 7134208"/>
              <a:gd name="connsiteX12-1529" fmla="*/ 4805164 w 9397013"/>
              <a:gd name="connsiteY12-1530" fmla="*/ 212954 h 7134208"/>
              <a:gd name="connsiteX13-1531" fmla="*/ 5260238 w 9397013"/>
              <a:gd name="connsiteY13-1532" fmla="*/ 234131 h 7134208"/>
              <a:gd name="connsiteX14-1533" fmla="*/ 779421 w 9397013"/>
              <a:gd name="connsiteY14-1534" fmla="*/ 6125606 h 7134208"/>
              <a:gd name="connsiteX15-1535" fmla="*/ 1099910 w 9397013"/>
              <a:gd name="connsiteY15-1536" fmla="*/ 6831395 h 7134208"/>
              <a:gd name="connsiteX16-1537" fmla="*/ 919656 w 9397013"/>
              <a:gd name="connsiteY16-1538" fmla="*/ 6434435 h 7134208"/>
              <a:gd name="connsiteX17-1539" fmla="*/ 5641256 w 9397013"/>
              <a:gd name="connsiteY17-1540" fmla="*/ 212436 h 7134208"/>
              <a:gd name="connsiteX18-1541" fmla="*/ 6077099 w 9397013"/>
              <a:gd name="connsiteY18-1542" fmla="*/ 225638 h 7134208"/>
              <a:gd name="connsiteX19-1543" fmla="*/ 1099910 w 9397013"/>
              <a:gd name="connsiteY19-1544" fmla="*/ 6831395 h 7134208"/>
              <a:gd name="connsiteX20-1545" fmla="*/ 6958778 w 9397013"/>
              <a:gd name="connsiteY20-1546" fmla="*/ 7124971 h 7134208"/>
              <a:gd name="connsiteX21-1547" fmla="*/ 6560038 w 9397013"/>
              <a:gd name="connsiteY21-1548" fmla="*/ 7134207 h 7134208"/>
              <a:gd name="connsiteX22-1549" fmla="*/ 3849932 w 9397013"/>
              <a:gd name="connsiteY22-1550" fmla="*/ 3596670 h 7134208"/>
              <a:gd name="connsiteX23-1551" fmla="*/ 4086202 w 9397013"/>
              <a:gd name="connsiteY23-1552" fmla="*/ 3287229 h 7134208"/>
              <a:gd name="connsiteX24-1553" fmla="*/ 6958778 w 9397013"/>
              <a:gd name="connsiteY24-1554" fmla="*/ 7124971 h 7134208"/>
              <a:gd name="connsiteX25-1555" fmla="*/ 7777211 w 9397013"/>
              <a:gd name="connsiteY25-1556" fmla="*/ 7124972 h 7134208"/>
              <a:gd name="connsiteX26-1557" fmla="*/ 7324729 w 9397013"/>
              <a:gd name="connsiteY26-1558" fmla="*/ 7124972 h 7134208"/>
              <a:gd name="connsiteX27-1559" fmla="*/ 4245793 w 9397013"/>
              <a:gd name="connsiteY27-1560" fmla="*/ 3078214 h 7134208"/>
              <a:gd name="connsiteX28-1561" fmla="*/ 4490696 w 9397013"/>
              <a:gd name="connsiteY28-1562" fmla="*/ 2757469 h 7134208"/>
              <a:gd name="connsiteX29-1563" fmla="*/ 7777211 w 9397013"/>
              <a:gd name="connsiteY29-1564" fmla="*/ 7124972 h 7134208"/>
              <a:gd name="connsiteX30-1565" fmla="*/ 8567691 w 9397013"/>
              <a:gd name="connsiteY30-1566" fmla="*/ 7124971 h 7134208"/>
              <a:gd name="connsiteX31-1567" fmla="*/ 8159389 w 9397013"/>
              <a:gd name="connsiteY31-1568" fmla="*/ 7134208 h 7134208"/>
              <a:gd name="connsiteX32-1569" fmla="*/ 4650570 w 9397013"/>
              <a:gd name="connsiteY32-1570" fmla="*/ 2548084 h 7134208"/>
              <a:gd name="connsiteX33-1571" fmla="*/ 4869244 w 9397013"/>
              <a:gd name="connsiteY33-1572" fmla="*/ 2261689 h 7134208"/>
              <a:gd name="connsiteX34-1573" fmla="*/ 8567691 w 9397013"/>
              <a:gd name="connsiteY34-1574" fmla="*/ 7124971 h 7134208"/>
              <a:gd name="connsiteX35-1575" fmla="*/ 9397013 w 9397013"/>
              <a:gd name="connsiteY35-1576" fmla="*/ 7134207 h 7134208"/>
              <a:gd name="connsiteX36-1577" fmla="*/ 8921338 w 9397013"/>
              <a:gd name="connsiteY36-1578" fmla="*/ 7115735 h 7134208"/>
              <a:gd name="connsiteX37-1579" fmla="*/ 5045299 w 9397013"/>
              <a:gd name="connsiteY37-1580" fmla="*/ 2031113 h 7134208"/>
              <a:gd name="connsiteX38-1581" fmla="*/ 5273037 w 9397013"/>
              <a:gd name="connsiteY38-1582" fmla="*/ 1732846 h 7134208"/>
              <a:gd name="connsiteX39-1583" fmla="*/ 9397013 w 9397013"/>
              <a:gd name="connsiteY39-1584" fmla="*/ 7134207 h 7134208"/>
              <a:gd name="connsiteX0-1585" fmla="*/ 168369 w 9397013"/>
              <a:gd name="connsiteY0-1586" fmla="*/ 4779933 h 7134208"/>
              <a:gd name="connsiteX1-1587" fmla="*/ 0 w 9397013"/>
              <a:gd name="connsiteY1-1588" fmla="*/ 4409146 h 7134208"/>
              <a:gd name="connsiteX2-1589" fmla="*/ 3332806 w 9397013"/>
              <a:gd name="connsiteY2-1590" fmla="*/ 0 h 7134208"/>
              <a:gd name="connsiteX3-1591" fmla="*/ 3794560 w 9397013"/>
              <a:gd name="connsiteY3-1592" fmla="*/ 32861 h 7134208"/>
              <a:gd name="connsiteX4-1593" fmla="*/ 168369 w 9397013"/>
              <a:gd name="connsiteY4-1594" fmla="*/ 4779933 h 7134208"/>
              <a:gd name="connsiteX5-1595" fmla="*/ 488220 w 9397013"/>
              <a:gd name="connsiteY5-1596" fmla="*/ 5484315 h 7134208"/>
              <a:gd name="connsiteX6-1597" fmla="*/ 299082 w 9397013"/>
              <a:gd name="connsiteY6-1598" fmla="*/ 5067791 h 7134208"/>
              <a:gd name="connsiteX7-1599" fmla="*/ 3977147 w 9397013"/>
              <a:gd name="connsiteY7-1600" fmla="*/ 212075 h 7134208"/>
              <a:gd name="connsiteX8-1601" fmla="*/ 4465006 w 9397013"/>
              <a:gd name="connsiteY8-1602" fmla="*/ 209192 h 7134208"/>
              <a:gd name="connsiteX9-1603" fmla="*/ 488220 w 9397013"/>
              <a:gd name="connsiteY9-1604" fmla="*/ 5484315 h 7134208"/>
              <a:gd name="connsiteX10-1605" fmla="*/ 779421 w 9397013"/>
              <a:gd name="connsiteY10-1606" fmla="*/ 6125606 h 7134208"/>
              <a:gd name="connsiteX11-1607" fmla="*/ 618065 w 9397013"/>
              <a:gd name="connsiteY11-1608" fmla="*/ 5770263 h 7134208"/>
              <a:gd name="connsiteX12-1609" fmla="*/ 4805164 w 9397013"/>
              <a:gd name="connsiteY12-1610" fmla="*/ 212954 h 7134208"/>
              <a:gd name="connsiteX13-1611" fmla="*/ 5260238 w 9397013"/>
              <a:gd name="connsiteY13-1612" fmla="*/ 234131 h 7134208"/>
              <a:gd name="connsiteX14-1613" fmla="*/ 779421 w 9397013"/>
              <a:gd name="connsiteY14-1614" fmla="*/ 6125606 h 7134208"/>
              <a:gd name="connsiteX15-1615" fmla="*/ 1099910 w 9397013"/>
              <a:gd name="connsiteY15-1616" fmla="*/ 6831395 h 7134208"/>
              <a:gd name="connsiteX16-1617" fmla="*/ 919656 w 9397013"/>
              <a:gd name="connsiteY16-1618" fmla="*/ 6434435 h 7134208"/>
              <a:gd name="connsiteX17-1619" fmla="*/ 5641256 w 9397013"/>
              <a:gd name="connsiteY17-1620" fmla="*/ 212436 h 7134208"/>
              <a:gd name="connsiteX18-1621" fmla="*/ 6077099 w 9397013"/>
              <a:gd name="connsiteY18-1622" fmla="*/ 225638 h 7134208"/>
              <a:gd name="connsiteX19-1623" fmla="*/ 1099910 w 9397013"/>
              <a:gd name="connsiteY19-1624" fmla="*/ 6831395 h 7134208"/>
              <a:gd name="connsiteX20-1625" fmla="*/ 6958778 w 9397013"/>
              <a:gd name="connsiteY20-1626" fmla="*/ 7124971 h 7134208"/>
              <a:gd name="connsiteX21-1627" fmla="*/ 6560038 w 9397013"/>
              <a:gd name="connsiteY21-1628" fmla="*/ 7134207 h 7134208"/>
              <a:gd name="connsiteX22-1629" fmla="*/ 3849932 w 9397013"/>
              <a:gd name="connsiteY22-1630" fmla="*/ 3596670 h 7134208"/>
              <a:gd name="connsiteX23-1631" fmla="*/ 4086202 w 9397013"/>
              <a:gd name="connsiteY23-1632" fmla="*/ 3287229 h 7134208"/>
              <a:gd name="connsiteX24-1633" fmla="*/ 6958778 w 9397013"/>
              <a:gd name="connsiteY24-1634" fmla="*/ 7124971 h 7134208"/>
              <a:gd name="connsiteX25-1635" fmla="*/ 7777211 w 9397013"/>
              <a:gd name="connsiteY25-1636" fmla="*/ 7124972 h 7134208"/>
              <a:gd name="connsiteX26-1637" fmla="*/ 7324729 w 9397013"/>
              <a:gd name="connsiteY26-1638" fmla="*/ 7124972 h 7134208"/>
              <a:gd name="connsiteX27-1639" fmla="*/ 4245793 w 9397013"/>
              <a:gd name="connsiteY27-1640" fmla="*/ 3078214 h 7134208"/>
              <a:gd name="connsiteX28-1641" fmla="*/ 4490696 w 9397013"/>
              <a:gd name="connsiteY28-1642" fmla="*/ 2757469 h 7134208"/>
              <a:gd name="connsiteX29-1643" fmla="*/ 7777211 w 9397013"/>
              <a:gd name="connsiteY29-1644" fmla="*/ 7124972 h 7134208"/>
              <a:gd name="connsiteX30-1645" fmla="*/ 8567691 w 9397013"/>
              <a:gd name="connsiteY30-1646" fmla="*/ 7124971 h 7134208"/>
              <a:gd name="connsiteX31-1647" fmla="*/ 8159389 w 9397013"/>
              <a:gd name="connsiteY31-1648" fmla="*/ 7134208 h 7134208"/>
              <a:gd name="connsiteX32-1649" fmla="*/ 4650570 w 9397013"/>
              <a:gd name="connsiteY32-1650" fmla="*/ 2548084 h 7134208"/>
              <a:gd name="connsiteX33-1651" fmla="*/ 4869244 w 9397013"/>
              <a:gd name="connsiteY33-1652" fmla="*/ 2261689 h 7134208"/>
              <a:gd name="connsiteX34-1653" fmla="*/ 8567691 w 9397013"/>
              <a:gd name="connsiteY34-1654" fmla="*/ 7124971 h 7134208"/>
              <a:gd name="connsiteX35-1655" fmla="*/ 9397013 w 9397013"/>
              <a:gd name="connsiteY35-1656" fmla="*/ 7134207 h 7134208"/>
              <a:gd name="connsiteX36-1657" fmla="*/ 8921338 w 9397013"/>
              <a:gd name="connsiteY36-1658" fmla="*/ 7115735 h 7134208"/>
              <a:gd name="connsiteX37-1659" fmla="*/ 5045299 w 9397013"/>
              <a:gd name="connsiteY37-1660" fmla="*/ 2031113 h 7134208"/>
              <a:gd name="connsiteX38-1661" fmla="*/ 5273037 w 9397013"/>
              <a:gd name="connsiteY38-1662" fmla="*/ 1732846 h 7134208"/>
              <a:gd name="connsiteX39-1663" fmla="*/ 9397013 w 9397013"/>
              <a:gd name="connsiteY39-1664" fmla="*/ 7134207 h 7134208"/>
              <a:gd name="connsiteX0-1665" fmla="*/ 168369 w 9397013"/>
              <a:gd name="connsiteY0-1666" fmla="*/ 4779933 h 7134208"/>
              <a:gd name="connsiteX1-1667" fmla="*/ 0 w 9397013"/>
              <a:gd name="connsiteY1-1668" fmla="*/ 4409146 h 7134208"/>
              <a:gd name="connsiteX2-1669" fmla="*/ 3332806 w 9397013"/>
              <a:gd name="connsiteY2-1670" fmla="*/ 0 h 7134208"/>
              <a:gd name="connsiteX3-1671" fmla="*/ 3628305 w 9397013"/>
              <a:gd name="connsiteY3-1672" fmla="*/ 208352 h 7134208"/>
              <a:gd name="connsiteX4-1673" fmla="*/ 168369 w 9397013"/>
              <a:gd name="connsiteY4-1674" fmla="*/ 4779933 h 7134208"/>
              <a:gd name="connsiteX5-1675" fmla="*/ 488220 w 9397013"/>
              <a:gd name="connsiteY5-1676" fmla="*/ 5484315 h 7134208"/>
              <a:gd name="connsiteX6-1677" fmla="*/ 299082 w 9397013"/>
              <a:gd name="connsiteY6-1678" fmla="*/ 5067791 h 7134208"/>
              <a:gd name="connsiteX7-1679" fmla="*/ 3977147 w 9397013"/>
              <a:gd name="connsiteY7-1680" fmla="*/ 212075 h 7134208"/>
              <a:gd name="connsiteX8-1681" fmla="*/ 4465006 w 9397013"/>
              <a:gd name="connsiteY8-1682" fmla="*/ 209192 h 7134208"/>
              <a:gd name="connsiteX9-1683" fmla="*/ 488220 w 9397013"/>
              <a:gd name="connsiteY9-1684" fmla="*/ 5484315 h 7134208"/>
              <a:gd name="connsiteX10-1685" fmla="*/ 779421 w 9397013"/>
              <a:gd name="connsiteY10-1686" fmla="*/ 6125606 h 7134208"/>
              <a:gd name="connsiteX11-1687" fmla="*/ 618065 w 9397013"/>
              <a:gd name="connsiteY11-1688" fmla="*/ 5770263 h 7134208"/>
              <a:gd name="connsiteX12-1689" fmla="*/ 4805164 w 9397013"/>
              <a:gd name="connsiteY12-1690" fmla="*/ 212954 h 7134208"/>
              <a:gd name="connsiteX13-1691" fmla="*/ 5260238 w 9397013"/>
              <a:gd name="connsiteY13-1692" fmla="*/ 234131 h 7134208"/>
              <a:gd name="connsiteX14-1693" fmla="*/ 779421 w 9397013"/>
              <a:gd name="connsiteY14-1694" fmla="*/ 6125606 h 7134208"/>
              <a:gd name="connsiteX15-1695" fmla="*/ 1099910 w 9397013"/>
              <a:gd name="connsiteY15-1696" fmla="*/ 6831395 h 7134208"/>
              <a:gd name="connsiteX16-1697" fmla="*/ 919656 w 9397013"/>
              <a:gd name="connsiteY16-1698" fmla="*/ 6434435 h 7134208"/>
              <a:gd name="connsiteX17-1699" fmla="*/ 5641256 w 9397013"/>
              <a:gd name="connsiteY17-1700" fmla="*/ 212436 h 7134208"/>
              <a:gd name="connsiteX18-1701" fmla="*/ 6077099 w 9397013"/>
              <a:gd name="connsiteY18-1702" fmla="*/ 225638 h 7134208"/>
              <a:gd name="connsiteX19-1703" fmla="*/ 1099910 w 9397013"/>
              <a:gd name="connsiteY19-1704" fmla="*/ 6831395 h 7134208"/>
              <a:gd name="connsiteX20-1705" fmla="*/ 6958778 w 9397013"/>
              <a:gd name="connsiteY20-1706" fmla="*/ 7124971 h 7134208"/>
              <a:gd name="connsiteX21-1707" fmla="*/ 6560038 w 9397013"/>
              <a:gd name="connsiteY21-1708" fmla="*/ 7134207 h 7134208"/>
              <a:gd name="connsiteX22-1709" fmla="*/ 3849932 w 9397013"/>
              <a:gd name="connsiteY22-1710" fmla="*/ 3596670 h 7134208"/>
              <a:gd name="connsiteX23-1711" fmla="*/ 4086202 w 9397013"/>
              <a:gd name="connsiteY23-1712" fmla="*/ 3287229 h 7134208"/>
              <a:gd name="connsiteX24-1713" fmla="*/ 6958778 w 9397013"/>
              <a:gd name="connsiteY24-1714" fmla="*/ 7124971 h 7134208"/>
              <a:gd name="connsiteX25-1715" fmla="*/ 7777211 w 9397013"/>
              <a:gd name="connsiteY25-1716" fmla="*/ 7124972 h 7134208"/>
              <a:gd name="connsiteX26-1717" fmla="*/ 7324729 w 9397013"/>
              <a:gd name="connsiteY26-1718" fmla="*/ 7124972 h 7134208"/>
              <a:gd name="connsiteX27-1719" fmla="*/ 4245793 w 9397013"/>
              <a:gd name="connsiteY27-1720" fmla="*/ 3078214 h 7134208"/>
              <a:gd name="connsiteX28-1721" fmla="*/ 4490696 w 9397013"/>
              <a:gd name="connsiteY28-1722" fmla="*/ 2757469 h 7134208"/>
              <a:gd name="connsiteX29-1723" fmla="*/ 7777211 w 9397013"/>
              <a:gd name="connsiteY29-1724" fmla="*/ 7124972 h 7134208"/>
              <a:gd name="connsiteX30-1725" fmla="*/ 8567691 w 9397013"/>
              <a:gd name="connsiteY30-1726" fmla="*/ 7124971 h 7134208"/>
              <a:gd name="connsiteX31-1727" fmla="*/ 8159389 w 9397013"/>
              <a:gd name="connsiteY31-1728" fmla="*/ 7134208 h 7134208"/>
              <a:gd name="connsiteX32-1729" fmla="*/ 4650570 w 9397013"/>
              <a:gd name="connsiteY32-1730" fmla="*/ 2548084 h 7134208"/>
              <a:gd name="connsiteX33-1731" fmla="*/ 4869244 w 9397013"/>
              <a:gd name="connsiteY33-1732" fmla="*/ 2261689 h 7134208"/>
              <a:gd name="connsiteX34-1733" fmla="*/ 8567691 w 9397013"/>
              <a:gd name="connsiteY34-1734" fmla="*/ 7124971 h 7134208"/>
              <a:gd name="connsiteX35-1735" fmla="*/ 9397013 w 9397013"/>
              <a:gd name="connsiteY35-1736" fmla="*/ 7134207 h 7134208"/>
              <a:gd name="connsiteX36-1737" fmla="*/ 8921338 w 9397013"/>
              <a:gd name="connsiteY36-1738" fmla="*/ 7115735 h 7134208"/>
              <a:gd name="connsiteX37-1739" fmla="*/ 5045299 w 9397013"/>
              <a:gd name="connsiteY37-1740" fmla="*/ 2031113 h 7134208"/>
              <a:gd name="connsiteX38-1741" fmla="*/ 5273037 w 9397013"/>
              <a:gd name="connsiteY38-1742" fmla="*/ 1732846 h 7134208"/>
              <a:gd name="connsiteX39-1743" fmla="*/ 9397013 w 9397013"/>
              <a:gd name="connsiteY39-1744" fmla="*/ 7134207 h 7134208"/>
              <a:gd name="connsiteX0-1745" fmla="*/ 168369 w 9397013"/>
              <a:gd name="connsiteY0-1746" fmla="*/ 4571581 h 6925856"/>
              <a:gd name="connsiteX1-1747" fmla="*/ 0 w 9397013"/>
              <a:gd name="connsiteY1-1748" fmla="*/ 4200794 h 6925856"/>
              <a:gd name="connsiteX2-1749" fmla="*/ 3175788 w 9397013"/>
              <a:gd name="connsiteY2-1750" fmla="*/ 4084 h 6925856"/>
              <a:gd name="connsiteX3-1751" fmla="*/ 3628305 w 9397013"/>
              <a:gd name="connsiteY3-1752" fmla="*/ 0 h 6925856"/>
              <a:gd name="connsiteX4-1753" fmla="*/ 168369 w 9397013"/>
              <a:gd name="connsiteY4-1754" fmla="*/ 4571581 h 6925856"/>
              <a:gd name="connsiteX5-1755" fmla="*/ 488220 w 9397013"/>
              <a:gd name="connsiteY5-1756" fmla="*/ 5275963 h 6925856"/>
              <a:gd name="connsiteX6-1757" fmla="*/ 299082 w 9397013"/>
              <a:gd name="connsiteY6-1758" fmla="*/ 4859439 h 6925856"/>
              <a:gd name="connsiteX7-1759" fmla="*/ 3977147 w 9397013"/>
              <a:gd name="connsiteY7-1760" fmla="*/ 3723 h 6925856"/>
              <a:gd name="connsiteX8-1761" fmla="*/ 4465006 w 9397013"/>
              <a:gd name="connsiteY8-1762" fmla="*/ 840 h 6925856"/>
              <a:gd name="connsiteX9-1763" fmla="*/ 488220 w 9397013"/>
              <a:gd name="connsiteY9-1764" fmla="*/ 5275963 h 6925856"/>
              <a:gd name="connsiteX10-1765" fmla="*/ 779421 w 9397013"/>
              <a:gd name="connsiteY10-1766" fmla="*/ 5917254 h 6925856"/>
              <a:gd name="connsiteX11-1767" fmla="*/ 618065 w 9397013"/>
              <a:gd name="connsiteY11-1768" fmla="*/ 5561911 h 6925856"/>
              <a:gd name="connsiteX12-1769" fmla="*/ 4805164 w 9397013"/>
              <a:gd name="connsiteY12-1770" fmla="*/ 4602 h 6925856"/>
              <a:gd name="connsiteX13-1771" fmla="*/ 5260238 w 9397013"/>
              <a:gd name="connsiteY13-1772" fmla="*/ 25779 h 6925856"/>
              <a:gd name="connsiteX14-1773" fmla="*/ 779421 w 9397013"/>
              <a:gd name="connsiteY14-1774" fmla="*/ 5917254 h 6925856"/>
              <a:gd name="connsiteX15-1775" fmla="*/ 1099910 w 9397013"/>
              <a:gd name="connsiteY15-1776" fmla="*/ 6623043 h 6925856"/>
              <a:gd name="connsiteX16-1777" fmla="*/ 919656 w 9397013"/>
              <a:gd name="connsiteY16-1778" fmla="*/ 6226083 h 6925856"/>
              <a:gd name="connsiteX17-1779" fmla="*/ 5641256 w 9397013"/>
              <a:gd name="connsiteY17-1780" fmla="*/ 4084 h 6925856"/>
              <a:gd name="connsiteX18-1781" fmla="*/ 6077099 w 9397013"/>
              <a:gd name="connsiteY18-1782" fmla="*/ 17286 h 6925856"/>
              <a:gd name="connsiteX19-1783" fmla="*/ 1099910 w 9397013"/>
              <a:gd name="connsiteY19-1784" fmla="*/ 6623043 h 6925856"/>
              <a:gd name="connsiteX20-1785" fmla="*/ 6958778 w 9397013"/>
              <a:gd name="connsiteY20-1786" fmla="*/ 6916619 h 6925856"/>
              <a:gd name="connsiteX21-1787" fmla="*/ 6560038 w 9397013"/>
              <a:gd name="connsiteY21-1788" fmla="*/ 6925855 h 6925856"/>
              <a:gd name="connsiteX22-1789" fmla="*/ 3849932 w 9397013"/>
              <a:gd name="connsiteY22-1790" fmla="*/ 3388318 h 6925856"/>
              <a:gd name="connsiteX23-1791" fmla="*/ 4086202 w 9397013"/>
              <a:gd name="connsiteY23-1792" fmla="*/ 3078877 h 6925856"/>
              <a:gd name="connsiteX24-1793" fmla="*/ 6958778 w 9397013"/>
              <a:gd name="connsiteY24-1794" fmla="*/ 6916619 h 6925856"/>
              <a:gd name="connsiteX25-1795" fmla="*/ 7777211 w 9397013"/>
              <a:gd name="connsiteY25-1796" fmla="*/ 6916620 h 6925856"/>
              <a:gd name="connsiteX26-1797" fmla="*/ 7324729 w 9397013"/>
              <a:gd name="connsiteY26-1798" fmla="*/ 6916620 h 6925856"/>
              <a:gd name="connsiteX27-1799" fmla="*/ 4245793 w 9397013"/>
              <a:gd name="connsiteY27-1800" fmla="*/ 2869862 h 6925856"/>
              <a:gd name="connsiteX28-1801" fmla="*/ 4490696 w 9397013"/>
              <a:gd name="connsiteY28-1802" fmla="*/ 2549117 h 6925856"/>
              <a:gd name="connsiteX29-1803" fmla="*/ 7777211 w 9397013"/>
              <a:gd name="connsiteY29-1804" fmla="*/ 6916620 h 6925856"/>
              <a:gd name="connsiteX30-1805" fmla="*/ 8567691 w 9397013"/>
              <a:gd name="connsiteY30-1806" fmla="*/ 6916619 h 6925856"/>
              <a:gd name="connsiteX31-1807" fmla="*/ 8159389 w 9397013"/>
              <a:gd name="connsiteY31-1808" fmla="*/ 6925856 h 6925856"/>
              <a:gd name="connsiteX32-1809" fmla="*/ 4650570 w 9397013"/>
              <a:gd name="connsiteY32-1810" fmla="*/ 2339732 h 6925856"/>
              <a:gd name="connsiteX33-1811" fmla="*/ 4869244 w 9397013"/>
              <a:gd name="connsiteY33-1812" fmla="*/ 2053337 h 6925856"/>
              <a:gd name="connsiteX34-1813" fmla="*/ 8567691 w 9397013"/>
              <a:gd name="connsiteY34-1814" fmla="*/ 6916619 h 6925856"/>
              <a:gd name="connsiteX35-1815" fmla="*/ 9397013 w 9397013"/>
              <a:gd name="connsiteY35-1816" fmla="*/ 6925855 h 6925856"/>
              <a:gd name="connsiteX36-1817" fmla="*/ 8921338 w 9397013"/>
              <a:gd name="connsiteY36-1818" fmla="*/ 6907383 h 6925856"/>
              <a:gd name="connsiteX37-1819" fmla="*/ 5045299 w 9397013"/>
              <a:gd name="connsiteY37-1820" fmla="*/ 1822761 h 6925856"/>
              <a:gd name="connsiteX38-1821" fmla="*/ 5273037 w 9397013"/>
              <a:gd name="connsiteY38-1822" fmla="*/ 1524494 h 6925856"/>
              <a:gd name="connsiteX39-1823" fmla="*/ 9397013 w 9397013"/>
              <a:gd name="connsiteY39-1824" fmla="*/ 6925855 h 6925856"/>
              <a:gd name="connsiteX0-1825" fmla="*/ 168369 w 9397013"/>
              <a:gd name="connsiteY0-1826" fmla="*/ 4571581 h 6925856"/>
              <a:gd name="connsiteX1-1827" fmla="*/ 0 w 9397013"/>
              <a:gd name="connsiteY1-1828" fmla="*/ 4200794 h 6925856"/>
              <a:gd name="connsiteX2-1829" fmla="*/ 3175788 w 9397013"/>
              <a:gd name="connsiteY2-1830" fmla="*/ 4084 h 6925856"/>
              <a:gd name="connsiteX3-1831" fmla="*/ 3628305 w 9397013"/>
              <a:gd name="connsiteY3-1832" fmla="*/ 0 h 6925856"/>
              <a:gd name="connsiteX4-1833" fmla="*/ 168369 w 9397013"/>
              <a:gd name="connsiteY4-1834" fmla="*/ 4571581 h 6925856"/>
              <a:gd name="connsiteX5-1835" fmla="*/ 488220 w 9397013"/>
              <a:gd name="connsiteY5-1836" fmla="*/ 5275963 h 6925856"/>
              <a:gd name="connsiteX6-1837" fmla="*/ 299082 w 9397013"/>
              <a:gd name="connsiteY6-1838" fmla="*/ 4859439 h 6925856"/>
              <a:gd name="connsiteX7-1839" fmla="*/ 3977147 w 9397013"/>
              <a:gd name="connsiteY7-1840" fmla="*/ 3723 h 6925856"/>
              <a:gd name="connsiteX8-1841" fmla="*/ 4465006 w 9397013"/>
              <a:gd name="connsiteY8-1842" fmla="*/ 840 h 6925856"/>
              <a:gd name="connsiteX9-1843" fmla="*/ 488220 w 9397013"/>
              <a:gd name="connsiteY9-1844" fmla="*/ 5275963 h 6925856"/>
              <a:gd name="connsiteX10-1845" fmla="*/ 779421 w 9397013"/>
              <a:gd name="connsiteY10-1846" fmla="*/ 5917254 h 6925856"/>
              <a:gd name="connsiteX11-1847" fmla="*/ 618065 w 9397013"/>
              <a:gd name="connsiteY11-1848" fmla="*/ 5561911 h 6925856"/>
              <a:gd name="connsiteX12-1849" fmla="*/ 4805164 w 9397013"/>
              <a:gd name="connsiteY12-1850" fmla="*/ 4602 h 6925856"/>
              <a:gd name="connsiteX13-1851" fmla="*/ 5260238 w 9397013"/>
              <a:gd name="connsiteY13-1852" fmla="*/ 25779 h 6925856"/>
              <a:gd name="connsiteX14-1853" fmla="*/ 779421 w 9397013"/>
              <a:gd name="connsiteY14-1854" fmla="*/ 5917254 h 6925856"/>
              <a:gd name="connsiteX15-1855" fmla="*/ 1598673 w 9397013"/>
              <a:gd name="connsiteY15-1856" fmla="*/ 5976498 h 6925856"/>
              <a:gd name="connsiteX16-1857" fmla="*/ 919656 w 9397013"/>
              <a:gd name="connsiteY16-1858" fmla="*/ 6226083 h 6925856"/>
              <a:gd name="connsiteX17-1859" fmla="*/ 5641256 w 9397013"/>
              <a:gd name="connsiteY17-1860" fmla="*/ 4084 h 6925856"/>
              <a:gd name="connsiteX18-1861" fmla="*/ 6077099 w 9397013"/>
              <a:gd name="connsiteY18-1862" fmla="*/ 17286 h 6925856"/>
              <a:gd name="connsiteX19-1863" fmla="*/ 1598673 w 9397013"/>
              <a:gd name="connsiteY19-1864" fmla="*/ 5976498 h 6925856"/>
              <a:gd name="connsiteX20-1865" fmla="*/ 6958778 w 9397013"/>
              <a:gd name="connsiteY20-1866" fmla="*/ 6916619 h 6925856"/>
              <a:gd name="connsiteX21-1867" fmla="*/ 6560038 w 9397013"/>
              <a:gd name="connsiteY21-1868" fmla="*/ 6925855 h 6925856"/>
              <a:gd name="connsiteX22-1869" fmla="*/ 3849932 w 9397013"/>
              <a:gd name="connsiteY22-1870" fmla="*/ 3388318 h 6925856"/>
              <a:gd name="connsiteX23-1871" fmla="*/ 4086202 w 9397013"/>
              <a:gd name="connsiteY23-1872" fmla="*/ 3078877 h 6925856"/>
              <a:gd name="connsiteX24-1873" fmla="*/ 6958778 w 9397013"/>
              <a:gd name="connsiteY24-1874" fmla="*/ 6916619 h 6925856"/>
              <a:gd name="connsiteX25-1875" fmla="*/ 7777211 w 9397013"/>
              <a:gd name="connsiteY25-1876" fmla="*/ 6916620 h 6925856"/>
              <a:gd name="connsiteX26-1877" fmla="*/ 7324729 w 9397013"/>
              <a:gd name="connsiteY26-1878" fmla="*/ 6916620 h 6925856"/>
              <a:gd name="connsiteX27-1879" fmla="*/ 4245793 w 9397013"/>
              <a:gd name="connsiteY27-1880" fmla="*/ 2869862 h 6925856"/>
              <a:gd name="connsiteX28-1881" fmla="*/ 4490696 w 9397013"/>
              <a:gd name="connsiteY28-1882" fmla="*/ 2549117 h 6925856"/>
              <a:gd name="connsiteX29-1883" fmla="*/ 7777211 w 9397013"/>
              <a:gd name="connsiteY29-1884" fmla="*/ 6916620 h 6925856"/>
              <a:gd name="connsiteX30-1885" fmla="*/ 8567691 w 9397013"/>
              <a:gd name="connsiteY30-1886" fmla="*/ 6916619 h 6925856"/>
              <a:gd name="connsiteX31-1887" fmla="*/ 8159389 w 9397013"/>
              <a:gd name="connsiteY31-1888" fmla="*/ 6925856 h 6925856"/>
              <a:gd name="connsiteX32-1889" fmla="*/ 4650570 w 9397013"/>
              <a:gd name="connsiteY32-1890" fmla="*/ 2339732 h 6925856"/>
              <a:gd name="connsiteX33-1891" fmla="*/ 4869244 w 9397013"/>
              <a:gd name="connsiteY33-1892" fmla="*/ 2053337 h 6925856"/>
              <a:gd name="connsiteX34-1893" fmla="*/ 8567691 w 9397013"/>
              <a:gd name="connsiteY34-1894" fmla="*/ 6916619 h 6925856"/>
              <a:gd name="connsiteX35-1895" fmla="*/ 9397013 w 9397013"/>
              <a:gd name="connsiteY35-1896" fmla="*/ 6925855 h 6925856"/>
              <a:gd name="connsiteX36-1897" fmla="*/ 8921338 w 9397013"/>
              <a:gd name="connsiteY36-1898" fmla="*/ 6907383 h 6925856"/>
              <a:gd name="connsiteX37-1899" fmla="*/ 5045299 w 9397013"/>
              <a:gd name="connsiteY37-1900" fmla="*/ 1822761 h 6925856"/>
              <a:gd name="connsiteX38-1901" fmla="*/ 5273037 w 9397013"/>
              <a:gd name="connsiteY38-1902" fmla="*/ 1524494 h 6925856"/>
              <a:gd name="connsiteX39-1903" fmla="*/ 9397013 w 9397013"/>
              <a:gd name="connsiteY39-1904" fmla="*/ 6925855 h 6925856"/>
              <a:gd name="connsiteX0-1905" fmla="*/ 168369 w 9397013"/>
              <a:gd name="connsiteY0-1906" fmla="*/ 4571581 h 6925856"/>
              <a:gd name="connsiteX1-1907" fmla="*/ 0 w 9397013"/>
              <a:gd name="connsiteY1-1908" fmla="*/ 4200794 h 6925856"/>
              <a:gd name="connsiteX2-1909" fmla="*/ 3175788 w 9397013"/>
              <a:gd name="connsiteY2-1910" fmla="*/ 4084 h 6925856"/>
              <a:gd name="connsiteX3-1911" fmla="*/ 3628305 w 9397013"/>
              <a:gd name="connsiteY3-1912" fmla="*/ 0 h 6925856"/>
              <a:gd name="connsiteX4-1913" fmla="*/ 168369 w 9397013"/>
              <a:gd name="connsiteY4-1914" fmla="*/ 4571581 h 6925856"/>
              <a:gd name="connsiteX5-1915" fmla="*/ 488220 w 9397013"/>
              <a:gd name="connsiteY5-1916" fmla="*/ 5275963 h 6925856"/>
              <a:gd name="connsiteX6-1917" fmla="*/ 299082 w 9397013"/>
              <a:gd name="connsiteY6-1918" fmla="*/ 4859439 h 6925856"/>
              <a:gd name="connsiteX7-1919" fmla="*/ 3977147 w 9397013"/>
              <a:gd name="connsiteY7-1920" fmla="*/ 3723 h 6925856"/>
              <a:gd name="connsiteX8-1921" fmla="*/ 4465006 w 9397013"/>
              <a:gd name="connsiteY8-1922" fmla="*/ 840 h 6925856"/>
              <a:gd name="connsiteX9-1923" fmla="*/ 488220 w 9397013"/>
              <a:gd name="connsiteY9-1924" fmla="*/ 5275963 h 6925856"/>
              <a:gd name="connsiteX10-1925" fmla="*/ 779421 w 9397013"/>
              <a:gd name="connsiteY10-1926" fmla="*/ 5917254 h 6925856"/>
              <a:gd name="connsiteX11-1927" fmla="*/ 618065 w 9397013"/>
              <a:gd name="connsiteY11-1928" fmla="*/ 5561911 h 6925856"/>
              <a:gd name="connsiteX12-1929" fmla="*/ 4805164 w 9397013"/>
              <a:gd name="connsiteY12-1930" fmla="*/ 4602 h 6925856"/>
              <a:gd name="connsiteX13-1931" fmla="*/ 5260238 w 9397013"/>
              <a:gd name="connsiteY13-1932" fmla="*/ 25779 h 6925856"/>
              <a:gd name="connsiteX14-1933" fmla="*/ 779421 w 9397013"/>
              <a:gd name="connsiteY14-1934" fmla="*/ 5917254 h 6925856"/>
              <a:gd name="connsiteX15-1935" fmla="*/ 1598673 w 9397013"/>
              <a:gd name="connsiteY15-1936" fmla="*/ 5976498 h 6925856"/>
              <a:gd name="connsiteX16-1937" fmla="*/ 1566201 w 9397013"/>
              <a:gd name="connsiteY16-1938" fmla="*/ 5394811 h 6925856"/>
              <a:gd name="connsiteX17-1939" fmla="*/ 5641256 w 9397013"/>
              <a:gd name="connsiteY17-1940" fmla="*/ 4084 h 6925856"/>
              <a:gd name="connsiteX18-1941" fmla="*/ 6077099 w 9397013"/>
              <a:gd name="connsiteY18-1942" fmla="*/ 17286 h 6925856"/>
              <a:gd name="connsiteX19-1943" fmla="*/ 1598673 w 9397013"/>
              <a:gd name="connsiteY19-1944" fmla="*/ 5976498 h 6925856"/>
              <a:gd name="connsiteX20-1945" fmla="*/ 6958778 w 9397013"/>
              <a:gd name="connsiteY20-1946" fmla="*/ 6916619 h 6925856"/>
              <a:gd name="connsiteX21-1947" fmla="*/ 6560038 w 9397013"/>
              <a:gd name="connsiteY21-1948" fmla="*/ 6925855 h 6925856"/>
              <a:gd name="connsiteX22-1949" fmla="*/ 3849932 w 9397013"/>
              <a:gd name="connsiteY22-1950" fmla="*/ 3388318 h 6925856"/>
              <a:gd name="connsiteX23-1951" fmla="*/ 4086202 w 9397013"/>
              <a:gd name="connsiteY23-1952" fmla="*/ 3078877 h 6925856"/>
              <a:gd name="connsiteX24-1953" fmla="*/ 6958778 w 9397013"/>
              <a:gd name="connsiteY24-1954" fmla="*/ 6916619 h 6925856"/>
              <a:gd name="connsiteX25-1955" fmla="*/ 7777211 w 9397013"/>
              <a:gd name="connsiteY25-1956" fmla="*/ 6916620 h 6925856"/>
              <a:gd name="connsiteX26-1957" fmla="*/ 7324729 w 9397013"/>
              <a:gd name="connsiteY26-1958" fmla="*/ 6916620 h 6925856"/>
              <a:gd name="connsiteX27-1959" fmla="*/ 4245793 w 9397013"/>
              <a:gd name="connsiteY27-1960" fmla="*/ 2869862 h 6925856"/>
              <a:gd name="connsiteX28-1961" fmla="*/ 4490696 w 9397013"/>
              <a:gd name="connsiteY28-1962" fmla="*/ 2549117 h 6925856"/>
              <a:gd name="connsiteX29-1963" fmla="*/ 7777211 w 9397013"/>
              <a:gd name="connsiteY29-1964" fmla="*/ 6916620 h 6925856"/>
              <a:gd name="connsiteX30-1965" fmla="*/ 8567691 w 9397013"/>
              <a:gd name="connsiteY30-1966" fmla="*/ 6916619 h 6925856"/>
              <a:gd name="connsiteX31-1967" fmla="*/ 8159389 w 9397013"/>
              <a:gd name="connsiteY31-1968" fmla="*/ 6925856 h 6925856"/>
              <a:gd name="connsiteX32-1969" fmla="*/ 4650570 w 9397013"/>
              <a:gd name="connsiteY32-1970" fmla="*/ 2339732 h 6925856"/>
              <a:gd name="connsiteX33-1971" fmla="*/ 4869244 w 9397013"/>
              <a:gd name="connsiteY33-1972" fmla="*/ 2053337 h 6925856"/>
              <a:gd name="connsiteX34-1973" fmla="*/ 8567691 w 9397013"/>
              <a:gd name="connsiteY34-1974" fmla="*/ 6916619 h 6925856"/>
              <a:gd name="connsiteX35-1975" fmla="*/ 9397013 w 9397013"/>
              <a:gd name="connsiteY35-1976" fmla="*/ 6925855 h 6925856"/>
              <a:gd name="connsiteX36-1977" fmla="*/ 8921338 w 9397013"/>
              <a:gd name="connsiteY36-1978" fmla="*/ 6907383 h 6925856"/>
              <a:gd name="connsiteX37-1979" fmla="*/ 5045299 w 9397013"/>
              <a:gd name="connsiteY37-1980" fmla="*/ 1822761 h 6925856"/>
              <a:gd name="connsiteX38-1981" fmla="*/ 5273037 w 9397013"/>
              <a:gd name="connsiteY38-1982" fmla="*/ 1524494 h 6925856"/>
              <a:gd name="connsiteX39-1983" fmla="*/ 9397013 w 9397013"/>
              <a:gd name="connsiteY39-1984" fmla="*/ 6925855 h 6925856"/>
              <a:gd name="connsiteX0-1985" fmla="*/ 168369 w 9397013"/>
              <a:gd name="connsiteY0-1986" fmla="*/ 4571581 h 6925856"/>
              <a:gd name="connsiteX1-1987" fmla="*/ 0 w 9397013"/>
              <a:gd name="connsiteY1-1988" fmla="*/ 4200794 h 6925856"/>
              <a:gd name="connsiteX2-1989" fmla="*/ 3175788 w 9397013"/>
              <a:gd name="connsiteY2-1990" fmla="*/ 4084 h 6925856"/>
              <a:gd name="connsiteX3-1991" fmla="*/ 3628305 w 9397013"/>
              <a:gd name="connsiteY3-1992" fmla="*/ 0 h 6925856"/>
              <a:gd name="connsiteX4-1993" fmla="*/ 168369 w 9397013"/>
              <a:gd name="connsiteY4-1994" fmla="*/ 4571581 h 6925856"/>
              <a:gd name="connsiteX5-1995" fmla="*/ 488220 w 9397013"/>
              <a:gd name="connsiteY5-1996" fmla="*/ 5275963 h 6925856"/>
              <a:gd name="connsiteX6-1997" fmla="*/ 299082 w 9397013"/>
              <a:gd name="connsiteY6-1998" fmla="*/ 4859439 h 6925856"/>
              <a:gd name="connsiteX7-1999" fmla="*/ 3977147 w 9397013"/>
              <a:gd name="connsiteY7-2000" fmla="*/ 3723 h 6925856"/>
              <a:gd name="connsiteX8-2001" fmla="*/ 4465006 w 9397013"/>
              <a:gd name="connsiteY8-2002" fmla="*/ 840 h 6925856"/>
              <a:gd name="connsiteX9-2003" fmla="*/ 488220 w 9397013"/>
              <a:gd name="connsiteY9-2004" fmla="*/ 5275963 h 6925856"/>
              <a:gd name="connsiteX10-2005" fmla="*/ 779421 w 9397013"/>
              <a:gd name="connsiteY10-2006" fmla="*/ 5917254 h 6925856"/>
              <a:gd name="connsiteX11-2007" fmla="*/ 618065 w 9397013"/>
              <a:gd name="connsiteY11-2008" fmla="*/ 5561911 h 6925856"/>
              <a:gd name="connsiteX12-2009" fmla="*/ 4805164 w 9397013"/>
              <a:gd name="connsiteY12-2010" fmla="*/ 4602 h 6925856"/>
              <a:gd name="connsiteX13-2011" fmla="*/ 5260238 w 9397013"/>
              <a:gd name="connsiteY13-2012" fmla="*/ 25779 h 6925856"/>
              <a:gd name="connsiteX14-2013" fmla="*/ 779421 w 9397013"/>
              <a:gd name="connsiteY14-2014" fmla="*/ 5917254 h 6925856"/>
              <a:gd name="connsiteX15-2015" fmla="*/ 1580200 w 9397013"/>
              <a:gd name="connsiteY15-2016" fmla="*/ 5985735 h 6925856"/>
              <a:gd name="connsiteX16-2017" fmla="*/ 1566201 w 9397013"/>
              <a:gd name="connsiteY16-2018" fmla="*/ 5394811 h 6925856"/>
              <a:gd name="connsiteX17-2019" fmla="*/ 5641256 w 9397013"/>
              <a:gd name="connsiteY17-2020" fmla="*/ 4084 h 6925856"/>
              <a:gd name="connsiteX18-2021" fmla="*/ 6077099 w 9397013"/>
              <a:gd name="connsiteY18-2022" fmla="*/ 17286 h 6925856"/>
              <a:gd name="connsiteX19-2023" fmla="*/ 1580200 w 9397013"/>
              <a:gd name="connsiteY19-2024" fmla="*/ 5985735 h 6925856"/>
              <a:gd name="connsiteX20-2025" fmla="*/ 6958778 w 9397013"/>
              <a:gd name="connsiteY20-2026" fmla="*/ 6916619 h 6925856"/>
              <a:gd name="connsiteX21-2027" fmla="*/ 6560038 w 9397013"/>
              <a:gd name="connsiteY21-2028" fmla="*/ 6925855 h 6925856"/>
              <a:gd name="connsiteX22-2029" fmla="*/ 3849932 w 9397013"/>
              <a:gd name="connsiteY22-2030" fmla="*/ 3388318 h 6925856"/>
              <a:gd name="connsiteX23-2031" fmla="*/ 4086202 w 9397013"/>
              <a:gd name="connsiteY23-2032" fmla="*/ 3078877 h 6925856"/>
              <a:gd name="connsiteX24-2033" fmla="*/ 6958778 w 9397013"/>
              <a:gd name="connsiteY24-2034" fmla="*/ 6916619 h 6925856"/>
              <a:gd name="connsiteX25-2035" fmla="*/ 7777211 w 9397013"/>
              <a:gd name="connsiteY25-2036" fmla="*/ 6916620 h 6925856"/>
              <a:gd name="connsiteX26-2037" fmla="*/ 7324729 w 9397013"/>
              <a:gd name="connsiteY26-2038" fmla="*/ 6916620 h 6925856"/>
              <a:gd name="connsiteX27-2039" fmla="*/ 4245793 w 9397013"/>
              <a:gd name="connsiteY27-2040" fmla="*/ 2869862 h 6925856"/>
              <a:gd name="connsiteX28-2041" fmla="*/ 4490696 w 9397013"/>
              <a:gd name="connsiteY28-2042" fmla="*/ 2549117 h 6925856"/>
              <a:gd name="connsiteX29-2043" fmla="*/ 7777211 w 9397013"/>
              <a:gd name="connsiteY29-2044" fmla="*/ 6916620 h 6925856"/>
              <a:gd name="connsiteX30-2045" fmla="*/ 8567691 w 9397013"/>
              <a:gd name="connsiteY30-2046" fmla="*/ 6916619 h 6925856"/>
              <a:gd name="connsiteX31-2047" fmla="*/ 8159389 w 9397013"/>
              <a:gd name="connsiteY31-2048" fmla="*/ 6925856 h 6925856"/>
              <a:gd name="connsiteX32-2049" fmla="*/ 4650570 w 9397013"/>
              <a:gd name="connsiteY32-2050" fmla="*/ 2339732 h 6925856"/>
              <a:gd name="connsiteX33-2051" fmla="*/ 4869244 w 9397013"/>
              <a:gd name="connsiteY33-2052" fmla="*/ 2053337 h 6925856"/>
              <a:gd name="connsiteX34-2053" fmla="*/ 8567691 w 9397013"/>
              <a:gd name="connsiteY34-2054" fmla="*/ 6916619 h 6925856"/>
              <a:gd name="connsiteX35-2055" fmla="*/ 9397013 w 9397013"/>
              <a:gd name="connsiteY35-2056" fmla="*/ 6925855 h 6925856"/>
              <a:gd name="connsiteX36-2057" fmla="*/ 8921338 w 9397013"/>
              <a:gd name="connsiteY36-2058" fmla="*/ 6907383 h 6925856"/>
              <a:gd name="connsiteX37-2059" fmla="*/ 5045299 w 9397013"/>
              <a:gd name="connsiteY37-2060" fmla="*/ 1822761 h 6925856"/>
              <a:gd name="connsiteX38-2061" fmla="*/ 5273037 w 9397013"/>
              <a:gd name="connsiteY38-2062" fmla="*/ 1524494 h 6925856"/>
              <a:gd name="connsiteX39-2063" fmla="*/ 9397013 w 9397013"/>
              <a:gd name="connsiteY39-2064" fmla="*/ 6925855 h 6925856"/>
              <a:gd name="connsiteX0-2065" fmla="*/ 168369 w 9397013"/>
              <a:gd name="connsiteY0-2066" fmla="*/ 4571581 h 6925856"/>
              <a:gd name="connsiteX1-2067" fmla="*/ 0 w 9397013"/>
              <a:gd name="connsiteY1-2068" fmla="*/ 4200794 h 6925856"/>
              <a:gd name="connsiteX2-2069" fmla="*/ 3175788 w 9397013"/>
              <a:gd name="connsiteY2-2070" fmla="*/ 4084 h 6925856"/>
              <a:gd name="connsiteX3-2071" fmla="*/ 3628305 w 9397013"/>
              <a:gd name="connsiteY3-2072" fmla="*/ 0 h 6925856"/>
              <a:gd name="connsiteX4-2073" fmla="*/ 168369 w 9397013"/>
              <a:gd name="connsiteY4-2074" fmla="*/ 4571581 h 6925856"/>
              <a:gd name="connsiteX5-2075" fmla="*/ 488220 w 9397013"/>
              <a:gd name="connsiteY5-2076" fmla="*/ 5275963 h 6925856"/>
              <a:gd name="connsiteX6-2077" fmla="*/ 299082 w 9397013"/>
              <a:gd name="connsiteY6-2078" fmla="*/ 4859439 h 6925856"/>
              <a:gd name="connsiteX7-2079" fmla="*/ 3977147 w 9397013"/>
              <a:gd name="connsiteY7-2080" fmla="*/ 3723 h 6925856"/>
              <a:gd name="connsiteX8-2081" fmla="*/ 4465006 w 9397013"/>
              <a:gd name="connsiteY8-2082" fmla="*/ 840 h 6925856"/>
              <a:gd name="connsiteX9-2083" fmla="*/ 488220 w 9397013"/>
              <a:gd name="connsiteY9-2084" fmla="*/ 5275963 h 6925856"/>
              <a:gd name="connsiteX10-2085" fmla="*/ 1601458 w 9397013"/>
              <a:gd name="connsiteY10-2086" fmla="*/ 4845836 h 6925856"/>
              <a:gd name="connsiteX11-2087" fmla="*/ 618065 w 9397013"/>
              <a:gd name="connsiteY11-2088" fmla="*/ 5561911 h 6925856"/>
              <a:gd name="connsiteX12-2089" fmla="*/ 4805164 w 9397013"/>
              <a:gd name="connsiteY12-2090" fmla="*/ 4602 h 6925856"/>
              <a:gd name="connsiteX13-2091" fmla="*/ 5260238 w 9397013"/>
              <a:gd name="connsiteY13-2092" fmla="*/ 25779 h 6925856"/>
              <a:gd name="connsiteX14-2093" fmla="*/ 1601458 w 9397013"/>
              <a:gd name="connsiteY14-2094" fmla="*/ 4845836 h 6925856"/>
              <a:gd name="connsiteX15-2095" fmla="*/ 1580200 w 9397013"/>
              <a:gd name="connsiteY15-2096" fmla="*/ 5985735 h 6925856"/>
              <a:gd name="connsiteX16-2097" fmla="*/ 1566201 w 9397013"/>
              <a:gd name="connsiteY16-2098" fmla="*/ 5394811 h 6925856"/>
              <a:gd name="connsiteX17-2099" fmla="*/ 5641256 w 9397013"/>
              <a:gd name="connsiteY17-2100" fmla="*/ 4084 h 6925856"/>
              <a:gd name="connsiteX18-2101" fmla="*/ 6077099 w 9397013"/>
              <a:gd name="connsiteY18-2102" fmla="*/ 17286 h 6925856"/>
              <a:gd name="connsiteX19-2103" fmla="*/ 1580200 w 9397013"/>
              <a:gd name="connsiteY19-2104" fmla="*/ 5985735 h 6925856"/>
              <a:gd name="connsiteX20-2105" fmla="*/ 6958778 w 9397013"/>
              <a:gd name="connsiteY20-2106" fmla="*/ 6916619 h 6925856"/>
              <a:gd name="connsiteX21-2107" fmla="*/ 6560038 w 9397013"/>
              <a:gd name="connsiteY21-2108" fmla="*/ 6925855 h 6925856"/>
              <a:gd name="connsiteX22-2109" fmla="*/ 3849932 w 9397013"/>
              <a:gd name="connsiteY22-2110" fmla="*/ 3388318 h 6925856"/>
              <a:gd name="connsiteX23-2111" fmla="*/ 4086202 w 9397013"/>
              <a:gd name="connsiteY23-2112" fmla="*/ 3078877 h 6925856"/>
              <a:gd name="connsiteX24-2113" fmla="*/ 6958778 w 9397013"/>
              <a:gd name="connsiteY24-2114" fmla="*/ 6916619 h 6925856"/>
              <a:gd name="connsiteX25-2115" fmla="*/ 7777211 w 9397013"/>
              <a:gd name="connsiteY25-2116" fmla="*/ 6916620 h 6925856"/>
              <a:gd name="connsiteX26-2117" fmla="*/ 7324729 w 9397013"/>
              <a:gd name="connsiteY26-2118" fmla="*/ 6916620 h 6925856"/>
              <a:gd name="connsiteX27-2119" fmla="*/ 4245793 w 9397013"/>
              <a:gd name="connsiteY27-2120" fmla="*/ 2869862 h 6925856"/>
              <a:gd name="connsiteX28-2121" fmla="*/ 4490696 w 9397013"/>
              <a:gd name="connsiteY28-2122" fmla="*/ 2549117 h 6925856"/>
              <a:gd name="connsiteX29-2123" fmla="*/ 7777211 w 9397013"/>
              <a:gd name="connsiteY29-2124" fmla="*/ 6916620 h 6925856"/>
              <a:gd name="connsiteX30-2125" fmla="*/ 8567691 w 9397013"/>
              <a:gd name="connsiteY30-2126" fmla="*/ 6916619 h 6925856"/>
              <a:gd name="connsiteX31-2127" fmla="*/ 8159389 w 9397013"/>
              <a:gd name="connsiteY31-2128" fmla="*/ 6925856 h 6925856"/>
              <a:gd name="connsiteX32-2129" fmla="*/ 4650570 w 9397013"/>
              <a:gd name="connsiteY32-2130" fmla="*/ 2339732 h 6925856"/>
              <a:gd name="connsiteX33-2131" fmla="*/ 4869244 w 9397013"/>
              <a:gd name="connsiteY33-2132" fmla="*/ 2053337 h 6925856"/>
              <a:gd name="connsiteX34-2133" fmla="*/ 8567691 w 9397013"/>
              <a:gd name="connsiteY34-2134" fmla="*/ 6916619 h 6925856"/>
              <a:gd name="connsiteX35-2135" fmla="*/ 9397013 w 9397013"/>
              <a:gd name="connsiteY35-2136" fmla="*/ 6925855 h 6925856"/>
              <a:gd name="connsiteX36-2137" fmla="*/ 8921338 w 9397013"/>
              <a:gd name="connsiteY36-2138" fmla="*/ 6907383 h 6925856"/>
              <a:gd name="connsiteX37-2139" fmla="*/ 5045299 w 9397013"/>
              <a:gd name="connsiteY37-2140" fmla="*/ 1822761 h 6925856"/>
              <a:gd name="connsiteX38-2141" fmla="*/ 5273037 w 9397013"/>
              <a:gd name="connsiteY38-2142" fmla="*/ 1524494 h 6925856"/>
              <a:gd name="connsiteX39-2143" fmla="*/ 9397013 w 9397013"/>
              <a:gd name="connsiteY39-2144" fmla="*/ 6925855 h 6925856"/>
              <a:gd name="connsiteX0-2145" fmla="*/ 168369 w 9397013"/>
              <a:gd name="connsiteY0-2146" fmla="*/ 4571581 h 6925856"/>
              <a:gd name="connsiteX1-2147" fmla="*/ 0 w 9397013"/>
              <a:gd name="connsiteY1-2148" fmla="*/ 4200794 h 6925856"/>
              <a:gd name="connsiteX2-2149" fmla="*/ 3175788 w 9397013"/>
              <a:gd name="connsiteY2-2150" fmla="*/ 4084 h 6925856"/>
              <a:gd name="connsiteX3-2151" fmla="*/ 3628305 w 9397013"/>
              <a:gd name="connsiteY3-2152" fmla="*/ 0 h 6925856"/>
              <a:gd name="connsiteX4-2153" fmla="*/ 168369 w 9397013"/>
              <a:gd name="connsiteY4-2154" fmla="*/ 4571581 h 6925856"/>
              <a:gd name="connsiteX5-2155" fmla="*/ 488220 w 9397013"/>
              <a:gd name="connsiteY5-2156" fmla="*/ 5275963 h 6925856"/>
              <a:gd name="connsiteX6-2157" fmla="*/ 299082 w 9397013"/>
              <a:gd name="connsiteY6-2158" fmla="*/ 4859439 h 6925856"/>
              <a:gd name="connsiteX7-2159" fmla="*/ 3977147 w 9397013"/>
              <a:gd name="connsiteY7-2160" fmla="*/ 3723 h 6925856"/>
              <a:gd name="connsiteX8-2161" fmla="*/ 4465006 w 9397013"/>
              <a:gd name="connsiteY8-2162" fmla="*/ 840 h 6925856"/>
              <a:gd name="connsiteX9-2163" fmla="*/ 488220 w 9397013"/>
              <a:gd name="connsiteY9-2164" fmla="*/ 5275963 h 6925856"/>
              <a:gd name="connsiteX10-2165" fmla="*/ 1601458 w 9397013"/>
              <a:gd name="connsiteY10-2166" fmla="*/ 4845836 h 6925856"/>
              <a:gd name="connsiteX11-2167" fmla="*/ 1550937 w 9397013"/>
              <a:gd name="connsiteY11-2168" fmla="*/ 4315002 h 6925856"/>
              <a:gd name="connsiteX12-2169" fmla="*/ 4805164 w 9397013"/>
              <a:gd name="connsiteY12-2170" fmla="*/ 4602 h 6925856"/>
              <a:gd name="connsiteX13-2171" fmla="*/ 5260238 w 9397013"/>
              <a:gd name="connsiteY13-2172" fmla="*/ 25779 h 6925856"/>
              <a:gd name="connsiteX14-2173" fmla="*/ 1601458 w 9397013"/>
              <a:gd name="connsiteY14-2174" fmla="*/ 4845836 h 6925856"/>
              <a:gd name="connsiteX15-2175" fmla="*/ 1580200 w 9397013"/>
              <a:gd name="connsiteY15-2176" fmla="*/ 5985735 h 6925856"/>
              <a:gd name="connsiteX16-2177" fmla="*/ 1566201 w 9397013"/>
              <a:gd name="connsiteY16-2178" fmla="*/ 5394811 h 6925856"/>
              <a:gd name="connsiteX17-2179" fmla="*/ 5641256 w 9397013"/>
              <a:gd name="connsiteY17-2180" fmla="*/ 4084 h 6925856"/>
              <a:gd name="connsiteX18-2181" fmla="*/ 6077099 w 9397013"/>
              <a:gd name="connsiteY18-2182" fmla="*/ 17286 h 6925856"/>
              <a:gd name="connsiteX19-2183" fmla="*/ 1580200 w 9397013"/>
              <a:gd name="connsiteY19-2184" fmla="*/ 5985735 h 6925856"/>
              <a:gd name="connsiteX20-2185" fmla="*/ 6958778 w 9397013"/>
              <a:gd name="connsiteY20-2186" fmla="*/ 6916619 h 6925856"/>
              <a:gd name="connsiteX21-2187" fmla="*/ 6560038 w 9397013"/>
              <a:gd name="connsiteY21-2188" fmla="*/ 6925855 h 6925856"/>
              <a:gd name="connsiteX22-2189" fmla="*/ 3849932 w 9397013"/>
              <a:gd name="connsiteY22-2190" fmla="*/ 3388318 h 6925856"/>
              <a:gd name="connsiteX23-2191" fmla="*/ 4086202 w 9397013"/>
              <a:gd name="connsiteY23-2192" fmla="*/ 3078877 h 6925856"/>
              <a:gd name="connsiteX24-2193" fmla="*/ 6958778 w 9397013"/>
              <a:gd name="connsiteY24-2194" fmla="*/ 6916619 h 6925856"/>
              <a:gd name="connsiteX25-2195" fmla="*/ 7777211 w 9397013"/>
              <a:gd name="connsiteY25-2196" fmla="*/ 6916620 h 6925856"/>
              <a:gd name="connsiteX26-2197" fmla="*/ 7324729 w 9397013"/>
              <a:gd name="connsiteY26-2198" fmla="*/ 6916620 h 6925856"/>
              <a:gd name="connsiteX27-2199" fmla="*/ 4245793 w 9397013"/>
              <a:gd name="connsiteY27-2200" fmla="*/ 2869862 h 6925856"/>
              <a:gd name="connsiteX28-2201" fmla="*/ 4490696 w 9397013"/>
              <a:gd name="connsiteY28-2202" fmla="*/ 2549117 h 6925856"/>
              <a:gd name="connsiteX29-2203" fmla="*/ 7777211 w 9397013"/>
              <a:gd name="connsiteY29-2204" fmla="*/ 6916620 h 6925856"/>
              <a:gd name="connsiteX30-2205" fmla="*/ 8567691 w 9397013"/>
              <a:gd name="connsiteY30-2206" fmla="*/ 6916619 h 6925856"/>
              <a:gd name="connsiteX31-2207" fmla="*/ 8159389 w 9397013"/>
              <a:gd name="connsiteY31-2208" fmla="*/ 6925856 h 6925856"/>
              <a:gd name="connsiteX32-2209" fmla="*/ 4650570 w 9397013"/>
              <a:gd name="connsiteY32-2210" fmla="*/ 2339732 h 6925856"/>
              <a:gd name="connsiteX33-2211" fmla="*/ 4869244 w 9397013"/>
              <a:gd name="connsiteY33-2212" fmla="*/ 2053337 h 6925856"/>
              <a:gd name="connsiteX34-2213" fmla="*/ 8567691 w 9397013"/>
              <a:gd name="connsiteY34-2214" fmla="*/ 6916619 h 6925856"/>
              <a:gd name="connsiteX35-2215" fmla="*/ 9397013 w 9397013"/>
              <a:gd name="connsiteY35-2216" fmla="*/ 6925855 h 6925856"/>
              <a:gd name="connsiteX36-2217" fmla="*/ 8921338 w 9397013"/>
              <a:gd name="connsiteY36-2218" fmla="*/ 6907383 h 6925856"/>
              <a:gd name="connsiteX37-2219" fmla="*/ 5045299 w 9397013"/>
              <a:gd name="connsiteY37-2220" fmla="*/ 1822761 h 6925856"/>
              <a:gd name="connsiteX38-2221" fmla="*/ 5273037 w 9397013"/>
              <a:gd name="connsiteY38-2222" fmla="*/ 1524494 h 6925856"/>
              <a:gd name="connsiteX39-2223" fmla="*/ 9397013 w 9397013"/>
              <a:gd name="connsiteY39-2224" fmla="*/ 6925855 h 6925856"/>
              <a:gd name="connsiteX0-2225" fmla="*/ 168369 w 9397013"/>
              <a:gd name="connsiteY0-2226" fmla="*/ 4571581 h 6925856"/>
              <a:gd name="connsiteX1-2227" fmla="*/ 0 w 9397013"/>
              <a:gd name="connsiteY1-2228" fmla="*/ 4200794 h 6925856"/>
              <a:gd name="connsiteX2-2229" fmla="*/ 3175788 w 9397013"/>
              <a:gd name="connsiteY2-2230" fmla="*/ 4084 h 6925856"/>
              <a:gd name="connsiteX3-2231" fmla="*/ 3628305 w 9397013"/>
              <a:gd name="connsiteY3-2232" fmla="*/ 0 h 6925856"/>
              <a:gd name="connsiteX4-2233" fmla="*/ 168369 w 9397013"/>
              <a:gd name="connsiteY4-2234" fmla="*/ 4571581 h 6925856"/>
              <a:gd name="connsiteX5-2235" fmla="*/ 488220 w 9397013"/>
              <a:gd name="connsiteY5-2236" fmla="*/ 5275963 h 6925856"/>
              <a:gd name="connsiteX6-2237" fmla="*/ 299082 w 9397013"/>
              <a:gd name="connsiteY6-2238" fmla="*/ 4859439 h 6925856"/>
              <a:gd name="connsiteX7-2239" fmla="*/ 3977147 w 9397013"/>
              <a:gd name="connsiteY7-2240" fmla="*/ 3723 h 6925856"/>
              <a:gd name="connsiteX8-2241" fmla="*/ 4465006 w 9397013"/>
              <a:gd name="connsiteY8-2242" fmla="*/ 840 h 6925856"/>
              <a:gd name="connsiteX9-2243" fmla="*/ 488220 w 9397013"/>
              <a:gd name="connsiteY9-2244" fmla="*/ 5275963 h 6925856"/>
              <a:gd name="connsiteX10-2245" fmla="*/ 1573749 w 9397013"/>
              <a:gd name="connsiteY10-2246" fmla="*/ 4882781 h 6925856"/>
              <a:gd name="connsiteX11-2247" fmla="*/ 1550937 w 9397013"/>
              <a:gd name="connsiteY11-2248" fmla="*/ 4315002 h 6925856"/>
              <a:gd name="connsiteX12-2249" fmla="*/ 4805164 w 9397013"/>
              <a:gd name="connsiteY12-2250" fmla="*/ 4602 h 6925856"/>
              <a:gd name="connsiteX13-2251" fmla="*/ 5260238 w 9397013"/>
              <a:gd name="connsiteY13-2252" fmla="*/ 25779 h 6925856"/>
              <a:gd name="connsiteX14-2253" fmla="*/ 1573749 w 9397013"/>
              <a:gd name="connsiteY14-2254" fmla="*/ 4882781 h 6925856"/>
              <a:gd name="connsiteX15-2255" fmla="*/ 1580200 w 9397013"/>
              <a:gd name="connsiteY15-2256" fmla="*/ 5985735 h 6925856"/>
              <a:gd name="connsiteX16-2257" fmla="*/ 1566201 w 9397013"/>
              <a:gd name="connsiteY16-2258" fmla="*/ 5394811 h 6925856"/>
              <a:gd name="connsiteX17-2259" fmla="*/ 5641256 w 9397013"/>
              <a:gd name="connsiteY17-2260" fmla="*/ 4084 h 6925856"/>
              <a:gd name="connsiteX18-2261" fmla="*/ 6077099 w 9397013"/>
              <a:gd name="connsiteY18-2262" fmla="*/ 17286 h 6925856"/>
              <a:gd name="connsiteX19-2263" fmla="*/ 1580200 w 9397013"/>
              <a:gd name="connsiteY19-2264" fmla="*/ 5985735 h 6925856"/>
              <a:gd name="connsiteX20-2265" fmla="*/ 6958778 w 9397013"/>
              <a:gd name="connsiteY20-2266" fmla="*/ 6916619 h 6925856"/>
              <a:gd name="connsiteX21-2267" fmla="*/ 6560038 w 9397013"/>
              <a:gd name="connsiteY21-2268" fmla="*/ 6925855 h 6925856"/>
              <a:gd name="connsiteX22-2269" fmla="*/ 3849932 w 9397013"/>
              <a:gd name="connsiteY22-2270" fmla="*/ 3388318 h 6925856"/>
              <a:gd name="connsiteX23-2271" fmla="*/ 4086202 w 9397013"/>
              <a:gd name="connsiteY23-2272" fmla="*/ 3078877 h 6925856"/>
              <a:gd name="connsiteX24-2273" fmla="*/ 6958778 w 9397013"/>
              <a:gd name="connsiteY24-2274" fmla="*/ 6916619 h 6925856"/>
              <a:gd name="connsiteX25-2275" fmla="*/ 7777211 w 9397013"/>
              <a:gd name="connsiteY25-2276" fmla="*/ 6916620 h 6925856"/>
              <a:gd name="connsiteX26-2277" fmla="*/ 7324729 w 9397013"/>
              <a:gd name="connsiteY26-2278" fmla="*/ 6916620 h 6925856"/>
              <a:gd name="connsiteX27-2279" fmla="*/ 4245793 w 9397013"/>
              <a:gd name="connsiteY27-2280" fmla="*/ 2869862 h 6925856"/>
              <a:gd name="connsiteX28-2281" fmla="*/ 4490696 w 9397013"/>
              <a:gd name="connsiteY28-2282" fmla="*/ 2549117 h 6925856"/>
              <a:gd name="connsiteX29-2283" fmla="*/ 7777211 w 9397013"/>
              <a:gd name="connsiteY29-2284" fmla="*/ 6916620 h 6925856"/>
              <a:gd name="connsiteX30-2285" fmla="*/ 8567691 w 9397013"/>
              <a:gd name="connsiteY30-2286" fmla="*/ 6916619 h 6925856"/>
              <a:gd name="connsiteX31-2287" fmla="*/ 8159389 w 9397013"/>
              <a:gd name="connsiteY31-2288" fmla="*/ 6925856 h 6925856"/>
              <a:gd name="connsiteX32-2289" fmla="*/ 4650570 w 9397013"/>
              <a:gd name="connsiteY32-2290" fmla="*/ 2339732 h 6925856"/>
              <a:gd name="connsiteX33-2291" fmla="*/ 4869244 w 9397013"/>
              <a:gd name="connsiteY33-2292" fmla="*/ 2053337 h 6925856"/>
              <a:gd name="connsiteX34-2293" fmla="*/ 8567691 w 9397013"/>
              <a:gd name="connsiteY34-2294" fmla="*/ 6916619 h 6925856"/>
              <a:gd name="connsiteX35-2295" fmla="*/ 9397013 w 9397013"/>
              <a:gd name="connsiteY35-2296" fmla="*/ 6925855 h 6925856"/>
              <a:gd name="connsiteX36-2297" fmla="*/ 8921338 w 9397013"/>
              <a:gd name="connsiteY36-2298" fmla="*/ 6907383 h 6925856"/>
              <a:gd name="connsiteX37-2299" fmla="*/ 5045299 w 9397013"/>
              <a:gd name="connsiteY37-2300" fmla="*/ 1822761 h 6925856"/>
              <a:gd name="connsiteX38-2301" fmla="*/ 5273037 w 9397013"/>
              <a:gd name="connsiteY38-2302" fmla="*/ 1524494 h 6925856"/>
              <a:gd name="connsiteX39-2303" fmla="*/ 9397013 w 9397013"/>
              <a:gd name="connsiteY39-2304" fmla="*/ 6925855 h 6925856"/>
              <a:gd name="connsiteX0-2305" fmla="*/ 168369 w 9397013"/>
              <a:gd name="connsiteY0-2306" fmla="*/ 4571581 h 6925856"/>
              <a:gd name="connsiteX1-2307" fmla="*/ 0 w 9397013"/>
              <a:gd name="connsiteY1-2308" fmla="*/ 4200794 h 6925856"/>
              <a:gd name="connsiteX2-2309" fmla="*/ 3175788 w 9397013"/>
              <a:gd name="connsiteY2-2310" fmla="*/ 4084 h 6925856"/>
              <a:gd name="connsiteX3-2311" fmla="*/ 3628305 w 9397013"/>
              <a:gd name="connsiteY3-2312" fmla="*/ 0 h 6925856"/>
              <a:gd name="connsiteX4-2313" fmla="*/ 168369 w 9397013"/>
              <a:gd name="connsiteY4-2314" fmla="*/ 4571581 h 6925856"/>
              <a:gd name="connsiteX5-2315" fmla="*/ 1578111 w 9397013"/>
              <a:gd name="connsiteY5-2316" fmla="*/ 3835090 h 6925856"/>
              <a:gd name="connsiteX6-2317" fmla="*/ 299082 w 9397013"/>
              <a:gd name="connsiteY6-2318" fmla="*/ 4859439 h 6925856"/>
              <a:gd name="connsiteX7-2319" fmla="*/ 3977147 w 9397013"/>
              <a:gd name="connsiteY7-2320" fmla="*/ 3723 h 6925856"/>
              <a:gd name="connsiteX8-2321" fmla="*/ 4465006 w 9397013"/>
              <a:gd name="connsiteY8-2322" fmla="*/ 840 h 6925856"/>
              <a:gd name="connsiteX9-2323" fmla="*/ 1578111 w 9397013"/>
              <a:gd name="connsiteY9-2324" fmla="*/ 3835090 h 6925856"/>
              <a:gd name="connsiteX10-2325" fmla="*/ 1573749 w 9397013"/>
              <a:gd name="connsiteY10-2326" fmla="*/ 4882781 h 6925856"/>
              <a:gd name="connsiteX11-2327" fmla="*/ 1550937 w 9397013"/>
              <a:gd name="connsiteY11-2328" fmla="*/ 4315002 h 6925856"/>
              <a:gd name="connsiteX12-2329" fmla="*/ 4805164 w 9397013"/>
              <a:gd name="connsiteY12-2330" fmla="*/ 4602 h 6925856"/>
              <a:gd name="connsiteX13-2331" fmla="*/ 5260238 w 9397013"/>
              <a:gd name="connsiteY13-2332" fmla="*/ 25779 h 6925856"/>
              <a:gd name="connsiteX14-2333" fmla="*/ 1573749 w 9397013"/>
              <a:gd name="connsiteY14-2334" fmla="*/ 4882781 h 6925856"/>
              <a:gd name="connsiteX15-2335" fmla="*/ 1580200 w 9397013"/>
              <a:gd name="connsiteY15-2336" fmla="*/ 5985735 h 6925856"/>
              <a:gd name="connsiteX16-2337" fmla="*/ 1566201 w 9397013"/>
              <a:gd name="connsiteY16-2338" fmla="*/ 5394811 h 6925856"/>
              <a:gd name="connsiteX17-2339" fmla="*/ 5641256 w 9397013"/>
              <a:gd name="connsiteY17-2340" fmla="*/ 4084 h 6925856"/>
              <a:gd name="connsiteX18-2341" fmla="*/ 6077099 w 9397013"/>
              <a:gd name="connsiteY18-2342" fmla="*/ 17286 h 6925856"/>
              <a:gd name="connsiteX19-2343" fmla="*/ 1580200 w 9397013"/>
              <a:gd name="connsiteY19-2344" fmla="*/ 5985735 h 6925856"/>
              <a:gd name="connsiteX20-2345" fmla="*/ 6958778 w 9397013"/>
              <a:gd name="connsiteY20-2346" fmla="*/ 6916619 h 6925856"/>
              <a:gd name="connsiteX21-2347" fmla="*/ 6560038 w 9397013"/>
              <a:gd name="connsiteY21-2348" fmla="*/ 6925855 h 6925856"/>
              <a:gd name="connsiteX22-2349" fmla="*/ 3849932 w 9397013"/>
              <a:gd name="connsiteY22-2350" fmla="*/ 3388318 h 6925856"/>
              <a:gd name="connsiteX23-2351" fmla="*/ 4086202 w 9397013"/>
              <a:gd name="connsiteY23-2352" fmla="*/ 3078877 h 6925856"/>
              <a:gd name="connsiteX24-2353" fmla="*/ 6958778 w 9397013"/>
              <a:gd name="connsiteY24-2354" fmla="*/ 6916619 h 6925856"/>
              <a:gd name="connsiteX25-2355" fmla="*/ 7777211 w 9397013"/>
              <a:gd name="connsiteY25-2356" fmla="*/ 6916620 h 6925856"/>
              <a:gd name="connsiteX26-2357" fmla="*/ 7324729 w 9397013"/>
              <a:gd name="connsiteY26-2358" fmla="*/ 6916620 h 6925856"/>
              <a:gd name="connsiteX27-2359" fmla="*/ 4245793 w 9397013"/>
              <a:gd name="connsiteY27-2360" fmla="*/ 2869862 h 6925856"/>
              <a:gd name="connsiteX28-2361" fmla="*/ 4490696 w 9397013"/>
              <a:gd name="connsiteY28-2362" fmla="*/ 2549117 h 6925856"/>
              <a:gd name="connsiteX29-2363" fmla="*/ 7777211 w 9397013"/>
              <a:gd name="connsiteY29-2364" fmla="*/ 6916620 h 6925856"/>
              <a:gd name="connsiteX30-2365" fmla="*/ 8567691 w 9397013"/>
              <a:gd name="connsiteY30-2366" fmla="*/ 6916619 h 6925856"/>
              <a:gd name="connsiteX31-2367" fmla="*/ 8159389 w 9397013"/>
              <a:gd name="connsiteY31-2368" fmla="*/ 6925856 h 6925856"/>
              <a:gd name="connsiteX32-2369" fmla="*/ 4650570 w 9397013"/>
              <a:gd name="connsiteY32-2370" fmla="*/ 2339732 h 6925856"/>
              <a:gd name="connsiteX33-2371" fmla="*/ 4869244 w 9397013"/>
              <a:gd name="connsiteY33-2372" fmla="*/ 2053337 h 6925856"/>
              <a:gd name="connsiteX34-2373" fmla="*/ 8567691 w 9397013"/>
              <a:gd name="connsiteY34-2374" fmla="*/ 6916619 h 6925856"/>
              <a:gd name="connsiteX35-2375" fmla="*/ 9397013 w 9397013"/>
              <a:gd name="connsiteY35-2376" fmla="*/ 6925855 h 6925856"/>
              <a:gd name="connsiteX36-2377" fmla="*/ 8921338 w 9397013"/>
              <a:gd name="connsiteY36-2378" fmla="*/ 6907383 h 6925856"/>
              <a:gd name="connsiteX37-2379" fmla="*/ 5045299 w 9397013"/>
              <a:gd name="connsiteY37-2380" fmla="*/ 1822761 h 6925856"/>
              <a:gd name="connsiteX38-2381" fmla="*/ 5273037 w 9397013"/>
              <a:gd name="connsiteY38-2382" fmla="*/ 1524494 h 6925856"/>
              <a:gd name="connsiteX39-2383" fmla="*/ 9397013 w 9397013"/>
              <a:gd name="connsiteY39-2384" fmla="*/ 6925855 h 6925856"/>
              <a:gd name="connsiteX0-2385" fmla="*/ 168369 w 9397013"/>
              <a:gd name="connsiteY0-2386" fmla="*/ 4571581 h 6925856"/>
              <a:gd name="connsiteX1-2387" fmla="*/ 0 w 9397013"/>
              <a:gd name="connsiteY1-2388" fmla="*/ 4200794 h 6925856"/>
              <a:gd name="connsiteX2-2389" fmla="*/ 3175788 w 9397013"/>
              <a:gd name="connsiteY2-2390" fmla="*/ 4084 h 6925856"/>
              <a:gd name="connsiteX3-2391" fmla="*/ 3628305 w 9397013"/>
              <a:gd name="connsiteY3-2392" fmla="*/ 0 h 6925856"/>
              <a:gd name="connsiteX4-2393" fmla="*/ 168369 w 9397013"/>
              <a:gd name="connsiteY4-2394" fmla="*/ 4571581 h 6925856"/>
              <a:gd name="connsiteX5-2395" fmla="*/ 1578111 w 9397013"/>
              <a:gd name="connsiteY5-2396" fmla="*/ 3835090 h 6925856"/>
              <a:gd name="connsiteX6-2397" fmla="*/ 1564463 w 9397013"/>
              <a:gd name="connsiteY6-2398" fmla="*/ 3206130 h 6925856"/>
              <a:gd name="connsiteX7-2399" fmla="*/ 3977147 w 9397013"/>
              <a:gd name="connsiteY7-2400" fmla="*/ 3723 h 6925856"/>
              <a:gd name="connsiteX8-2401" fmla="*/ 4465006 w 9397013"/>
              <a:gd name="connsiteY8-2402" fmla="*/ 840 h 6925856"/>
              <a:gd name="connsiteX9-2403" fmla="*/ 1578111 w 9397013"/>
              <a:gd name="connsiteY9-2404" fmla="*/ 3835090 h 6925856"/>
              <a:gd name="connsiteX10-2405" fmla="*/ 1573749 w 9397013"/>
              <a:gd name="connsiteY10-2406" fmla="*/ 4882781 h 6925856"/>
              <a:gd name="connsiteX11-2407" fmla="*/ 1550937 w 9397013"/>
              <a:gd name="connsiteY11-2408" fmla="*/ 4315002 h 6925856"/>
              <a:gd name="connsiteX12-2409" fmla="*/ 4805164 w 9397013"/>
              <a:gd name="connsiteY12-2410" fmla="*/ 4602 h 6925856"/>
              <a:gd name="connsiteX13-2411" fmla="*/ 5260238 w 9397013"/>
              <a:gd name="connsiteY13-2412" fmla="*/ 25779 h 6925856"/>
              <a:gd name="connsiteX14-2413" fmla="*/ 1573749 w 9397013"/>
              <a:gd name="connsiteY14-2414" fmla="*/ 4882781 h 6925856"/>
              <a:gd name="connsiteX15-2415" fmla="*/ 1580200 w 9397013"/>
              <a:gd name="connsiteY15-2416" fmla="*/ 5985735 h 6925856"/>
              <a:gd name="connsiteX16-2417" fmla="*/ 1566201 w 9397013"/>
              <a:gd name="connsiteY16-2418" fmla="*/ 5394811 h 6925856"/>
              <a:gd name="connsiteX17-2419" fmla="*/ 5641256 w 9397013"/>
              <a:gd name="connsiteY17-2420" fmla="*/ 4084 h 6925856"/>
              <a:gd name="connsiteX18-2421" fmla="*/ 6077099 w 9397013"/>
              <a:gd name="connsiteY18-2422" fmla="*/ 17286 h 6925856"/>
              <a:gd name="connsiteX19-2423" fmla="*/ 1580200 w 9397013"/>
              <a:gd name="connsiteY19-2424" fmla="*/ 5985735 h 6925856"/>
              <a:gd name="connsiteX20-2425" fmla="*/ 6958778 w 9397013"/>
              <a:gd name="connsiteY20-2426" fmla="*/ 6916619 h 6925856"/>
              <a:gd name="connsiteX21-2427" fmla="*/ 6560038 w 9397013"/>
              <a:gd name="connsiteY21-2428" fmla="*/ 6925855 h 6925856"/>
              <a:gd name="connsiteX22-2429" fmla="*/ 3849932 w 9397013"/>
              <a:gd name="connsiteY22-2430" fmla="*/ 3388318 h 6925856"/>
              <a:gd name="connsiteX23-2431" fmla="*/ 4086202 w 9397013"/>
              <a:gd name="connsiteY23-2432" fmla="*/ 3078877 h 6925856"/>
              <a:gd name="connsiteX24-2433" fmla="*/ 6958778 w 9397013"/>
              <a:gd name="connsiteY24-2434" fmla="*/ 6916619 h 6925856"/>
              <a:gd name="connsiteX25-2435" fmla="*/ 7777211 w 9397013"/>
              <a:gd name="connsiteY25-2436" fmla="*/ 6916620 h 6925856"/>
              <a:gd name="connsiteX26-2437" fmla="*/ 7324729 w 9397013"/>
              <a:gd name="connsiteY26-2438" fmla="*/ 6916620 h 6925856"/>
              <a:gd name="connsiteX27-2439" fmla="*/ 4245793 w 9397013"/>
              <a:gd name="connsiteY27-2440" fmla="*/ 2869862 h 6925856"/>
              <a:gd name="connsiteX28-2441" fmla="*/ 4490696 w 9397013"/>
              <a:gd name="connsiteY28-2442" fmla="*/ 2549117 h 6925856"/>
              <a:gd name="connsiteX29-2443" fmla="*/ 7777211 w 9397013"/>
              <a:gd name="connsiteY29-2444" fmla="*/ 6916620 h 6925856"/>
              <a:gd name="connsiteX30-2445" fmla="*/ 8567691 w 9397013"/>
              <a:gd name="connsiteY30-2446" fmla="*/ 6916619 h 6925856"/>
              <a:gd name="connsiteX31-2447" fmla="*/ 8159389 w 9397013"/>
              <a:gd name="connsiteY31-2448" fmla="*/ 6925856 h 6925856"/>
              <a:gd name="connsiteX32-2449" fmla="*/ 4650570 w 9397013"/>
              <a:gd name="connsiteY32-2450" fmla="*/ 2339732 h 6925856"/>
              <a:gd name="connsiteX33-2451" fmla="*/ 4869244 w 9397013"/>
              <a:gd name="connsiteY33-2452" fmla="*/ 2053337 h 6925856"/>
              <a:gd name="connsiteX34-2453" fmla="*/ 8567691 w 9397013"/>
              <a:gd name="connsiteY34-2454" fmla="*/ 6916619 h 6925856"/>
              <a:gd name="connsiteX35-2455" fmla="*/ 9397013 w 9397013"/>
              <a:gd name="connsiteY35-2456" fmla="*/ 6925855 h 6925856"/>
              <a:gd name="connsiteX36-2457" fmla="*/ 8921338 w 9397013"/>
              <a:gd name="connsiteY36-2458" fmla="*/ 6907383 h 6925856"/>
              <a:gd name="connsiteX37-2459" fmla="*/ 5045299 w 9397013"/>
              <a:gd name="connsiteY37-2460" fmla="*/ 1822761 h 6925856"/>
              <a:gd name="connsiteX38-2461" fmla="*/ 5273037 w 9397013"/>
              <a:gd name="connsiteY38-2462" fmla="*/ 1524494 h 6925856"/>
              <a:gd name="connsiteX39-2463" fmla="*/ 9397013 w 9397013"/>
              <a:gd name="connsiteY39-2464" fmla="*/ 6925855 h 6925856"/>
              <a:gd name="connsiteX0-2465" fmla="*/ 1572296 w 9397013"/>
              <a:gd name="connsiteY0-2466" fmla="*/ 2715072 h 6925856"/>
              <a:gd name="connsiteX1-2467" fmla="*/ 0 w 9397013"/>
              <a:gd name="connsiteY1-2468" fmla="*/ 4200794 h 6925856"/>
              <a:gd name="connsiteX2-2469" fmla="*/ 3175788 w 9397013"/>
              <a:gd name="connsiteY2-2470" fmla="*/ 4084 h 6925856"/>
              <a:gd name="connsiteX3-2471" fmla="*/ 3628305 w 9397013"/>
              <a:gd name="connsiteY3-2472" fmla="*/ 0 h 6925856"/>
              <a:gd name="connsiteX4-2473" fmla="*/ 1572296 w 9397013"/>
              <a:gd name="connsiteY4-2474" fmla="*/ 2715072 h 6925856"/>
              <a:gd name="connsiteX5-2475" fmla="*/ 1578111 w 9397013"/>
              <a:gd name="connsiteY5-2476" fmla="*/ 3835090 h 6925856"/>
              <a:gd name="connsiteX6-2477" fmla="*/ 1564463 w 9397013"/>
              <a:gd name="connsiteY6-2478" fmla="*/ 3206130 h 6925856"/>
              <a:gd name="connsiteX7-2479" fmla="*/ 3977147 w 9397013"/>
              <a:gd name="connsiteY7-2480" fmla="*/ 3723 h 6925856"/>
              <a:gd name="connsiteX8-2481" fmla="*/ 4465006 w 9397013"/>
              <a:gd name="connsiteY8-2482" fmla="*/ 840 h 6925856"/>
              <a:gd name="connsiteX9-2483" fmla="*/ 1578111 w 9397013"/>
              <a:gd name="connsiteY9-2484" fmla="*/ 3835090 h 6925856"/>
              <a:gd name="connsiteX10-2485" fmla="*/ 1573749 w 9397013"/>
              <a:gd name="connsiteY10-2486" fmla="*/ 4882781 h 6925856"/>
              <a:gd name="connsiteX11-2487" fmla="*/ 1550937 w 9397013"/>
              <a:gd name="connsiteY11-2488" fmla="*/ 4315002 h 6925856"/>
              <a:gd name="connsiteX12-2489" fmla="*/ 4805164 w 9397013"/>
              <a:gd name="connsiteY12-2490" fmla="*/ 4602 h 6925856"/>
              <a:gd name="connsiteX13-2491" fmla="*/ 5260238 w 9397013"/>
              <a:gd name="connsiteY13-2492" fmla="*/ 25779 h 6925856"/>
              <a:gd name="connsiteX14-2493" fmla="*/ 1573749 w 9397013"/>
              <a:gd name="connsiteY14-2494" fmla="*/ 4882781 h 6925856"/>
              <a:gd name="connsiteX15-2495" fmla="*/ 1580200 w 9397013"/>
              <a:gd name="connsiteY15-2496" fmla="*/ 5985735 h 6925856"/>
              <a:gd name="connsiteX16-2497" fmla="*/ 1566201 w 9397013"/>
              <a:gd name="connsiteY16-2498" fmla="*/ 5394811 h 6925856"/>
              <a:gd name="connsiteX17-2499" fmla="*/ 5641256 w 9397013"/>
              <a:gd name="connsiteY17-2500" fmla="*/ 4084 h 6925856"/>
              <a:gd name="connsiteX18-2501" fmla="*/ 6077099 w 9397013"/>
              <a:gd name="connsiteY18-2502" fmla="*/ 17286 h 6925856"/>
              <a:gd name="connsiteX19-2503" fmla="*/ 1580200 w 9397013"/>
              <a:gd name="connsiteY19-2504" fmla="*/ 5985735 h 6925856"/>
              <a:gd name="connsiteX20-2505" fmla="*/ 6958778 w 9397013"/>
              <a:gd name="connsiteY20-2506" fmla="*/ 6916619 h 6925856"/>
              <a:gd name="connsiteX21-2507" fmla="*/ 6560038 w 9397013"/>
              <a:gd name="connsiteY21-2508" fmla="*/ 6925855 h 6925856"/>
              <a:gd name="connsiteX22-2509" fmla="*/ 3849932 w 9397013"/>
              <a:gd name="connsiteY22-2510" fmla="*/ 3388318 h 6925856"/>
              <a:gd name="connsiteX23-2511" fmla="*/ 4086202 w 9397013"/>
              <a:gd name="connsiteY23-2512" fmla="*/ 3078877 h 6925856"/>
              <a:gd name="connsiteX24-2513" fmla="*/ 6958778 w 9397013"/>
              <a:gd name="connsiteY24-2514" fmla="*/ 6916619 h 6925856"/>
              <a:gd name="connsiteX25-2515" fmla="*/ 7777211 w 9397013"/>
              <a:gd name="connsiteY25-2516" fmla="*/ 6916620 h 6925856"/>
              <a:gd name="connsiteX26-2517" fmla="*/ 7324729 w 9397013"/>
              <a:gd name="connsiteY26-2518" fmla="*/ 6916620 h 6925856"/>
              <a:gd name="connsiteX27-2519" fmla="*/ 4245793 w 9397013"/>
              <a:gd name="connsiteY27-2520" fmla="*/ 2869862 h 6925856"/>
              <a:gd name="connsiteX28-2521" fmla="*/ 4490696 w 9397013"/>
              <a:gd name="connsiteY28-2522" fmla="*/ 2549117 h 6925856"/>
              <a:gd name="connsiteX29-2523" fmla="*/ 7777211 w 9397013"/>
              <a:gd name="connsiteY29-2524" fmla="*/ 6916620 h 6925856"/>
              <a:gd name="connsiteX30-2525" fmla="*/ 8567691 w 9397013"/>
              <a:gd name="connsiteY30-2526" fmla="*/ 6916619 h 6925856"/>
              <a:gd name="connsiteX31-2527" fmla="*/ 8159389 w 9397013"/>
              <a:gd name="connsiteY31-2528" fmla="*/ 6925856 h 6925856"/>
              <a:gd name="connsiteX32-2529" fmla="*/ 4650570 w 9397013"/>
              <a:gd name="connsiteY32-2530" fmla="*/ 2339732 h 6925856"/>
              <a:gd name="connsiteX33-2531" fmla="*/ 4869244 w 9397013"/>
              <a:gd name="connsiteY33-2532" fmla="*/ 2053337 h 6925856"/>
              <a:gd name="connsiteX34-2533" fmla="*/ 8567691 w 9397013"/>
              <a:gd name="connsiteY34-2534" fmla="*/ 6916619 h 6925856"/>
              <a:gd name="connsiteX35-2535" fmla="*/ 9397013 w 9397013"/>
              <a:gd name="connsiteY35-2536" fmla="*/ 6925855 h 6925856"/>
              <a:gd name="connsiteX36-2537" fmla="*/ 8921338 w 9397013"/>
              <a:gd name="connsiteY36-2538" fmla="*/ 6907383 h 6925856"/>
              <a:gd name="connsiteX37-2539" fmla="*/ 5045299 w 9397013"/>
              <a:gd name="connsiteY37-2540" fmla="*/ 1822761 h 6925856"/>
              <a:gd name="connsiteX38-2541" fmla="*/ 5273037 w 9397013"/>
              <a:gd name="connsiteY38-2542" fmla="*/ 1524494 h 6925856"/>
              <a:gd name="connsiteX39-2543" fmla="*/ 9397013 w 9397013"/>
              <a:gd name="connsiteY39-2544" fmla="*/ 6925855 h 6925856"/>
              <a:gd name="connsiteX0-2545" fmla="*/ 21359 w 7846076"/>
              <a:gd name="connsiteY0-2546" fmla="*/ 2715072 h 6925856"/>
              <a:gd name="connsiteX1-2547" fmla="*/ 28481 w 7846076"/>
              <a:gd name="connsiteY1-2548" fmla="*/ 2104139 h 6925856"/>
              <a:gd name="connsiteX2-2549" fmla="*/ 1624851 w 7846076"/>
              <a:gd name="connsiteY2-2550" fmla="*/ 4084 h 6925856"/>
              <a:gd name="connsiteX3-2551" fmla="*/ 2077368 w 7846076"/>
              <a:gd name="connsiteY3-2552" fmla="*/ 0 h 6925856"/>
              <a:gd name="connsiteX4-2553" fmla="*/ 21359 w 7846076"/>
              <a:gd name="connsiteY4-2554" fmla="*/ 2715072 h 6925856"/>
              <a:gd name="connsiteX5-2555" fmla="*/ 27174 w 7846076"/>
              <a:gd name="connsiteY5-2556" fmla="*/ 3835090 h 6925856"/>
              <a:gd name="connsiteX6-2557" fmla="*/ 13526 w 7846076"/>
              <a:gd name="connsiteY6-2558" fmla="*/ 3206130 h 6925856"/>
              <a:gd name="connsiteX7-2559" fmla="*/ 2426210 w 7846076"/>
              <a:gd name="connsiteY7-2560" fmla="*/ 3723 h 6925856"/>
              <a:gd name="connsiteX8-2561" fmla="*/ 2914069 w 7846076"/>
              <a:gd name="connsiteY8-2562" fmla="*/ 840 h 6925856"/>
              <a:gd name="connsiteX9-2563" fmla="*/ 27174 w 7846076"/>
              <a:gd name="connsiteY9-2564" fmla="*/ 3835090 h 6925856"/>
              <a:gd name="connsiteX10-2565" fmla="*/ 22812 w 7846076"/>
              <a:gd name="connsiteY10-2566" fmla="*/ 4882781 h 6925856"/>
              <a:gd name="connsiteX11-2567" fmla="*/ 0 w 7846076"/>
              <a:gd name="connsiteY11-2568" fmla="*/ 4315002 h 6925856"/>
              <a:gd name="connsiteX12-2569" fmla="*/ 3254227 w 7846076"/>
              <a:gd name="connsiteY12-2570" fmla="*/ 4602 h 6925856"/>
              <a:gd name="connsiteX13-2571" fmla="*/ 3709301 w 7846076"/>
              <a:gd name="connsiteY13-2572" fmla="*/ 25779 h 6925856"/>
              <a:gd name="connsiteX14-2573" fmla="*/ 22812 w 7846076"/>
              <a:gd name="connsiteY14-2574" fmla="*/ 4882781 h 6925856"/>
              <a:gd name="connsiteX15-2575" fmla="*/ 29263 w 7846076"/>
              <a:gd name="connsiteY15-2576" fmla="*/ 5985735 h 6925856"/>
              <a:gd name="connsiteX16-2577" fmla="*/ 15264 w 7846076"/>
              <a:gd name="connsiteY16-2578" fmla="*/ 5394811 h 6925856"/>
              <a:gd name="connsiteX17-2579" fmla="*/ 4090319 w 7846076"/>
              <a:gd name="connsiteY17-2580" fmla="*/ 4084 h 6925856"/>
              <a:gd name="connsiteX18-2581" fmla="*/ 4526162 w 7846076"/>
              <a:gd name="connsiteY18-2582" fmla="*/ 17286 h 6925856"/>
              <a:gd name="connsiteX19-2583" fmla="*/ 29263 w 7846076"/>
              <a:gd name="connsiteY19-2584" fmla="*/ 5985735 h 6925856"/>
              <a:gd name="connsiteX20-2585" fmla="*/ 5407841 w 7846076"/>
              <a:gd name="connsiteY20-2586" fmla="*/ 6916619 h 6925856"/>
              <a:gd name="connsiteX21-2587" fmla="*/ 5009101 w 7846076"/>
              <a:gd name="connsiteY21-2588" fmla="*/ 6925855 h 6925856"/>
              <a:gd name="connsiteX22-2589" fmla="*/ 2298995 w 7846076"/>
              <a:gd name="connsiteY22-2590" fmla="*/ 3388318 h 6925856"/>
              <a:gd name="connsiteX23-2591" fmla="*/ 2535265 w 7846076"/>
              <a:gd name="connsiteY23-2592" fmla="*/ 3078877 h 6925856"/>
              <a:gd name="connsiteX24-2593" fmla="*/ 5407841 w 7846076"/>
              <a:gd name="connsiteY24-2594" fmla="*/ 6916619 h 6925856"/>
              <a:gd name="connsiteX25-2595" fmla="*/ 6226274 w 7846076"/>
              <a:gd name="connsiteY25-2596" fmla="*/ 6916620 h 6925856"/>
              <a:gd name="connsiteX26-2597" fmla="*/ 5773792 w 7846076"/>
              <a:gd name="connsiteY26-2598" fmla="*/ 6916620 h 6925856"/>
              <a:gd name="connsiteX27-2599" fmla="*/ 2694856 w 7846076"/>
              <a:gd name="connsiteY27-2600" fmla="*/ 2869862 h 6925856"/>
              <a:gd name="connsiteX28-2601" fmla="*/ 2939759 w 7846076"/>
              <a:gd name="connsiteY28-2602" fmla="*/ 2549117 h 6925856"/>
              <a:gd name="connsiteX29-2603" fmla="*/ 6226274 w 7846076"/>
              <a:gd name="connsiteY29-2604" fmla="*/ 6916620 h 6925856"/>
              <a:gd name="connsiteX30-2605" fmla="*/ 7016754 w 7846076"/>
              <a:gd name="connsiteY30-2606" fmla="*/ 6916619 h 6925856"/>
              <a:gd name="connsiteX31-2607" fmla="*/ 6608452 w 7846076"/>
              <a:gd name="connsiteY31-2608" fmla="*/ 6925856 h 6925856"/>
              <a:gd name="connsiteX32-2609" fmla="*/ 3099633 w 7846076"/>
              <a:gd name="connsiteY32-2610" fmla="*/ 2339732 h 6925856"/>
              <a:gd name="connsiteX33-2611" fmla="*/ 3318307 w 7846076"/>
              <a:gd name="connsiteY33-2612" fmla="*/ 2053337 h 6925856"/>
              <a:gd name="connsiteX34-2613" fmla="*/ 7016754 w 7846076"/>
              <a:gd name="connsiteY34-2614" fmla="*/ 6916619 h 6925856"/>
              <a:gd name="connsiteX35-2615" fmla="*/ 7846076 w 7846076"/>
              <a:gd name="connsiteY35-2616" fmla="*/ 6925855 h 6925856"/>
              <a:gd name="connsiteX36-2617" fmla="*/ 7370401 w 7846076"/>
              <a:gd name="connsiteY36-2618" fmla="*/ 6907383 h 6925856"/>
              <a:gd name="connsiteX37-2619" fmla="*/ 3494362 w 7846076"/>
              <a:gd name="connsiteY37-2620" fmla="*/ 1822761 h 6925856"/>
              <a:gd name="connsiteX38-2621" fmla="*/ 3722100 w 7846076"/>
              <a:gd name="connsiteY38-2622" fmla="*/ 1524494 h 6925856"/>
              <a:gd name="connsiteX39-2623" fmla="*/ 7846076 w 7846076"/>
              <a:gd name="connsiteY39-2624" fmla="*/ 6925855 h 692585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129" y="connsiteY32-130"/>
              </a:cxn>
              <a:cxn ang="0">
                <a:pos x="connsiteX33-131" y="connsiteY33-132"/>
              </a:cxn>
              <a:cxn ang="0">
                <a:pos x="connsiteX34-133" y="connsiteY34-134"/>
              </a:cxn>
              <a:cxn ang="0">
                <a:pos x="connsiteX35-135" y="connsiteY35-136"/>
              </a:cxn>
              <a:cxn ang="0">
                <a:pos x="connsiteX36-137" y="connsiteY36-138"/>
              </a:cxn>
              <a:cxn ang="0">
                <a:pos x="connsiteX37-139" y="connsiteY37-140"/>
              </a:cxn>
              <a:cxn ang="0">
                <a:pos x="connsiteX38-141" y="connsiteY38-142"/>
              </a:cxn>
              <a:cxn ang="0">
                <a:pos x="connsiteX39-143" y="connsiteY39-144"/>
              </a:cxn>
            </a:cxnLst>
            <a:rect l="l" t="t" r="r" b="b"/>
            <a:pathLst>
              <a:path w="7846076" h="6925856">
                <a:moveTo>
                  <a:pt x="21359" y="2715072"/>
                </a:moveTo>
                <a:lnTo>
                  <a:pt x="28481" y="2104139"/>
                </a:lnTo>
                <a:lnTo>
                  <a:pt x="1624851" y="4084"/>
                </a:lnTo>
                <a:lnTo>
                  <a:pt x="2077368" y="0"/>
                </a:lnTo>
                <a:lnTo>
                  <a:pt x="21359" y="2715072"/>
                </a:lnTo>
                <a:close/>
                <a:moveTo>
                  <a:pt x="27174" y="3835090"/>
                </a:moveTo>
                <a:lnTo>
                  <a:pt x="13526" y="3206130"/>
                </a:lnTo>
                <a:lnTo>
                  <a:pt x="2426210" y="3723"/>
                </a:lnTo>
                <a:lnTo>
                  <a:pt x="2914069" y="840"/>
                </a:lnTo>
                <a:lnTo>
                  <a:pt x="27174" y="3835090"/>
                </a:lnTo>
                <a:close/>
                <a:moveTo>
                  <a:pt x="22812" y="4882781"/>
                </a:moveTo>
                <a:lnTo>
                  <a:pt x="0" y="4315002"/>
                </a:lnTo>
                <a:lnTo>
                  <a:pt x="3254227" y="4602"/>
                </a:lnTo>
                <a:lnTo>
                  <a:pt x="3709301" y="25779"/>
                </a:lnTo>
                <a:lnTo>
                  <a:pt x="22812" y="4882781"/>
                </a:lnTo>
                <a:close/>
                <a:moveTo>
                  <a:pt x="29263" y="5985735"/>
                </a:moveTo>
                <a:lnTo>
                  <a:pt x="15264" y="5394811"/>
                </a:lnTo>
                <a:lnTo>
                  <a:pt x="4090319" y="4084"/>
                </a:lnTo>
                <a:lnTo>
                  <a:pt x="4526162" y="17286"/>
                </a:lnTo>
                <a:lnTo>
                  <a:pt x="29263" y="5985735"/>
                </a:lnTo>
                <a:close/>
                <a:moveTo>
                  <a:pt x="5407841" y="6916619"/>
                </a:moveTo>
                <a:lnTo>
                  <a:pt x="5009101" y="6925855"/>
                </a:lnTo>
                <a:lnTo>
                  <a:pt x="2298995" y="3388318"/>
                </a:lnTo>
                <a:lnTo>
                  <a:pt x="2535265" y="3078877"/>
                </a:lnTo>
                <a:lnTo>
                  <a:pt x="5407841" y="6916619"/>
                </a:lnTo>
                <a:close/>
                <a:moveTo>
                  <a:pt x="6226274" y="6916620"/>
                </a:moveTo>
                <a:lnTo>
                  <a:pt x="5773792" y="6916620"/>
                </a:lnTo>
                <a:lnTo>
                  <a:pt x="2694856" y="2869862"/>
                </a:lnTo>
                <a:lnTo>
                  <a:pt x="2939759" y="2549117"/>
                </a:lnTo>
                <a:lnTo>
                  <a:pt x="6226274" y="6916620"/>
                </a:lnTo>
                <a:close/>
                <a:moveTo>
                  <a:pt x="7016754" y="6916619"/>
                </a:moveTo>
                <a:lnTo>
                  <a:pt x="6608452" y="6925856"/>
                </a:lnTo>
                <a:lnTo>
                  <a:pt x="3099633" y="2339732"/>
                </a:lnTo>
                <a:lnTo>
                  <a:pt x="3318307" y="2053337"/>
                </a:lnTo>
                <a:lnTo>
                  <a:pt x="7016754" y="6916619"/>
                </a:lnTo>
                <a:close/>
                <a:moveTo>
                  <a:pt x="7846076" y="6925855"/>
                </a:moveTo>
                <a:lnTo>
                  <a:pt x="7370401" y="6907383"/>
                </a:lnTo>
                <a:lnTo>
                  <a:pt x="3494362" y="1822761"/>
                </a:lnTo>
                <a:lnTo>
                  <a:pt x="3722100" y="1524494"/>
                </a:lnTo>
                <a:lnTo>
                  <a:pt x="7846076" y="6925855"/>
                </a:lnTo>
                <a:close/>
              </a:path>
            </a:pathLst>
          </a:custGeom>
          <a:solidFill>
            <a:schemeClr val="bg1">
              <a:lumMod val="9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5" name="文本框 4"/>
          <p:cNvSpPr txBox="1"/>
          <p:nvPr/>
        </p:nvSpPr>
        <p:spPr>
          <a:xfrm>
            <a:off x="754480" y="1327695"/>
            <a:ext cx="3641624" cy="872034"/>
          </a:xfrm>
          <a:prstGeom prst="rect">
            <a:avLst/>
          </a:prstGeom>
          <a:noFill/>
        </p:spPr>
        <p:txBody>
          <a:bodyPr wrap="square" rtlCol="0">
            <a:spAutoFit/>
          </a:bodyPr>
          <a:lstStyle/>
          <a:p>
            <a:pPr>
              <a:lnSpc>
                <a:spcPct val="150000"/>
              </a:lnSpc>
            </a:pPr>
            <a:r>
              <a:rPr lang="zh-CN" altLang="en-US" dirty="0"/>
              <a:t>参与回归分析的变量描述性统计：</a:t>
            </a:r>
            <a:endParaRPr lang="en-US" altLang="zh-CN" dirty="0"/>
          </a:p>
          <a:p>
            <a:pPr>
              <a:lnSpc>
                <a:spcPct val="150000"/>
              </a:lnSpc>
            </a:pPr>
            <a:endParaRPr lang="en-US" altLang="zh-CN" dirty="0"/>
          </a:p>
        </p:txBody>
      </p:sp>
      <p:pic>
        <p:nvPicPr>
          <p:cNvPr id="3" name="图片 2"/>
          <p:cNvPicPr>
            <a:picLocks noChangeAspect="1"/>
          </p:cNvPicPr>
          <p:nvPr/>
        </p:nvPicPr>
        <p:blipFill>
          <a:blip r:embed="rId1"/>
          <a:stretch>
            <a:fillRect/>
          </a:stretch>
        </p:blipFill>
        <p:spPr>
          <a:xfrm>
            <a:off x="754480" y="1866903"/>
            <a:ext cx="9848850" cy="4476750"/>
          </a:xfrm>
          <a:prstGeom prst="rect">
            <a:avLst/>
          </a:prstGeom>
        </p:spPr>
      </p:pic>
    </p:spTree>
    <p:custDataLst>
      <p:tags r:id="rId2"/>
    </p:custData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iṣlide"/>
        <p:cNvGrpSpPr/>
        <p:nvPr/>
      </p:nvGrpSpPr>
      <p:grpSpPr>
        <a:xfrm>
          <a:off x="0" y="0"/>
          <a:ext cx="0" cy="0"/>
          <a:chOff x="0" y="0"/>
          <a:chExt cx="0" cy="0"/>
        </a:xfrm>
      </p:grpSpPr>
      <p:sp>
        <p:nvSpPr>
          <p:cNvPr id="2" name="íšľîḓê"/>
          <p:cNvSpPr>
            <a:spLocks noGrp="1"/>
          </p:cNvSpPr>
          <p:nvPr>
            <p:ph type="title"/>
          </p:nvPr>
        </p:nvSpPr>
        <p:spPr/>
        <p:txBody>
          <a:bodyPr/>
          <a:lstStyle/>
          <a:p>
            <a:r>
              <a:rPr lang="en-US" altLang="zh-CN" dirty="0"/>
              <a:t>3. </a:t>
            </a:r>
            <a:r>
              <a:rPr lang="zh-CN" altLang="en-US" dirty="0"/>
              <a:t>研究结果 </a:t>
            </a:r>
            <a:r>
              <a:rPr lang="en-US" altLang="zh-CN" dirty="0"/>
              <a:t>– </a:t>
            </a:r>
            <a:r>
              <a:rPr lang="zh-CN" altLang="en-US" dirty="0"/>
              <a:t>描述性分析</a:t>
            </a:r>
            <a:endParaRPr lang="zh-CN" altLang="en-US" dirty="0"/>
          </a:p>
        </p:txBody>
      </p:sp>
      <p:sp>
        <p:nvSpPr>
          <p:cNvPr id="4" name="ïṣḷide"/>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110" name="íṥļîďè"/>
          <p:cNvSpPr/>
          <p:nvPr/>
        </p:nvSpPr>
        <p:spPr>
          <a:xfrm rot="10800000">
            <a:off x="4396104" y="0"/>
            <a:ext cx="7846076" cy="6857999"/>
          </a:xfrm>
          <a:custGeom>
            <a:avLst/>
            <a:gdLst>
              <a:gd name="connsiteX0" fmla="*/ 168369 w 9517086"/>
              <a:gd name="connsiteY0" fmla="*/ 4779933 h 7291226"/>
              <a:gd name="connsiteX1" fmla="*/ 0 w 9517086"/>
              <a:gd name="connsiteY1" fmla="*/ 4409146 h 7291226"/>
              <a:gd name="connsiteX2" fmla="*/ 3332806 w 9517086"/>
              <a:gd name="connsiteY2" fmla="*/ 0 h 7291226"/>
              <a:gd name="connsiteX3" fmla="*/ 3794560 w 9517086"/>
              <a:gd name="connsiteY3" fmla="*/ 32861 h 7291226"/>
              <a:gd name="connsiteX4" fmla="*/ 488220 w 9517086"/>
              <a:gd name="connsiteY4" fmla="*/ 5484315 h 7291226"/>
              <a:gd name="connsiteX5" fmla="*/ 299082 w 9517086"/>
              <a:gd name="connsiteY5" fmla="*/ 5067791 h 7291226"/>
              <a:gd name="connsiteX6" fmla="*/ 4106456 w 9517086"/>
              <a:gd name="connsiteY6" fmla="*/ 55057 h 7291226"/>
              <a:gd name="connsiteX7" fmla="*/ 4585079 w 9517086"/>
              <a:gd name="connsiteY7" fmla="*/ 89119 h 7291226"/>
              <a:gd name="connsiteX8" fmla="*/ 779421 w 9517086"/>
              <a:gd name="connsiteY8" fmla="*/ 6125606 h 7291226"/>
              <a:gd name="connsiteX9" fmla="*/ 618065 w 9517086"/>
              <a:gd name="connsiteY9" fmla="*/ 5770263 h 7291226"/>
              <a:gd name="connsiteX10" fmla="*/ 4897528 w 9517086"/>
              <a:gd name="connsiteY10" fmla="*/ 111354 h 7291226"/>
              <a:gd name="connsiteX11" fmla="*/ 5324893 w 9517086"/>
              <a:gd name="connsiteY11" fmla="*/ 141768 h 7291226"/>
              <a:gd name="connsiteX12" fmla="*/ 1099910 w 9517086"/>
              <a:gd name="connsiteY12" fmla="*/ 6831395 h 7291226"/>
              <a:gd name="connsiteX13" fmla="*/ 919656 w 9517086"/>
              <a:gd name="connsiteY13" fmla="*/ 6434435 h 7291226"/>
              <a:gd name="connsiteX14" fmla="*/ 5668965 w 9517086"/>
              <a:gd name="connsiteY14" fmla="*/ 166254 h 7291226"/>
              <a:gd name="connsiteX15" fmla="*/ 6114044 w 9517086"/>
              <a:gd name="connsiteY15" fmla="*/ 197929 h 7291226"/>
              <a:gd name="connsiteX16" fmla="*/ 7106560 w 9517086"/>
              <a:gd name="connsiteY16" fmla="*/ 7291226 h 7291226"/>
              <a:gd name="connsiteX17" fmla="*/ 6670875 w 9517086"/>
              <a:gd name="connsiteY17" fmla="*/ 7291226 h 7291226"/>
              <a:gd name="connsiteX18" fmla="*/ 3849932 w 9517086"/>
              <a:gd name="connsiteY18" fmla="*/ 3596670 h 7291226"/>
              <a:gd name="connsiteX19" fmla="*/ 4086202 w 9517086"/>
              <a:gd name="connsiteY19" fmla="*/ 3287229 h 7291226"/>
              <a:gd name="connsiteX20" fmla="*/ 7934229 w 9517086"/>
              <a:gd name="connsiteY20" fmla="*/ 7291226 h 7291226"/>
              <a:gd name="connsiteX21" fmla="*/ 7444802 w 9517086"/>
              <a:gd name="connsiteY21" fmla="*/ 7291226 h 7291226"/>
              <a:gd name="connsiteX22" fmla="*/ 4245793 w 9517086"/>
              <a:gd name="connsiteY22" fmla="*/ 3078214 h 7291226"/>
              <a:gd name="connsiteX23" fmla="*/ 4490696 w 9517086"/>
              <a:gd name="connsiteY23" fmla="*/ 2757469 h 7291226"/>
              <a:gd name="connsiteX24" fmla="*/ 8687764 w 9517086"/>
              <a:gd name="connsiteY24" fmla="*/ 7291226 h 7291226"/>
              <a:gd name="connsiteX25" fmla="*/ 8270226 w 9517086"/>
              <a:gd name="connsiteY25" fmla="*/ 7291226 h 7291226"/>
              <a:gd name="connsiteX26" fmla="*/ 4650570 w 9517086"/>
              <a:gd name="connsiteY26" fmla="*/ 2548084 h 7291226"/>
              <a:gd name="connsiteX27" fmla="*/ 4869244 w 9517086"/>
              <a:gd name="connsiteY27" fmla="*/ 2261689 h 7291226"/>
              <a:gd name="connsiteX28" fmla="*/ 9517086 w 9517086"/>
              <a:gd name="connsiteY28" fmla="*/ 7291226 h 7291226"/>
              <a:gd name="connsiteX29" fmla="*/ 9050647 w 9517086"/>
              <a:gd name="connsiteY29" fmla="*/ 7291226 h 7291226"/>
              <a:gd name="connsiteX30" fmla="*/ 5045299 w 9517086"/>
              <a:gd name="connsiteY30" fmla="*/ 2031113 h 7291226"/>
              <a:gd name="connsiteX31" fmla="*/ 5273037 w 9517086"/>
              <a:gd name="connsiteY31" fmla="*/ 1732846 h 7291226"/>
              <a:gd name="connsiteX0-1" fmla="*/ 168369 w 9378540"/>
              <a:gd name="connsiteY0-2" fmla="*/ 4779933 h 7291226"/>
              <a:gd name="connsiteX1-3" fmla="*/ 0 w 9378540"/>
              <a:gd name="connsiteY1-4" fmla="*/ 4409146 h 7291226"/>
              <a:gd name="connsiteX2-5" fmla="*/ 3332806 w 9378540"/>
              <a:gd name="connsiteY2-6" fmla="*/ 0 h 7291226"/>
              <a:gd name="connsiteX3-7" fmla="*/ 3794560 w 9378540"/>
              <a:gd name="connsiteY3-8" fmla="*/ 32861 h 7291226"/>
              <a:gd name="connsiteX4-9" fmla="*/ 168369 w 9378540"/>
              <a:gd name="connsiteY4-10" fmla="*/ 4779933 h 7291226"/>
              <a:gd name="connsiteX5-11" fmla="*/ 488220 w 9378540"/>
              <a:gd name="connsiteY5-12" fmla="*/ 5484315 h 7291226"/>
              <a:gd name="connsiteX6-13" fmla="*/ 299082 w 9378540"/>
              <a:gd name="connsiteY6-14" fmla="*/ 5067791 h 7291226"/>
              <a:gd name="connsiteX7-15" fmla="*/ 4106456 w 9378540"/>
              <a:gd name="connsiteY7-16" fmla="*/ 55057 h 7291226"/>
              <a:gd name="connsiteX8-17" fmla="*/ 4585079 w 9378540"/>
              <a:gd name="connsiteY8-18" fmla="*/ 89119 h 7291226"/>
              <a:gd name="connsiteX9-19" fmla="*/ 488220 w 9378540"/>
              <a:gd name="connsiteY9-20" fmla="*/ 5484315 h 7291226"/>
              <a:gd name="connsiteX10-21" fmla="*/ 779421 w 9378540"/>
              <a:gd name="connsiteY10-22" fmla="*/ 6125606 h 7291226"/>
              <a:gd name="connsiteX11-23" fmla="*/ 618065 w 9378540"/>
              <a:gd name="connsiteY11-24" fmla="*/ 5770263 h 7291226"/>
              <a:gd name="connsiteX12-25" fmla="*/ 4897528 w 9378540"/>
              <a:gd name="connsiteY12-26" fmla="*/ 111354 h 7291226"/>
              <a:gd name="connsiteX13-27" fmla="*/ 5324893 w 9378540"/>
              <a:gd name="connsiteY13-28" fmla="*/ 141768 h 7291226"/>
              <a:gd name="connsiteX14-29" fmla="*/ 779421 w 9378540"/>
              <a:gd name="connsiteY14-30" fmla="*/ 6125606 h 7291226"/>
              <a:gd name="connsiteX15-31" fmla="*/ 1099910 w 9378540"/>
              <a:gd name="connsiteY15-32" fmla="*/ 6831395 h 7291226"/>
              <a:gd name="connsiteX16-33" fmla="*/ 919656 w 9378540"/>
              <a:gd name="connsiteY16-34" fmla="*/ 6434435 h 7291226"/>
              <a:gd name="connsiteX17-35" fmla="*/ 5668965 w 9378540"/>
              <a:gd name="connsiteY17-36" fmla="*/ 166254 h 7291226"/>
              <a:gd name="connsiteX18-37" fmla="*/ 6114044 w 9378540"/>
              <a:gd name="connsiteY18-38" fmla="*/ 197929 h 7291226"/>
              <a:gd name="connsiteX19-39" fmla="*/ 1099910 w 9378540"/>
              <a:gd name="connsiteY19-40" fmla="*/ 6831395 h 7291226"/>
              <a:gd name="connsiteX20-41" fmla="*/ 7106560 w 9378540"/>
              <a:gd name="connsiteY20-42" fmla="*/ 7291226 h 7291226"/>
              <a:gd name="connsiteX21-43" fmla="*/ 6670875 w 9378540"/>
              <a:gd name="connsiteY21-44" fmla="*/ 7291226 h 7291226"/>
              <a:gd name="connsiteX22-45" fmla="*/ 3849932 w 9378540"/>
              <a:gd name="connsiteY22-46" fmla="*/ 3596670 h 7291226"/>
              <a:gd name="connsiteX23-47" fmla="*/ 4086202 w 9378540"/>
              <a:gd name="connsiteY23-48" fmla="*/ 3287229 h 7291226"/>
              <a:gd name="connsiteX24-49" fmla="*/ 7106560 w 9378540"/>
              <a:gd name="connsiteY24-50" fmla="*/ 7291226 h 7291226"/>
              <a:gd name="connsiteX25-51" fmla="*/ 7934229 w 9378540"/>
              <a:gd name="connsiteY25-52" fmla="*/ 7291226 h 7291226"/>
              <a:gd name="connsiteX26-53" fmla="*/ 7444802 w 9378540"/>
              <a:gd name="connsiteY26-54" fmla="*/ 7291226 h 7291226"/>
              <a:gd name="connsiteX27-55" fmla="*/ 4245793 w 9378540"/>
              <a:gd name="connsiteY27-56" fmla="*/ 3078214 h 7291226"/>
              <a:gd name="connsiteX28-57" fmla="*/ 4490696 w 9378540"/>
              <a:gd name="connsiteY28-58" fmla="*/ 2757469 h 7291226"/>
              <a:gd name="connsiteX29-59" fmla="*/ 7934229 w 9378540"/>
              <a:gd name="connsiteY29-60" fmla="*/ 7291226 h 7291226"/>
              <a:gd name="connsiteX30-61" fmla="*/ 8687764 w 9378540"/>
              <a:gd name="connsiteY30-62" fmla="*/ 7291226 h 7291226"/>
              <a:gd name="connsiteX31-63" fmla="*/ 8270226 w 9378540"/>
              <a:gd name="connsiteY31-64" fmla="*/ 7291226 h 7291226"/>
              <a:gd name="connsiteX32" fmla="*/ 4650570 w 9378540"/>
              <a:gd name="connsiteY32" fmla="*/ 2548084 h 7291226"/>
              <a:gd name="connsiteX33" fmla="*/ 4869244 w 9378540"/>
              <a:gd name="connsiteY33" fmla="*/ 2261689 h 7291226"/>
              <a:gd name="connsiteX34" fmla="*/ 8687764 w 9378540"/>
              <a:gd name="connsiteY34" fmla="*/ 7291226 h 7291226"/>
              <a:gd name="connsiteX35" fmla="*/ 9378540 w 9378540"/>
              <a:gd name="connsiteY35" fmla="*/ 7097262 h 7291226"/>
              <a:gd name="connsiteX36" fmla="*/ 9050647 w 9378540"/>
              <a:gd name="connsiteY36" fmla="*/ 7291226 h 7291226"/>
              <a:gd name="connsiteX37" fmla="*/ 5045299 w 9378540"/>
              <a:gd name="connsiteY37" fmla="*/ 2031113 h 7291226"/>
              <a:gd name="connsiteX38" fmla="*/ 5273037 w 9378540"/>
              <a:gd name="connsiteY38" fmla="*/ 1732846 h 7291226"/>
              <a:gd name="connsiteX39" fmla="*/ 9378540 w 9378540"/>
              <a:gd name="connsiteY39" fmla="*/ 7097262 h 7291226"/>
              <a:gd name="connsiteX0-65" fmla="*/ 168369 w 9378540"/>
              <a:gd name="connsiteY0-66" fmla="*/ 4779933 h 7291226"/>
              <a:gd name="connsiteX1-67" fmla="*/ 0 w 9378540"/>
              <a:gd name="connsiteY1-68" fmla="*/ 4409146 h 7291226"/>
              <a:gd name="connsiteX2-69" fmla="*/ 3332806 w 9378540"/>
              <a:gd name="connsiteY2-70" fmla="*/ 0 h 7291226"/>
              <a:gd name="connsiteX3-71" fmla="*/ 3794560 w 9378540"/>
              <a:gd name="connsiteY3-72" fmla="*/ 32861 h 7291226"/>
              <a:gd name="connsiteX4-73" fmla="*/ 168369 w 9378540"/>
              <a:gd name="connsiteY4-74" fmla="*/ 4779933 h 7291226"/>
              <a:gd name="connsiteX5-75" fmla="*/ 488220 w 9378540"/>
              <a:gd name="connsiteY5-76" fmla="*/ 5484315 h 7291226"/>
              <a:gd name="connsiteX6-77" fmla="*/ 299082 w 9378540"/>
              <a:gd name="connsiteY6-78" fmla="*/ 5067791 h 7291226"/>
              <a:gd name="connsiteX7-79" fmla="*/ 4106456 w 9378540"/>
              <a:gd name="connsiteY7-80" fmla="*/ 55057 h 7291226"/>
              <a:gd name="connsiteX8-81" fmla="*/ 4585079 w 9378540"/>
              <a:gd name="connsiteY8-82" fmla="*/ 89119 h 7291226"/>
              <a:gd name="connsiteX9-83" fmla="*/ 488220 w 9378540"/>
              <a:gd name="connsiteY9-84" fmla="*/ 5484315 h 7291226"/>
              <a:gd name="connsiteX10-85" fmla="*/ 779421 w 9378540"/>
              <a:gd name="connsiteY10-86" fmla="*/ 6125606 h 7291226"/>
              <a:gd name="connsiteX11-87" fmla="*/ 618065 w 9378540"/>
              <a:gd name="connsiteY11-88" fmla="*/ 5770263 h 7291226"/>
              <a:gd name="connsiteX12-89" fmla="*/ 4897528 w 9378540"/>
              <a:gd name="connsiteY12-90" fmla="*/ 111354 h 7291226"/>
              <a:gd name="connsiteX13-91" fmla="*/ 5324893 w 9378540"/>
              <a:gd name="connsiteY13-92" fmla="*/ 141768 h 7291226"/>
              <a:gd name="connsiteX14-93" fmla="*/ 779421 w 9378540"/>
              <a:gd name="connsiteY14-94" fmla="*/ 6125606 h 7291226"/>
              <a:gd name="connsiteX15-95" fmla="*/ 1099910 w 9378540"/>
              <a:gd name="connsiteY15-96" fmla="*/ 6831395 h 7291226"/>
              <a:gd name="connsiteX16-97" fmla="*/ 919656 w 9378540"/>
              <a:gd name="connsiteY16-98" fmla="*/ 6434435 h 7291226"/>
              <a:gd name="connsiteX17-99" fmla="*/ 5668965 w 9378540"/>
              <a:gd name="connsiteY17-100" fmla="*/ 166254 h 7291226"/>
              <a:gd name="connsiteX18-101" fmla="*/ 6114044 w 9378540"/>
              <a:gd name="connsiteY18-102" fmla="*/ 197929 h 7291226"/>
              <a:gd name="connsiteX19-103" fmla="*/ 1099910 w 9378540"/>
              <a:gd name="connsiteY19-104" fmla="*/ 6831395 h 7291226"/>
              <a:gd name="connsiteX20-105" fmla="*/ 7106560 w 9378540"/>
              <a:gd name="connsiteY20-106" fmla="*/ 7291226 h 7291226"/>
              <a:gd name="connsiteX21-107" fmla="*/ 6670875 w 9378540"/>
              <a:gd name="connsiteY21-108" fmla="*/ 7291226 h 7291226"/>
              <a:gd name="connsiteX22-109" fmla="*/ 3849932 w 9378540"/>
              <a:gd name="connsiteY22-110" fmla="*/ 3596670 h 7291226"/>
              <a:gd name="connsiteX23-111" fmla="*/ 4086202 w 9378540"/>
              <a:gd name="connsiteY23-112" fmla="*/ 3287229 h 7291226"/>
              <a:gd name="connsiteX24-113" fmla="*/ 7106560 w 9378540"/>
              <a:gd name="connsiteY24-114" fmla="*/ 7291226 h 7291226"/>
              <a:gd name="connsiteX25-115" fmla="*/ 7934229 w 9378540"/>
              <a:gd name="connsiteY25-116" fmla="*/ 7291226 h 7291226"/>
              <a:gd name="connsiteX26-117" fmla="*/ 7444802 w 9378540"/>
              <a:gd name="connsiteY26-118" fmla="*/ 7291226 h 7291226"/>
              <a:gd name="connsiteX27-119" fmla="*/ 4245793 w 9378540"/>
              <a:gd name="connsiteY27-120" fmla="*/ 3078214 h 7291226"/>
              <a:gd name="connsiteX28-121" fmla="*/ 4490696 w 9378540"/>
              <a:gd name="connsiteY28-122" fmla="*/ 2757469 h 7291226"/>
              <a:gd name="connsiteX29-123" fmla="*/ 7934229 w 9378540"/>
              <a:gd name="connsiteY29-124" fmla="*/ 7291226 h 7291226"/>
              <a:gd name="connsiteX30-125" fmla="*/ 8687764 w 9378540"/>
              <a:gd name="connsiteY30-126" fmla="*/ 7291226 h 7291226"/>
              <a:gd name="connsiteX31-127" fmla="*/ 8270226 w 9378540"/>
              <a:gd name="connsiteY31-128" fmla="*/ 7291226 h 7291226"/>
              <a:gd name="connsiteX32-129" fmla="*/ 4650570 w 9378540"/>
              <a:gd name="connsiteY32-130" fmla="*/ 2548084 h 7291226"/>
              <a:gd name="connsiteX33-131" fmla="*/ 4869244 w 9378540"/>
              <a:gd name="connsiteY33-132" fmla="*/ 2261689 h 7291226"/>
              <a:gd name="connsiteX34-133" fmla="*/ 8687764 w 9378540"/>
              <a:gd name="connsiteY34-134" fmla="*/ 7291226 h 7291226"/>
              <a:gd name="connsiteX35-135" fmla="*/ 9378540 w 9378540"/>
              <a:gd name="connsiteY35-136" fmla="*/ 7097262 h 7291226"/>
              <a:gd name="connsiteX36-137" fmla="*/ 8921338 w 9378540"/>
              <a:gd name="connsiteY36-138" fmla="*/ 7115735 h 7291226"/>
              <a:gd name="connsiteX37-139" fmla="*/ 5045299 w 9378540"/>
              <a:gd name="connsiteY37-140" fmla="*/ 2031113 h 7291226"/>
              <a:gd name="connsiteX38-141" fmla="*/ 5273037 w 9378540"/>
              <a:gd name="connsiteY38-142" fmla="*/ 1732846 h 7291226"/>
              <a:gd name="connsiteX39-143" fmla="*/ 9378540 w 9378540"/>
              <a:gd name="connsiteY39-144" fmla="*/ 7097262 h 7291226"/>
              <a:gd name="connsiteX0-145" fmla="*/ 168369 w 9397013"/>
              <a:gd name="connsiteY0-146" fmla="*/ 4779933 h 7291226"/>
              <a:gd name="connsiteX1-147" fmla="*/ 0 w 9397013"/>
              <a:gd name="connsiteY1-148" fmla="*/ 4409146 h 7291226"/>
              <a:gd name="connsiteX2-149" fmla="*/ 3332806 w 9397013"/>
              <a:gd name="connsiteY2-150" fmla="*/ 0 h 7291226"/>
              <a:gd name="connsiteX3-151" fmla="*/ 3794560 w 9397013"/>
              <a:gd name="connsiteY3-152" fmla="*/ 32861 h 7291226"/>
              <a:gd name="connsiteX4-153" fmla="*/ 168369 w 9397013"/>
              <a:gd name="connsiteY4-154" fmla="*/ 4779933 h 7291226"/>
              <a:gd name="connsiteX5-155" fmla="*/ 488220 w 9397013"/>
              <a:gd name="connsiteY5-156" fmla="*/ 5484315 h 7291226"/>
              <a:gd name="connsiteX6-157" fmla="*/ 299082 w 9397013"/>
              <a:gd name="connsiteY6-158" fmla="*/ 5067791 h 7291226"/>
              <a:gd name="connsiteX7-159" fmla="*/ 4106456 w 9397013"/>
              <a:gd name="connsiteY7-160" fmla="*/ 55057 h 7291226"/>
              <a:gd name="connsiteX8-161" fmla="*/ 4585079 w 9397013"/>
              <a:gd name="connsiteY8-162" fmla="*/ 89119 h 7291226"/>
              <a:gd name="connsiteX9-163" fmla="*/ 488220 w 9397013"/>
              <a:gd name="connsiteY9-164" fmla="*/ 5484315 h 7291226"/>
              <a:gd name="connsiteX10-165" fmla="*/ 779421 w 9397013"/>
              <a:gd name="connsiteY10-166" fmla="*/ 6125606 h 7291226"/>
              <a:gd name="connsiteX11-167" fmla="*/ 618065 w 9397013"/>
              <a:gd name="connsiteY11-168" fmla="*/ 5770263 h 7291226"/>
              <a:gd name="connsiteX12-169" fmla="*/ 4897528 w 9397013"/>
              <a:gd name="connsiteY12-170" fmla="*/ 111354 h 7291226"/>
              <a:gd name="connsiteX13-171" fmla="*/ 5324893 w 9397013"/>
              <a:gd name="connsiteY13-172" fmla="*/ 141768 h 7291226"/>
              <a:gd name="connsiteX14-173" fmla="*/ 779421 w 9397013"/>
              <a:gd name="connsiteY14-174" fmla="*/ 6125606 h 7291226"/>
              <a:gd name="connsiteX15-175" fmla="*/ 1099910 w 9397013"/>
              <a:gd name="connsiteY15-176" fmla="*/ 6831395 h 7291226"/>
              <a:gd name="connsiteX16-177" fmla="*/ 919656 w 9397013"/>
              <a:gd name="connsiteY16-178" fmla="*/ 6434435 h 7291226"/>
              <a:gd name="connsiteX17-179" fmla="*/ 5668965 w 9397013"/>
              <a:gd name="connsiteY17-180" fmla="*/ 166254 h 7291226"/>
              <a:gd name="connsiteX18-181" fmla="*/ 6114044 w 9397013"/>
              <a:gd name="connsiteY18-182" fmla="*/ 197929 h 7291226"/>
              <a:gd name="connsiteX19-183" fmla="*/ 1099910 w 9397013"/>
              <a:gd name="connsiteY19-184" fmla="*/ 6831395 h 7291226"/>
              <a:gd name="connsiteX20-185" fmla="*/ 7106560 w 9397013"/>
              <a:gd name="connsiteY20-186" fmla="*/ 7291226 h 7291226"/>
              <a:gd name="connsiteX21-187" fmla="*/ 6670875 w 9397013"/>
              <a:gd name="connsiteY21-188" fmla="*/ 7291226 h 7291226"/>
              <a:gd name="connsiteX22-189" fmla="*/ 3849932 w 9397013"/>
              <a:gd name="connsiteY22-190" fmla="*/ 3596670 h 7291226"/>
              <a:gd name="connsiteX23-191" fmla="*/ 4086202 w 9397013"/>
              <a:gd name="connsiteY23-192" fmla="*/ 3287229 h 7291226"/>
              <a:gd name="connsiteX24-193" fmla="*/ 7106560 w 9397013"/>
              <a:gd name="connsiteY24-194" fmla="*/ 7291226 h 7291226"/>
              <a:gd name="connsiteX25-195" fmla="*/ 7934229 w 9397013"/>
              <a:gd name="connsiteY25-196" fmla="*/ 7291226 h 7291226"/>
              <a:gd name="connsiteX26-197" fmla="*/ 7444802 w 9397013"/>
              <a:gd name="connsiteY26-198" fmla="*/ 7291226 h 7291226"/>
              <a:gd name="connsiteX27-199" fmla="*/ 4245793 w 9397013"/>
              <a:gd name="connsiteY27-200" fmla="*/ 3078214 h 7291226"/>
              <a:gd name="connsiteX28-201" fmla="*/ 4490696 w 9397013"/>
              <a:gd name="connsiteY28-202" fmla="*/ 2757469 h 7291226"/>
              <a:gd name="connsiteX29-203" fmla="*/ 7934229 w 9397013"/>
              <a:gd name="connsiteY29-204" fmla="*/ 7291226 h 7291226"/>
              <a:gd name="connsiteX30-205" fmla="*/ 8687764 w 9397013"/>
              <a:gd name="connsiteY30-206" fmla="*/ 7291226 h 7291226"/>
              <a:gd name="connsiteX31-207" fmla="*/ 8270226 w 9397013"/>
              <a:gd name="connsiteY31-208" fmla="*/ 7291226 h 7291226"/>
              <a:gd name="connsiteX32-209" fmla="*/ 4650570 w 9397013"/>
              <a:gd name="connsiteY32-210" fmla="*/ 2548084 h 7291226"/>
              <a:gd name="connsiteX33-211" fmla="*/ 4869244 w 9397013"/>
              <a:gd name="connsiteY33-212" fmla="*/ 2261689 h 7291226"/>
              <a:gd name="connsiteX34-213" fmla="*/ 8687764 w 9397013"/>
              <a:gd name="connsiteY34-214" fmla="*/ 7291226 h 7291226"/>
              <a:gd name="connsiteX35-215" fmla="*/ 9397013 w 9397013"/>
              <a:gd name="connsiteY35-216" fmla="*/ 7134207 h 7291226"/>
              <a:gd name="connsiteX36-217" fmla="*/ 8921338 w 9397013"/>
              <a:gd name="connsiteY36-218" fmla="*/ 7115735 h 7291226"/>
              <a:gd name="connsiteX37-219" fmla="*/ 5045299 w 9397013"/>
              <a:gd name="connsiteY37-220" fmla="*/ 2031113 h 7291226"/>
              <a:gd name="connsiteX38-221" fmla="*/ 5273037 w 9397013"/>
              <a:gd name="connsiteY38-222" fmla="*/ 1732846 h 7291226"/>
              <a:gd name="connsiteX39-223" fmla="*/ 9397013 w 9397013"/>
              <a:gd name="connsiteY39-224" fmla="*/ 7134207 h 7291226"/>
              <a:gd name="connsiteX0-225" fmla="*/ 168369 w 9397013"/>
              <a:gd name="connsiteY0-226" fmla="*/ 4779933 h 7291226"/>
              <a:gd name="connsiteX1-227" fmla="*/ 0 w 9397013"/>
              <a:gd name="connsiteY1-228" fmla="*/ 4409146 h 7291226"/>
              <a:gd name="connsiteX2-229" fmla="*/ 3332806 w 9397013"/>
              <a:gd name="connsiteY2-230" fmla="*/ 0 h 7291226"/>
              <a:gd name="connsiteX3-231" fmla="*/ 3794560 w 9397013"/>
              <a:gd name="connsiteY3-232" fmla="*/ 32861 h 7291226"/>
              <a:gd name="connsiteX4-233" fmla="*/ 168369 w 9397013"/>
              <a:gd name="connsiteY4-234" fmla="*/ 4779933 h 7291226"/>
              <a:gd name="connsiteX5-235" fmla="*/ 488220 w 9397013"/>
              <a:gd name="connsiteY5-236" fmla="*/ 5484315 h 7291226"/>
              <a:gd name="connsiteX6-237" fmla="*/ 299082 w 9397013"/>
              <a:gd name="connsiteY6-238" fmla="*/ 5067791 h 7291226"/>
              <a:gd name="connsiteX7-239" fmla="*/ 4106456 w 9397013"/>
              <a:gd name="connsiteY7-240" fmla="*/ 55057 h 7291226"/>
              <a:gd name="connsiteX8-241" fmla="*/ 4585079 w 9397013"/>
              <a:gd name="connsiteY8-242" fmla="*/ 89119 h 7291226"/>
              <a:gd name="connsiteX9-243" fmla="*/ 488220 w 9397013"/>
              <a:gd name="connsiteY9-244" fmla="*/ 5484315 h 7291226"/>
              <a:gd name="connsiteX10-245" fmla="*/ 779421 w 9397013"/>
              <a:gd name="connsiteY10-246" fmla="*/ 6125606 h 7291226"/>
              <a:gd name="connsiteX11-247" fmla="*/ 618065 w 9397013"/>
              <a:gd name="connsiteY11-248" fmla="*/ 5770263 h 7291226"/>
              <a:gd name="connsiteX12-249" fmla="*/ 4897528 w 9397013"/>
              <a:gd name="connsiteY12-250" fmla="*/ 111354 h 7291226"/>
              <a:gd name="connsiteX13-251" fmla="*/ 5324893 w 9397013"/>
              <a:gd name="connsiteY13-252" fmla="*/ 141768 h 7291226"/>
              <a:gd name="connsiteX14-253" fmla="*/ 779421 w 9397013"/>
              <a:gd name="connsiteY14-254" fmla="*/ 6125606 h 7291226"/>
              <a:gd name="connsiteX15-255" fmla="*/ 1099910 w 9397013"/>
              <a:gd name="connsiteY15-256" fmla="*/ 6831395 h 7291226"/>
              <a:gd name="connsiteX16-257" fmla="*/ 919656 w 9397013"/>
              <a:gd name="connsiteY16-258" fmla="*/ 6434435 h 7291226"/>
              <a:gd name="connsiteX17-259" fmla="*/ 5668965 w 9397013"/>
              <a:gd name="connsiteY17-260" fmla="*/ 166254 h 7291226"/>
              <a:gd name="connsiteX18-261" fmla="*/ 6114044 w 9397013"/>
              <a:gd name="connsiteY18-262" fmla="*/ 197929 h 7291226"/>
              <a:gd name="connsiteX19-263" fmla="*/ 1099910 w 9397013"/>
              <a:gd name="connsiteY19-264" fmla="*/ 6831395 h 7291226"/>
              <a:gd name="connsiteX20-265" fmla="*/ 7106560 w 9397013"/>
              <a:gd name="connsiteY20-266" fmla="*/ 7291226 h 7291226"/>
              <a:gd name="connsiteX21-267" fmla="*/ 6670875 w 9397013"/>
              <a:gd name="connsiteY21-268" fmla="*/ 7291226 h 7291226"/>
              <a:gd name="connsiteX22-269" fmla="*/ 3849932 w 9397013"/>
              <a:gd name="connsiteY22-270" fmla="*/ 3596670 h 7291226"/>
              <a:gd name="connsiteX23-271" fmla="*/ 4086202 w 9397013"/>
              <a:gd name="connsiteY23-272" fmla="*/ 3287229 h 7291226"/>
              <a:gd name="connsiteX24-273" fmla="*/ 7106560 w 9397013"/>
              <a:gd name="connsiteY24-274" fmla="*/ 7291226 h 7291226"/>
              <a:gd name="connsiteX25-275" fmla="*/ 7934229 w 9397013"/>
              <a:gd name="connsiteY25-276" fmla="*/ 7291226 h 7291226"/>
              <a:gd name="connsiteX26-277" fmla="*/ 7444802 w 9397013"/>
              <a:gd name="connsiteY26-278" fmla="*/ 7291226 h 7291226"/>
              <a:gd name="connsiteX27-279" fmla="*/ 4245793 w 9397013"/>
              <a:gd name="connsiteY27-280" fmla="*/ 3078214 h 7291226"/>
              <a:gd name="connsiteX28-281" fmla="*/ 4490696 w 9397013"/>
              <a:gd name="connsiteY28-282" fmla="*/ 2757469 h 7291226"/>
              <a:gd name="connsiteX29-283" fmla="*/ 7934229 w 9397013"/>
              <a:gd name="connsiteY29-284" fmla="*/ 7291226 h 7291226"/>
              <a:gd name="connsiteX30-285" fmla="*/ 8530746 w 9397013"/>
              <a:gd name="connsiteY30-286" fmla="*/ 7088026 h 7291226"/>
              <a:gd name="connsiteX31-287" fmla="*/ 8270226 w 9397013"/>
              <a:gd name="connsiteY31-288" fmla="*/ 7291226 h 7291226"/>
              <a:gd name="connsiteX32-289" fmla="*/ 4650570 w 9397013"/>
              <a:gd name="connsiteY32-290" fmla="*/ 2548084 h 7291226"/>
              <a:gd name="connsiteX33-291" fmla="*/ 4869244 w 9397013"/>
              <a:gd name="connsiteY33-292" fmla="*/ 2261689 h 7291226"/>
              <a:gd name="connsiteX34-293" fmla="*/ 8530746 w 9397013"/>
              <a:gd name="connsiteY34-294" fmla="*/ 7088026 h 7291226"/>
              <a:gd name="connsiteX35-295" fmla="*/ 9397013 w 9397013"/>
              <a:gd name="connsiteY35-296" fmla="*/ 7134207 h 7291226"/>
              <a:gd name="connsiteX36-297" fmla="*/ 8921338 w 9397013"/>
              <a:gd name="connsiteY36-298" fmla="*/ 7115735 h 7291226"/>
              <a:gd name="connsiteX37-299" fmla="*/ 5045299 w 9397013"/>
              <a:gd name="connsiteY37-300" fmla="*/ 2031113 h 7291226"/>
              <a:gd name="connsiteX38-301" fmla="*/ 5273037 w 9397013"/>
              <a:gd name="connsiteY38-302" fmla="*/ 1732846 h 7291226"/>
              <a:gd name="connsiteX39-303" fmla="*/ 9397013 w 9397013"/>
              <a:gd name="connsiteY39-304" fmla="*/ 7134207 h 7291226"/>
              <a:gd name="connsiteX0-305" fmla="*/ 168369 w 9397013"/>
              <a:gd name="connsiteY0-306" fmla="*/ 4779933 h 7291226"/>
              <a:gd name="connsiteX1-307" fmla="*/ 0 w 9397013"/>
              <a:gd name="connsiteY1-308" fmla="*/ 4409146 h 7291226"/>
              <a:gd name="connsiteX2-309" fmla="*/ 3332806 w 9397013"/>
              <a:gd name="connsiteY2-310" fmla="*/ 0 h 7291226"/>
              <a:gd name="connsiteX3-311" fmla="*/ 3794560 w 9397013"/>
              <a:gd name="connsiteY3-312" fmla="*/ 32861 h 7291226"/>
              <a:gd name="connsiteX4-313" fmla="*/ 168369 w 9397013"/>
              <a:gd name="connsiteY4-314" fmla="*/ 4779933 h 7291226"/>
              <a:gd name="connsiteX5-315" fmla="*/ 488220 w 9397013"/>
              <a:gd name="connsiteY5-316" fmla="*/ 5484315 h 7291226"/>
              <a:gd name="connsiteX6-317" fmla="*/ 299082 w 9397013"/>
              <a:gd name="connsiteY6-318" fmla="*/ 5067791 h 7291226"/>
              <a:gd name="connsiteX7-319" fmla="*/ 4106456 w 9397013"/>
              <a:gd name="connsiteY7-320" fmla="*/ 55057 h 7291226"/>
              <a:gd name="connsiteX8-321" fmla="*/ 4585079 w 9397013"/>
              <a:gd name="connsiteY8-322" fmla="*/ 89119 h 7291226"/>
              <a:gd name="connsiteX9-323" fmla="*/ 488220 w 9397013"/>
              <a:gd name="connsiteY9-324" fmla="*/ 5484315 h 7291226"/>
              <a:gd name="connsiteX10-325" fmla="*/ 779421 w 9397013"/>
              <a:gd name="connsiteY10-326" fmla="*/ 6125606 h 7291226"/>
              <a:gd name="connsiteX11-327" fmla="*/ 618065 w 9397013"/>
              <a:gd name="connsiteY11-328" fmla="*/ 5770263 h 7291226"/>
              <a:gd name="connsiteX12-329" fmla="*/ 4897528 w 9397013"/>
              <a:gd name="connsiteY12-330" fmla="*/ 111354 h 7291226"/>
              <a:gd name="connsiteX13-331" fmla="*/ 5324893 w 9397013"/>
              <a:gd name="connsiteY13-332" fmla="*/ 141768 h 7291226"/>
              <a:gd name="connsiteX14-333" fmla="*/ 779421 w 9397013"/>
              <a:gd name="connsiteY14-334" fmla="*/ 6125606 h 7291226"/>
              <a:gd name="connsiteX15-335" fmla="*/ 1099910 w 9397013"/>
              <a:gd name="connsiteY15-336" fmla="*/ 6831395 h 7291226"/>
              <a:gd name="connsiteX16-337" fmla="*/ 919656 w 9397013"/>
              <a:gd name="connsiteY16-338" fmla="*/ 6434435 h 7291226"/>
              <a:gd name="connsiteX17-339" fmla="*/ 5668965 w 9397013"/>
              <a:gd name="connsiteY17-340" fmla="*/ 166254 h 7291226"/>
              <a:gd name="connsiteX18-341" fmla="*/ 6114044 w 9397013"/>
              <a:gd name="connsiteY18-342" fmla="*/ 197929 h 7291226"/>
              <a:gd name="connsiteX19-343" fmla="*/ 1099910 w 9397013"/>
              <a:gd name="connsiteY19-344" fmla="*/ 6831395 h 7291226"/>
              <a:gd name="connsiteX20-345" fmla="*/ 7106560 w 9397013"/>
              <a:gd name="connsiteY20-346" fmla="*/ 7291226 h 7291226"/>
              <a:gd name="connsiteX21-347" fmla="*/ 6670875 w 9397013"/>
              <a:gd name="connsiteY21-348" fmla="*/ 7291226 h 7291226"/>
              <a:gd name="connsiteX22-349" fmla="*/ 3849932 w 9397013"/>
              <a:gd name="connsiteY22-350" fmla="*/ 3596670 h 7291226"/>
              <a:gd name="connsiteX23-351" fmla="*/ 4086202 w 9397013"/>
              <a:gd name="connsiteY23-352" fmla="*/ 3287229 h 7291226"/>
              <a:gd name="connsiteX24-353" fmla="*/ 7106560 w 9397013"/>
              <a:gd name="connsiteY24-354" fmla="*/ 7291226 h 7291226"/>
              <a:gd name="connsiteX25-355" fmla="*/ 7934229 w 9397013"/>
              <a:gd name="connsiteY25-356" fmla="*/ 7291226 h 7291226"/>
              <a:gd name="connsiteX26-357" fmla="*/ 7444802 w 9397013"/>
              <a:gd name="connsiteY26-358" fmla="*/ 7291226 h 7291226"/>
              <a:gd name="connsiteX27-359" fmla="*/ 4245793 w 9397013"/>
              <a:gd name="connsiteY27-360" fmla="*/ 3078214 h 7291226"/>
              <a:gd name="connsiteX28-361" fmla="*/ 4490696 w 9397013"/>
              <a:gd name="connsiteY28-362" fmla="*/ 2757469 h 7291226"/>
              <a:gd name="connsiteX29-363" fmla="*/ 7934229 w 9397013"/>
              <a:gd name="connsiteY29-364" fmla="*/ 7291226 h 7291226"/>
              <a:gd name="connsiteX30-365" fmla="*/ 8530746 w 9397013"/>
              <a:gd name="connsiteY30-366" fmla="*/ 7088026 h 7291226"/>
              <a:gd name="connsiteX31-367" fmla="*/ 8150153 w 9397013"/>
              <a:gd name="connsiteY31-368" fmla="*/ 7097262 h 7291226"/>
              <a:gd name="connsiteX32-369" fmla="*/ 4650570 w 9397013"/>
              <a:gd name="connsiteY32-370" fmla="*/ 2548084 h 7291226"/>
              <a:gd name="connsiteX33-371" fmla="*/ 4869244 w 9397013"/>
              <a:gd name="connsiteY33-372" fmla="*/ 2261689 h 7291226"/>
              <a:gd name="connsiteX34-373" fmla="*/ 8530746 w 9397013"/>
              <a:gd name="connsiteY34-374" fmla="*/ 7088026 h 7291226"/>
              <a:gd name="connsiteX35-375" fmla="*/ 9397013 w 9397013"/>
              <a:gd name="connsiteY35-376" fmla="*/ 7134207 h 7291226"/>
              <a:gd name="connsiteX36-377" fmla="*/ 8921338 w 9397013"/>
              <a:gd name="connsiteY36-378" fmla="*/ 7115735 h 7291226"/>
              <a:gd name="connsiteX37-379" fmla="*/ 5045299 w 9397013"/>
              <a:gd name="connsiteY37-380" fmla="*/ 2031113 h 7291226"/>
              <a:gd name="connsiteX38-381" fmla="*/ 5273037 w 9397013"/>
              <a:gd name="connsiteY38-382" fmla="*/ 1732846 h 7291226"/>
              <a:gd name="connsiteX39-383" fmla="*/ 9397013 w 9397013"/>
              <a:gd name="connsiteY39-384" fmla="*/ 7134207 h 7291226"/>
              <a:gd name="connsiteX0-385" fmla="*/ 168369 w 9397013"/>
              <a:gd name="connsiteY0-386" fmla="*/ 4779933 h 7291226"/>
              <a:gd name="connsiteX1-387" fmla="*/ 0 w 9397013"/>
              <a:gd name="connsiteY1-388" fmla="*/ 4409146 h 7291226"/>
              <a:gd name="connsiteX2-389" fmla="*/ 3332806 w 9397013"/>
              <a:gd name="connsiteY2-390" fmla="*/ 0 h 7291226"/>
              <a:gd name="connsiteX3-391" fmla="*/ 3794560 w 9397013"/>
              <a:gd name="connsiteY3-392" fmla="*/ 32861 h 7291226"/>
              <a:gd name="connsiteX4-393" fmla="*/ 168369 w 9397013"/>
              <a:gd name="connsiteY4-394" fmla="*/ 4779933 h 7291226"/>
              <a:gd name="connsiteX5-395" fmla="*/ 488220 w 9397013"/>
              <a:gd name="connsiteY5-396" fmla="*/ 5484315 h 7291226"/>
              <a:gd name="connsiteX6-397" fmla="*/ 299082 w 9397013"/>
              <a:gd name="connsiteY6-398" fmla="*/ 5067791 h 7291226"/>
              <a:gd name="connsiteX7-399" fmla="*/ 4106456 w 9397013"/>
              <a:gd name="connsiteY7-400" fmla="*/ 55057 h 7291226"/>
              <a:gd name="connsiteX8-401" fmla="*/ 4585079 w 9397013"/>
              <a:gd name="connsiteY8-402" fmla="*/ 89119 h 7291226"/>
              <a:gd name="connsiteX9-403" fmla="*/ 488220 w 9397013"/>
              <a:gd name="connsiteY9-404" fmla="*/ 5484315 h 7291226"/>
              <a:gd name="connsiteX10-405" fmla="*/ 779421 w 9397013"/>
              <a:gd name="connsiteY10-406" fmla="*/ 6125606 h 7291226"/>
              <a:gd name="connsiteX11-407" fmla="*/ 618065 w 9397013"/>
              <a:gd name="connsiteY11-408" fmla="*/ 5770263 h 7291226"/>
              <a:gd name="connsiteX12-409" fmla="*/ 4897528 w 9397013"/>
              <a:gd name="connsiteY12-410" fmla="*/ 111354 h 7291226"/>
              <a:gd name="connsiteX13-411" fmla="*/ 5324893 w 9397013"/>
              <a:gd name="connsiteY13-412" fmla="*/ 141768 h 7291226"/>
              <a:gd name="connsiteX14-413" fmla="*/ 779421 w 9397013"/>
              <a:gd name="connsiteY14-414" fmla="*/ 6125606 h 7291226"/>
              <a:gd name="connsiteX15-415" fmla="*/ 1099910 w 9397013"/>
              <a:gd name="connsiteY15-416" fmla="*/ 6831395 h 7291226"/>
              <a:gd name="connsiteX16-417" fmla="*/ 919656 w 9397013"/>
              <a:gd name="connsiteY16-418" fmla="*/ 6434435 h 7291226"/>
              <a:gd name="connsiteX17-419" fmla="*/ 5668965 w 9397013"/>
              <a:gd name="connsiteY17-420" fmla="*/ 166254 h 7291226"/>
              <a:gd name="connsiteX18-421" fmla="*/ 6114044 w 9397013"/>
              <a:gd name="connsiteY18-422" fmla="*/ 197929 h 7291226"/>
              <a:gd name="connsiteX19-423" fmla="*/ 1099910 w 9397013"/>
              <a:gd name="connsiteY19-424" fmla="*/ 6831395 h 7291226"/>
              <a:gd name="connsiteX20-425" fmla="*/ 7106560 w 9397013"/>
              <a:gd name="connsiteY20-426" fmla="*/ 7291226 h 7291226"/>
              <a:gd name="connsiteX21-427" fmla="*/ 6670875 w 9397013"/>
              <a:gd name="connsiteY21-428" fmla="*/ 7291226 h 7291226"/>
              <a:gd name="connsiteX22-429" fmla="*/ 3849932 w 9397013"/>
              <a:gd name="connsiteY22-430" fmla="*/ 3596670 h 7291226"/>
              <a:gd name="connsiteX23-431" fmla="*/ 4086202 w 9397013"/>
              <a:gd name="connsiteY23-432" fmla="*/ 3287229 h 7291226"/>
              <a:gd name="connsiteX24-433" fmla="*/ 7106560 w 9397013"/>
              <a:gd name="connsiteY24-434" fmla="*/ 7291226 h 7291226"/>
              <a:gd name="connsiteX25-435" fmla="*/ 7934229 w 9397013"/>
              <a:gd name="connsiteY25-436" fmla="*/ 7291226 h 7291226"/>
              <a:gd name="connsiteX26-437" fmla="*/ 7444802 w 9397013"/>
              <a:gd name="connsiteY26-438" fmla="*/ 7291226 h 7291226"/>
              <a:gd name="connsiteX27-439" fmla="*/ 4245793 w 9397013"/>
              <a:gd name="connsiteY27-440" fmla="*/ 3078214 h 7291226"/>
              <a:gd name="connsiteX28-441" fmla="*/ 4490696 w 9397013"/>
              <a:gd name="connsiteY28-442" fmla="*/ 2757469 h 7291226"/>
              <a:gd name="connsiteX29-443" fmla="*/ 7934229 w 9397013"/>
              <a:gd name="connsiteY29-444" fmla="*/ 7291226 h 7291226"/>
              <a:gd name="connsiteX30-445" fmla="*/ 8567691 w 9397013"/>
              <a:gd name="connsiteY30-446" fmla="*/ 7124971 h 7291226"/>
              <a:gd name="connsiteX31-447" fmla="*/ 8150153 w 9397013"/>
              <a:gd name="connsiteY31-448" fmla="*/ 7097262 h 7291226"/>
              <a:gd name="connsiteX32-449" fmla="*/ 4650570 w 9397013"/>
              <a:gd name="connsiteY32-450" fmla="*/ 2548084 h 7291226"/>
              <a:gd name="connsiteX33-451" fmla="*/ 4869244 w 9397013"/>
              <a:gd name="connsiteY33-452" fmla="*/ 2261689 h 7291226"/>
              <a:gd name="connsiteX34-453" fmla="*/ 8567691 w 9397013"/>
              <a:gd name="connsiteY34-454" fmla="*/ 7124971 h 7291226"/>
              <a:gd name="connsiteX35-455" fmla="*/ 9397013 w 9397013"/>
              <a:gd name="connsiteY35-456" fmla="*/ 7134207 h 7291226"/>
              <a:gd name="connsiteX36-457" fmla="*/ 8921338 w 9397013"/>
              <a:gd name="connsiteY36-458" fmla="*/ 7115735 h 7291226"/>
              <a:gd name="connsiteX37-459" fmla="*/ 5045299 w 9397013"/>
              <a:gd name="connsiteY37-460" fmla="*/ 2031113 h 7291226"/>
              <a:gd name="connsiteX38-461" fmla="*/ 5273037 w 9397013"/>
              <a:gd name="connsiteY38-462" fmla="*/ 1732846 h 7291226"/>
              <a:gd name="connsiteX39-463" fmla="*/ 9397013 w 9397013"/>
              <a:gd name="connsiteY39-464" fmla="*/ 7134207 h 7291226"/>
              <a:gd name="connsiteX0-465" fmla="*/ 168369 w 9397013"/>
              <a:gd name="connsiteY0-466" fmla="*/ 4779933 h 7291226"/>
              <a:gd name="connsiteX1-467" fmla="*/ 0 w 9397013"/>
              <a:gd name="connsiteY1-468" fmla="*/ 4409146 h 7291226"/>
              <a:gd name="connsiteX2-469" fmla="*/ 3332806 w 9397013"/>
              <a:gd name="connsiteY2-470" fmla="*/ 0 h 7291226"/>
              <a:gd name="connsiteX3-471" fmla="*/ 3794560 w 9397013"/>
              <a:gd name="connsiteY3-472" fmla="*/ 32861 h 7291226"/>
              <a:gd name="connsiteX4-473" fmla="*/ 168369 w 9397013"/>
              <a:gd name="connsiteY4-474" fmla="*/ 4779933 h 7291226"/>
              <a:gd name="connsiteX5-475" fmla="*/ 488220 w 9397013"/>
              <a:gd name="connsiteY5-476" fmla="*/ 5484315 h 7291226"/>
              <a:gd name="connsiteX6-477" fmla="*/ 299082 w 9397013"/>
              <a:gd name="connsiteY6-478" fmla="*/ 5067791 h 7291226"/>
              <a:gd name="connsiteX7-479" fmla="*/ 4106456 w 9397013"/>
              <a:gd name="connsiteY7-480" fmla="*/ 55057 h 7291226"/>
              <a:gd name="connsiteX8-481" fmla="*/ 4585079 w 9397013"/>
              <a:gd name="connsiteY8-482" fmla="*/ 89119 h 7291226"/>
              <a:gd name="connsiteX9-483" fmla="*/ 488220 w 9397013"/>
              <a:gd name="connsiteY9-484" fmla="*/ 5484315 h 7291226"/>
              <a:gd name="connsiteX10-485" fmla="*/ 779421 w 9397013"/>
              <a:gd name="connsiteY10-486" fmla="*/ 6125606 h 7291226"/>
              <a:gd name="connsiteX11-487" fmla="*/ 618065 w 9397013"/>
              <a:gd name="connsiteY11-488" fmla="*/ 5770263 h 7291226"/>
              <a:gd name="connsiteX12-489" fmla="*/ 4897528 w 9397013"/>
              <a:gd name="connsiteY12-490" fmla="*/ 111354 h 7291226"/>
              <a:gd name="connsiteX13-491" fmla="*/ 5324893 w 9397013"/>
              <a:gd name="connsiteY13-492" fmla="*/ 141768 h 7291226"/>
              <a:gd name="connsiteX14-493" fmla="*/ 779421 w 9397013"/>
              <a:gd name="connsiteY14-494" fmla="*/ 6125606 h 7291226"/>
              <a:gd name="connsiteX15-495" fmla="*/ 1099910 w 9397013"/>
              <a:gd name="connsiteY15-496" fmla="*/ 6831395 h 7291226"/>
              <a:gd name="connsiteX16-497" fmla="*/ 919656 w 9397013"/>
              <a:gd name="connsiteY16-498" fmla="*/ 6434435 h 7291226"/>
              <a:gd name="connsiteX17-499" fmla="*/ 5668965 w 9397013"/>
              <a:gd name="connsiteY17-500" fmla="*/ 166254 h 7291226"/>
              <a:gd name="connsiteX18-501" fmla="*/ 6114044 w 9397013"/>
              <a:gd name="connsiteY18-502" fmla="*/ 197929 h 7291226"/>
              <a:gd name="connsiteX19-503" fmla="*/ 1099910 w 9397013"/>
              <a:gd name="connsiteY19-504" fmla="*/ 6831395 h 7291226"/>
              <a:gd name="connsiteX20-505" fmla="*/ 7106560 w 9397013"/>
              <a:gd name="connsiteY20-506" fmla="*/ 7291226 h 7291226"/>
              <a:gd name="connsiteX21-507" fmla="*/ 6670875 w 9397013"/>
              <a:gd name="connsiteY21-508" fmla="*/ 7291226 h 7291226"/>
              <a:gd name="connsiteX22-509" fmla="*/ 3849932 w 9397013"/>
              <a:gd name="connsiteY22-510" fmla="*/ 3596670 h 7291226"/>
              <a:gd name="connsiteX23-511" fmla="*/ 4086202 w 9397013"/>
              <a:gd name="connsiteY23-512" fmla="*/ 3287229 h 7291226"/>
              <a:gd name="connsiteX24-513" fmla="*/ 7106560 w 9397013"/>
              <a:gd name="connsiteY24-514" fmla="*/ 7291226 h 7291226"/>
              <a:gd name="connsiteX25-515" fmla="*/ 7934229 w 9397013"/>
              <a:gd name="connsiteY25-516" fmla="*/ 7291226 h 7291226"/>
              <a:gd name="connsiteX26-517" fmla="*/ 7444802 w 9397013"/>
              <a:gd name="connsiteY26-518" fmla="*/ 7291226 h 7291226"/>
              <a:gd name="connsiteX27-519" fmla="*/ 4245793 w 9397013"/>
              <a:gd name="connsiteY27-520" fmla="*/ 3078214 h 7291226"/>
              <a:gd name="connsiteX28-521" fmla="*/ 4490696 w 9397013"/>
              <a:gd name="connsiteY28-522" fmla="*/ 2757469 h 7291226"/>
              <a:gd name="connsiteX29-523" fmla="*/ 7934229 w 9397013"/>
              <a:gd name="connsiteY29-524" fmla="*/ 7291226 h 7291226"/>
              <a:gd name="connsiteX30-525" fmla="*/ 8567691 w 9397013"/>
              <a:gd name="connsiteY30-526" fmla="*/ 7124971 h 7291226"/>
              <a:gd name="connsiteX31-527" fmla="*/ 8159389 w 9397013"/>
              <a:gd name="connsiteY31-528" fmla="*/ 7134208 h 7291226"/>
              <a:gd name="connsiteX32-529" fmla="*/ 4650570 w 9397013"/>
              <a:gd name="connsiteY32-530" fmla="*/ 2548084 h 7291226"/>
              <a:gd name="connsiteX33-531" fmla="*/ 4869244 w 9397013"/>
              <a:gd name="connsiteY33-532" fmla="*/ 2261689 h 7291226"/>
              <a:gd name="connsiteX34-533" fmla="*/ 8567691 w 9397013"/>
              <a:gd name="connsiteY34-534" fmla="*/ 7124971 h 7291226"/>
              <a:gd name="connsiteX35-535" fmla="*/ 9397013 w 9397013"/>
              <a:gd name="connsiteY35-536" fmla="*/ 7134207 h 7291226"/>
              <a:gd name="connsiteX36-537" fmla="*/ 8921338 w 9397013"/>
              <a:gd name="connsiteY36-538" fmla="*/ 7115735 h 7291226"/>
              <a:gd name="connsiteX37-539" fmla="*/ 5045299 w 9397013"/>
              <a:gd name="connsiteY37-540" fmla="*/ 2031113 h 7291226"/>
              <a:gd name="connsiteX38-541" fmla="*/ 5273037 w 9397013"/>
              <a:gd name="connsiteY38-542" fmla="*/ 1732846 h 7291226"/>
              <a:gd name="connsiteX39-543" fmla="*/ 9397013 w 9397013"/>
              <a:gd name="connsiteY39-544" fmla="*/ 7134207 h 7291226"/>
              <a:gd name="connsiteX0-545" fmla="*/ 168369 w 9397013"/>
              <a:gd name="connsiteY0-546" fmla="*/ 4779933 h 7291226"/>
              <a:gd name="connsiteX1-547" fmla="*/ 0 w 9397013"/>
              <a:gd name="connsiteY1-548" fmla="*/ 4409146 h 7291226"/>
              <a:gd name="connsiteX2-549" fmla="*/ 3332806 w 9397013"/>
              <a:gd name="connsiteY2-550" fmla="*/ 0 h 7291226"/>
              <a:gd name="connsiteX3-551" fmla="*/ 3794560 w 9397013"/>
              <a:gd name="connsiteY3-552" fmla="*/ 32861 h 7291226"/>
              <a:gd name="connsiteX4-553" fmla="*/ 168369 w 9397013"/>
              <a:gd name="connsiteY4-554" fmla="*/ 4779933 h 7291226"/>
              <a:gd name="connsiteX5-555" fmla="*/ 488220 w 9397013"/>
              <a:gd name="connsiteY5-556" fmla="*/ 5484315 h 7291226"/>
              <a:gd name="connsiteX6-557" fmla="*/ 299082 w 9397013"/>
              <a:gd name="connsiteY6-558" fmla="*/ 5067791 h 7291226"/>
              <a:gd name="connsiteX7-559" fmla="*/ 4106456 w 9397013"/>
              <a:gd name="connsiteY7-560" fmla="*/ 55057 h 7291226"/>
              <a:gd name="connsiteX8-561" fmla="*/ 4585079 w 9397013"/>
              <a:gd name="connsiteY8-562" fmla="*/ 89119 h 7291226"/>
              <a:gd name="connsiteX9-563" fmla="*/ 488220 w 9397013"/>
              <a:gd name="connsiteY9-564" fmla="*/ 5484315 h 7291226"/>
              <a:gd name="connsiteX10-565" fmla="*/ 779421 w 9397013"/>
              <a:gd name="connsiteY10-566" fmla="*/ 6125606 h 7291226"/>
              <a:gd name="connsiteX11-567" fmla="*/ 618065 w 9397013"/>
              <a:gd name="connsiteY11-568" fmla="*/ 5770263 h 7291226"/>
              <a:gd name="connsiteX12-569" fmla="*/ 4897528 w 9397013"/>
              <a:gd name="connsiteY12-570" fmla="*/ 111354 h 7291226"/>
              <a:gd name="connsiteX13-571" fmla="*/ 5324893 w 9397013"/>
              <a:gd name="connsiteY13-572" fmla="*/ 141768 h 7291226"/>
              <a:gd name="connsiteX14-573" fmla="*/ 779421 w 9397013"/>
              <a:gd name="connsiteY14-574" fmla="*/ 6125606 h 7291226"/>
              <a:gd name="connsiteX15-575" fmla="*/ 1099910 w 9397013"/>
              <a:gd name="connsiteY15-576" fmla="*/ 6831395 h 7291226"/>
              <a:gd name="connsiteX16-577" fmla="*/ 919656 w 9397013"/>
              <a:gd name="connsiteY16-578" fmla="*/ 6434435 h 7291226"/>
              <a:gd name="connsiteX17-579" fmla="*/ 5668965 w 9397013"/>
              <a:gd name="connsiteY17-580" fmla="*/ 166254 h 7291226"/>
              <a:gd name="connsiteX18-581" fmla="*/ 6114044 w 9397013"/>
              <a:gd name="connsiteY18-582" fmla="*/ 197929 h 7291226"/>
              <a:gd name="connsiteX19-583" fmla="*/ 1099910 w 9397013"/>
              <a:gd name="connsiteY19-584" fmla="*/ 6831395 h 7291226"/>
              <a:gd name="connsiteX20-585" fmla="*/ 7106560 w 9397013"/>
              <a:gd name="connsiteY20-586" fmla="*/ 7291226 h 7291226"/>
              <a:gd name="connsiteX21-587" fmla="*/ 6670875 w 9397013"/>
              <a:gd name="connsiteY21-588" fmla="*/ 7291226 h 7291226"/>
              <a:gd name="connsiteX22-589" fmla="*/ 3849932 w 9397013"/>
              <a:gd name="connsiteY22-590" fmla="*/ 3596670 h 7291226"/>
              <a:gd name="connsiteX23-591" fmla="*/ 4086202 w 9397013"/>
              <a:gd name="connsiteY23-592" fmla="*/ 3287229 h 7291226"/>
              <a:gd name="connsiteX24-593" fmla="*/ 7106560 w 9397013"/>
              <a:gd name="connsiteY24-594" fmla="*/ 7291226 h 7291226"/>
              <a:gd name="connsiteX25-595" fmla="*/ 7777211 w 9397013"/>
              <a:gd name="connsiteY25-596" fmla="*/ 7124972 h 7291226"/>
              <a:gd name="connsiteX26-597" fmla="*/ 7444802 w 9397013"/>
              <a:gd name="connsiteY26-598" fmla="*/ 7291226 h 7291226"/>
              <a:gd name="connsiteX27-599" fmla="*/ 4245793 w 9397013"/>
              <a:gd name="connsiteY27-600" fmla="*/ 3078214 h 7291226"/>
              <a:gd name="connsiteX28-601" fmla="*/ 4490696 w 9397013"/>
              <a:gd name="connsiteY28-602" fmla="*/ 2757469 h 7291226"/>
              <a:gd name="connsiteX29-603" fmla="*/ 7777211 w 9397013"/>
              <a:gd name="connsiteY29-604" fmla="*/ 7124972 h 7291226"/>
              <a:gd name="connsiteX30-605" fmla="*/ 8567691 w 9397013"/>
              <a:gd name="connsiteY30-606" fmla="*/ 7124971 h 7291226"/>
              <a:gd name="connsiteX31-607" fmla="*/ 8159389 w 9397013"/>
              <a:gd name="connsiteY31-608" fmla="*/ 7134208 h 7291226"/>
              <a:gd name="connsiteX32-609" fmla="*/ 4650570 w 9397013"/>
              <a:gd name="connsiteY32-610" fmla="*/ 2548084 h 7291226"/>
              <a:gd name="connsiteX33-611" fmla="*/ 4869244 w 9397013"/>
              <a:gd name="connsiteY33-612" fmla="*/ 2261689 h 7291226"/>
              <a:gd name="connsiteX34-613" fmla="*/ 8567691 w 9397013"/>
              <a:gd name="connsiteY34-614" fmla="*/ 7124971 h 7291226"/>
              <a:gd name="connsiteX35-615" fmla="*/ 9397013 w 9397013"/>
              <a:gd name="connsiteY35-616" fmla="*/ 7134207 h 7291226"/>
              <a:gd name="connsiteX36-617" fmla="*/ 8921338 w 9397013"/>
              <a:gd name="connsiteY36-618" fmla="*/ 7115735 h 7291226"/>
              <a:gd name="connsiteX37-619" fmla="*/ 5045299 w 9397013"/>
              <a:gd name="connsiteY37-620" fmla="*/ 2031113 h 7291226"/>
              <a:gd name="connsiteX38-621" fmla="*/ 5273037 w 9397013"/>
              <a:gd name="connsiteY38-622" fmla="*/ 1732846 h 7291226"/>
              <a:gd name="connsiteX39-623" fmla="*/ 9397013 w 9397013"/>
              <a:gd name="connsiteY39-624" fmla="*/ 7134207 h 7291226"/>
              <a:gd name="connsiteX0-625" fmla="*/ 168369 w 9397013"/>
              <a:gd name="connsiteY0-626" fmla="*/ 4779933 h 7291226"/>
              <a:gd name="connsiteX1-627" fmla="*/ 0 w 9397013"/>
              <a:gd name="connsiteY1-628" fmla="*/ 4409146 h 7291226"/>
              <a:gd name="connsiteX2-629" fmla="*/ 3332806 w 9397013"/>
              <a:gd name="connsiteY2-630" fmla="*/ 0 h 7291226"/>
              <a:gd name="connsiteX3-631" fmla="*/ 3794560 w 9397013"/>
              <a:gd name="connsiteY3-632" fmla="*/ 32861 h 7291226"/>
              <a:gd name="connsiteX4-633" fmla="*/ 168369 w 9397013"/>
              <a:gd name="connsiteY4-634" fmla="*/ 4779933 h 7291226"/>
              <a:gd name="connsiteX5-635" fmla="*/ 488220 w 9397013"/>
              <a:gd name="connsiteY5-636" fmla="*/ 5484315 h 7291226"/>
              <a:gd name="connsiteX6-637" fmla="*/ 299082 w 9397013"/>
              <a:gd name="connsiteY6-638" fmla="*/ 5067791 h 7291226"/>
              <a:gd name="connsiteX7-639" fmla="*/ 4106456 w 9397013"/>
              <a:gd name="connsiteY7-640" fmla="*/ 55057 h 7291226"/>
              <a:gd name="connsiteX8-641" fmla="*/ 4585079 w 9397013"/>
              <a:gd name="connsiteY8-642" fmla="*/ 89119 h 7291226"/>
              <a:gd name="connsiteX9-643" fmla="*/ 488220 w 9397013"/>
              <a:gd name="connsiteY9-644" fmla="*/ 5484315 h 7291226"/>
              <a:gd name="connsiteX10-645" fmla="*/ 779421 w 9397013"/>
              <a:gd name="connsiteY10-646" fmla="*/ 6125606 h 7291226"/>
              <a:gd name="connsiteX11-647" fmla="*/ 618065 w 9397013"/>
              <a:gd name="connsiteY11-648" fmla="*/ 5770263 h 7291226"/>
              <a:gd name="connsiteX12-649" fmla="*/ 4897528 w 9397013"/>
              <a:gd name="connsiteY12-650" fmla="*/ 111354 h 7291226"/>
              <a:gd name="connsiteX13-651" fmla="*/ 5324893 w 9397013"/>
              <a:gd name="connsiteY13-652" fmla="*/ 141768 h 7291226"/>
              <a:gd name="connsiteX14-653" fmla="*/ 779421 w 9397013"/>
              <a:gd name="connsiteY14-654" fmla="*/ 6125606 h 7291226"/>
              <a:gd name="connsiteX15-655" fmla="*/ 1099910 w 9397013"/>
              <a:gd name="connsiteY15-656" fmla="*/ 6831395 h 7291226"/>
              <a:gd name="connsiteX16-657" fmla="*/ 919656 w 9397013"/>
              <a:gd name="connsiteY16-658" fmla="*/ 6434435 h 7291226"/>
              <a:gd name="connsiteX17-659" fmla="*/ 5668965 w 9397013"/>
              <a:gd name="connsiteY17-660" fmla="*/ 166254 h 7291226"/>
              <a:gd name="connsiteX18-661" fmla="*/ 6114044 w 9397013"/>
              <a:gd name="connsiteY18-662" fmla="*/ 197929 h 7291226"/>
              <a:gd name="connsiteX19-663" fmla="*/ 1099910 w 9397013"/>
              <a:gd name="connsiteY19-664" fmla="*/ 6831395 h 7291226"/>
              <a:gd name="connsiteX20-665" fmla="*/ 7106560 w 9397013"/>
              <a:gd name="connsiteY20-666" fmla="*/ 7291226 h 7291226"/>
              <a:gd name="connsiteX21-667" fmla="*/ 6670875 w 9397013"/>
              <a:gd name="connsiteY21-668" fmla="*/ 7291226 h 7291226"/>
              <a:gd name="connsiteX22-669" fmla="*/ 3849932 w 9397013"/>
              <a:gd name="connsiteY22-670" fmla="*/ 3596670 h 7291226"/>
              <a:gd name="connsiteX23-671" fmla="*/ 4086202 w 9397013"/>
              <a:gd name="connsiteY23-672" fmla="*/ 3287229 h 7291226"/>
              <a:gd name="connsiteX24-673" fmla="*/ 7106560 w 9397013"/>
              <a:gd name="connsiteY24-674" fmla="*/ 7291226 h 7291226"/>
              <a:gd name="connsiteX25-675" fmla="*/ 7777211 w 9397013"/>
              <a:gd name="connsiteY25-676" fmla="*/ 7124972 h 7291226"/>
              <a:gd name="connsiteX26-677" fmla="*/ 7324729 w 9397013"/>
              <a:gd name="connsiteY26-678" fmla="*/ 7124972 h 7291226"/>
              <a:gd name="connsiteX27-679" fmla="*/ 4245793 w 9397013"/>
              <a:gd name="connsiteY27-680" fmla="*/ 3078214 h 7291226"/>
              <a:gd name="connsiteX28-681" fmla="*/ 4490696 w 9397013"/>
              <a:gd name="connsiteY28-682" fmla="*/ 2757469 h 7291226"/>
              <a:gd name="connsiteX29-683" fmla="*/ 7777211 w 9397013"/>
              <a:gd name="connsiteY29-684" fmla="*/ 7124972 h 7291226"/>
              <a:gd name="connsiteX30-685" fmla="*/ 8567691 w 9397013"/>
              <a:gd name="connsiteY30-686" fmla="*/ 7124971 h 7291226"/>
              <a:gd name="connsiteX31-687" fmla="*/ 8159389 w 9397013"/>
              <a:gd name="connsiteY31-688" fmla="*/ 7134208 h 7291226"/>
              <a:gd name="connsiteX32-689" fmla="*/ 4650570 w 9397013"/>
              <a:gd name="connsiteY32-690" fmla="*/ 2548084 h 7291226"/>
              <a:gd name="connsiteX33-691" fmla="*/ 4869244 w 9397013"/>
              <a:gd name="connsiteY33-692" fmla="*/ 2261689 h 7291226"/>
              <a:gd name="connsiteX34-693" fmla="*/ 8567691 w 9397013"/>
              <a:gd name="connsiteY34-694" fmla="*/ 7124971 h 7291226"/>
              <a:gd name="connsiteX35-695" fmla="*/ 9397013 w 9397013"/>
              <a:gd name="connsiteY35-696" fmla="*/ 7134207 h 7291226"/>
              <a:gd name="connsiteX36-697" fmla="*/ 8921338 w 9397013"/>
              <a:gd name="connsiteY36-698" fmla="*/ 7115735 h 7291226"/>
              <a:gd name="connsiteX37-699" fmla="*/ 5045299 w 9397013"/>
              <a:gd name="connsiteY37-700" fmla="*/ 2031113 h 7291226"/>
              <a:gd name="connsiteX38-701" fmla="*/ 5273037 w 9397013"/>
              <a:gd name="connsiteY38-702" fmla="*/ 1732846 h 7291226"/>
              <a:gd name="connsiteX39-703" fmla="*/ 9397013 w 9397013"/>
              <a:gd name="connsiteY39-704" fmla="*/ 7134207 h 7291226"/>
              <a:gd name="connsiteX0-705" fmla="*/ 168369 w 9397013"/>
              <a:gd name="connsiteY0-706" fmla="*/ 4779933 h 7291226"/>
              <a:gd name="connsiteX1-707" fmla="*/ 0 w 9397013"/>
              <a:gd name="connsiteY1-708" fmla="*/ 4409146 h 7291226"/>
              <a:gd name="connsiteX2-709" fmla="*/ 3332806 w 9397013"/>
              <a:gd name="connsiteY2-710" fmla="*/ 0 h 7291226"/>
              <a:gd name="connsiteX3-711" fmla="*/ 3794560 w 9397013"/>
              <a:gd name="connsiteY3-712" fmla="*/ 32861 h 7291226"/>
              <a:gd name="connsiteX4-713" fmla="*/ 168369 w 9397013"/>
              <a:gd name="connsiteY4-714" fmla="*/ 4779933 h 7291226"/>
              <a:gd name="connsiteX5-715" fmla="*/ 488220 w 9397013"/>
              <a:gd name="connsiteY5-716" fmla="*/ 5484315 h 7291226"/>
              <a:gd name="connsiteX6-717" fmla="*/ 299082 w 9397013"/>
              <a:gd name="connsiteY6-718" fmla="*/ 5067791 h 7291226"/>
              <a:gd name="connsiteX7-719" fmla="*/ 4106456 w 9397013"/>
              <a:gd name="connsiteY7-720" fmla="*/ 55057 h 7291226"/>
              <a:gd name="connsiteX8-721" fmla="*/ 4585079 w 9397013"/>
              <a:gd name="connsiteY8-722" fmla="*/ 89119 h 7291226"/>
              <a:gd name="connsiteX9-723" fmla="*/ 488220 w 9397013"/>
              <a:gd name="connsiteY9-724" fmla="*/ 5484315 h 7291226"/>
              <a:gd name="connsiteX10-725" fmla="*/ 779421 w 9397013"/>
              <a:gd name="connsiteY10-726" fmla="*/ 6125606 h 7291226"/>
              <a:gd name="connsiteX11-727" fmla="*/ 618065 w 9397013"/>
              <a:gd name="connsiteY11-728" fmla="*/ 5770263 h 7291226"/>
              <a:gd name="connsiteX12-729" fmla="*/ 4897528 w 9397013"/>
              <a:gd name="connsiteY12-730" fmla="*/ 111354 h 7291226"/>
              <a:gd name="connsiteX13-731" fmla="*/ 5324893 w 9397013"/>
              <a:gd name="connsiteY13-732" fmla="*/ 141768 h 7291226"/>
              <a:gd name="connsiteX14-733" fmla="*/ 779421 w 9397013"/>
              <a:gd name="connsiteY14-734" fmla="*/ 6125606 h 7291226"/>
              <a:gd name="connsiteX15-735" fmla="*/ 1099910 w 9397013"/>
              <a:gd name="connsiteY15-736" fmla="*/ 6831395 h 7291226"/>
              <a:gd name="connsiteX16-737" fmla="*/ 919656 w 9397013"/>
              <a:gd name="connsiteY16-738" fmla="*/ 6434435 h 7291226"/>
              <a:gd name="connsiteX17-739" fmla="*/ 5668965 w 9397013"/>
              <a:gd name="connsiteY17-740" fmla="*/ 166254 h 7291226"/>
              <a:gd name="connsiteX18-741" fmla="*/ 6114044 w 9397013"/>
              <a:gd name="connsiteY18-742" fmla="*/ 197929 h 7291226"/>
              <a:gd name="connsiteX19-743" fmla="*/ 1099910 w 9397013"/>
              <a:gd name="connsiteY19-744" fmla="*/ 6831395 h 7291226"/>
              <a:gd name="connsiteX20-745" fmla="*/ 6968015 w 9397013"/>
              <a:gd name="connsiteY20-746" fmla="*/ 7143444 h 7291226"/>
              <a:gd name="connsiteX21-747" fmla="*/ 6670875 w 9397013"/>
              <a:gd name="connsiteY21-748" fmla="*/ 7291226 h 7291226"/>
              <a:gd name="connsiteX22-749" fmla="*/ 3849932 w 9397013"/>
              <a:gd name="connsiteY22-750" fmla="*/ 3596670 h 7291226"/>
              <a:gd name="connsiteX23-751" fmla="*/ 4086202 w 9397013"/>
              <a:gd name="connsiteY23-752" fmla="*/ 3287229 h 7291226"/>
              <a:gd name="connsiteX24-753" fmla="*/ 6968015 w 9397013"/>
              <a:gd name="connsiteY24-754" fmla="*/ 7143444 h 7291226"/>
              <a:gd name="connsiteX25-755" fmla="*/ 7777211 w 9397013"/>
              <a:gd name="connsiteY25-756" fmla="*/ 7124972 h 7291226"/>
              <a:gd name="connsiteX26-757" fmla="*/ 7324729 w 9397013"/>
              <a:gd name="connsiteY26-758" fmla="*/ 7124972 h 7291226"/>
              <a:gd name="connsiteX27-759" fmla="*/ 4245793 w 9397013"/>
              <a:gd name="connsiteY27-760" fmla="*/ 3078214 h 7291226"/>
              <a:gd name="connsiteX28-761" fmla="*/ 4490696 w 9397013"/>
              <a:gd name="connsiteY28-762" fmla="*/ 2757469 h 7291226"/>
              <a:gd name="connsiteX29-763" fmla="*/ 7777211 w 9397013"/>
              <a:gd name="connsiteY29-764" fmla="*/ 7124972 h 7291226"/>
              <a:gd name="connsiteX30-765" fmla="*/ 8567691 w 9397013"/>
              <a:gd name="connsiteY30-766" fmla="*/ 7124971 h 7291226"/>
              <a:gd name="connsiteX31-767" fmla="*/ 8159389 w 9397013"/>
              <a:gd name="connsiteY31-768" fmla="*/ 7134208 h 7291226"/>
              <a:gd name="connsiteX32-769" fmla="*/ 4650570 w 9397013"/>
              <a:gd name="connsiteY32-770" fmla="*/ 2548084 h 7291226"/>
              <a:gd name="connsiteX33-771" fmla="*/ 4869244 w 9397013"/>
              <a:gd name="connsiteY33-772" fmla="*/ 2261689 h 7291226"/>
              <a:gd name="connsiteX34-773" fmla="*/ 8567691 w 9397013"/>
              <a:gd name="connsiteY34-774" fmla="*/ 7124971 h 7291226"/>
              <a:gd name="connsiteX35-775" fmla="*/ 9397013 w 9397013"/>
              <a:gd name="connsiteY35-776" fmla="*/ 7134207 h 7291226"/>
              <a:gd name="connsiteX36-777" fmla="*/ 8921338 w 9397013"/>
              <a:gd name="connsiteY36-778" fmla="*/ 7115735 h 7291226"/>
              <a:gd name="connsiteX37-779" fmla="*/ 5045299 w 9397013"/>
              <a:gd name="connsiteY37-780" fmla="*/ 2031113 h 7291226"/>
              <a:gd name="connsiteX38-781" fmla="*/ 5273037 w 9397013"/>
              <a:gd name="connsiteY38-782" fmla="*/ 1732846 h 7291226"/>
              <a:gd name="connsiteX39-783" fmla="*/ 9397013 w 9397013"/>
              <a:gd name="connsiteY39-784" fmla="*/ 7134207 h 7291226"/>
              <a:gd name="connsiteX0-785" fmla="*/ 168369 w 9397013"/>
              <a:gd name="connsiteY0-786" fmla="*/ 4779933 h 7143444"/>
              <a:gd name="connsiteX1-787" fmla="*/ 0 w 9397013"/>
              <a:gd name="connsiteY1-788" fmla="*/ 4409146 h 7143444"/>
              <a:gd name="connsiteX2-789" fmla="*/ 3332806 w 9397013"/>
              <a:gd name="connsiteY2-790" fmla="*/ 0 h 7143444"/>
              <a:gd name="connsiteX3-791" fmla="*/ 3794560 w 9397013"/>
              <a:gd name="connsiteY3-792" fmla="*/ 32861 h 7143444"/>
              <a:gd name="connsiteX4-793" fmla="*/ 168369 w 9397013"/>
              <a:gd name="connsiteY4-794" fmla="*/ 4779933 h 7143444"/>
              <a:gd name="connsiteX5-795" fmla="*/ 488220 w 9397013"/>
              <a:gd name="connsiteY5-796" fmla="*/ 5484315 h 7143444"/>
              <a:gd name="connsiteX6-797" fmla="*/ 299082 w 9397013"/>
              <a:gd name="connsiteY6-798" fmla="*/ 5067791 h 7143444"/>
              <a:gd name="connsiteX7-799" fmla="*/ 4106456 w 9397013"/>
              <a:gd name="connsiteY7-800" fmla="*/ 55057 h 7143444"/>
              <a:gd name="connsiteX8-801" fmla="*/ 4585079 w 9397013"/>
              <a:gd name="connsiteY8-802" fmla="*/ 89119 h 7143444"/>
              <a:gd name="connsiteX9-803" fmla="*/ 488220 w 9397013"/>
              <a:gd name="connsiteY9-804" fmla="*/ 5484315 h 7143444"/>
              <a:gd name="connsiteX10-805" fmla="*/ 779421 w 9397013"/>
              <a:gd name="connsiteY10-806" fmla="*/ 6125606 h 7143444"/>
              <a:gd name="connsiteX11-807" fmla="*/ 618065 w 9397013"/>
              <a:gd name="connsiteY11-808" fmla="*/ 5770263 h 7143444"/>
              <a:gd name="connsiteX12-809" fmla="*/ 4897528 w 9397013"/>
              <a:gd name="connsiteY12-810" fmla="*/ 111354 h 7143444"/>
              <a:gd name="connsiteX13-811" fmla="*/ 5324893 w 9397013"/>
              <a:gd name="connsiteY13-812" fmla="*/ 141768 h 7143444"/>
              <a:gd name="connsiteX14-813" fmla="*/ 779421 w 9397013"/>
              <a:gd name="connsiteY14-814" fmla="*/ 6125606 h 7143444"/>
              <a:gd name="connsiteX15-815" fmla="*/ 1099910 w 9397013"/>
              <a:gd name="connsiteY15-816" fmla="*/ 6831395 h 7143444"/>
              <a:gd name="connsiteX16-817" fmla="*/ 919656 w 9397013"/>
              <a:gd name="connsiteY16-818" fmla="*/ 6434435 h 7143444"/>
              <a:gd name="connsiteX17-819" fmla="*/ 5668965 w 9397013"/>
              <a:gd name="connsiteY17-820" fmla="*/ 166254 h 7143444"/>
              <a:gd name="connsiteX18-821" fmla="*/ 6114044 w 9397013"/>
              <a:gd name="connsiteY18-822" fmla="*/ 197929 h 7143444"/>
              <a:gd name="connsiteX19-823" fmla="*/ 1099910 w 9397013"/>
              <a:gd name="connsiteY19-824" fmla="*/ 6831395 h 7143444"/>
              <a:gd name="connsiteX20-825" fmla="*/ 6968015 w 9397013"/>
              <a:gd name="connsiteY20-826" fmla="*/ 7143444 h 7143444"/>
              <a:gd name="connsiteX21-827" fmla="*/ 6550802 w 9397013"/>
              <a:gd name="connsiteY21-828" fmla="*/ 7143444 h 7143444"/>
              <a:gd name="connsiteX22-829" fmla="*/ 3849932 w 9397013"/>
              <a:gd name="connsiteY22-830" fmla="*/ 3596670 h 7143444"/>
              <a:gd name="connsiteX23-831" fmla="*/ 4086202 w 9397013"/>
              <a:gd name="connsiteY23-832" fmla="*/ 3287229 h 7143444"/>
              <a:gd name="connsiteX24-833" fmla="*/ 6968015 w 9397013"/>
              <a:gd name="connsiteY24-834" fmla="*/ 7143444 h 7143444"/>
              <a:gd name="connsiteX25-835" fmla="*/ 7777211 w 9397013"/>
              <a:gd name="connsiteY25-836" fmla="*/ 7124972 h 7143444"/>
              <a:gd name="connsiteX26-837" fmla="*/ 7324729 w 9397013"/>
              <a:gd name="connsiteY26-838" fmla="*/ 7124972 h 7143444"/>
              <a:gd name="connsiteX27-839" fmla="*/ 4245793 w 9397013"/>
              <a:gd name="connsiteY27-840" fmla="*/ 3078214 h 7143444"/>
              <a:gd name="connsiteX28-841" fmla="*/ 4490696 w 9397013"/>
              <a:gd name="connsiteY28-842" fmla="*/ 2757469 h 7143444"/>
              <a:gd name="connsiteX29-843" fmla="*/ 7777211 w 9397013"/>
              <a:gd name="connsiteY29-844" fmla="*/ 7124972 h 7143444"/>
              <a:gd name="connsiteX30-845" fmla="*/ 8567691 w 9397013"/>
              <a:gd name="connsiteY30-846" fmla="*/ 7124971 h 7143444"/>
              <a:gd name="connsiteX31-847" fmla="*/ 8159389 w 9397013"/>
              <a:gd name="connsiteY31-848" fmla="*/ 7134208 h 7143444"/>
              <a:gd name="connsiteX32-849" fmla="*/ 4650570 w 9397013"/>
              <a:gd name="connsiteY32-850" fmla="*/ 2548084 h 7143444"/>
              <a:gd name="connsiteX33-851" fmla="*/ 4869244 w 9397013"/>
              <a:gd name="connsiteY33-852" fmla="*/ 2261689 h 7143444"/>
              <a:gd name="connsiteX34-853" fmla="*/ 8567691 w 9397013"/>
              <a:gd name="connsiteY34-854" fmla="*/ 7124971 h 7143444"/>
              <a:gd name="connsiteX35-855" fmla="*/ 9397013 w 9397013"/>
              <a:gd name="connsiteY35-856" fmla="*/ 7134207 h 7143444"/>
              <a:gd name="connsiteX36-857" fmla="*/ 8921338 w 9397013"/>
              <a:gd name="connsiteY36-858" fmla="*/ 7115735 h 7143444"/>
              <a:gd name="connsiteX37-859" fmla="*/ 5045299 w 9397013"/>
              <a:gd name="connsiteY37-860" fmla="*/ 2031113 h 7143444"/>
              <a:gd name="connsiteX38-861" fmla="*/ 5273037 w 9397013"/>
              <a:gd name="connsiteY38-862" fmla="*/ 1732846 h 7143444"/>
              <a:gd name="connsiteX39-863" fmla="*/ 9397013 w 9397013"/>
              <a:gd name="connsiteY39-864" fmla="*/ 7134207 h 7143444"/>
              <a:gd name="connsiteX0-865" fmla="*/ 168369 w 9397013"/>
              <a:gd name="connsiteY0-866" fmla="*/ 4779933 h 7143444"/>
              <a:gd name="connsiteX1-867" fmla="*/ 0 w 9397013"/>
              <a:gd name="connsiteY1-868" fmla="*/ 4409146 h 7143444"/>
              <a:gd name="connsiteX2-869" fmla="*/ 3332806 w 9397013"/>
              <a:gd name="connsiteY2-870" fmla="*/ 0 h 7143444"/>
              <a:gd name="connsiteX3-871" fmla="*/ 3794560 w 9397013"/>
              <a:gd name="connsiteY3-872" fmla="*/ 32861 h 7143444"/>
              <a:gd name="connsiteX4-873" fmla="*/ 168369 w 9397013"/>
              <a:gd name="connsiteY4-874" fmla="*/ 4779933 h 7143444"/>
              <a:gd name="connsiteX5-875" fmla="*/ 488220 w 9397013"/>
              <a:gd name="connsiteY5-876" fmla="*/ 5484315 h 7143444"/>
              <a:gd name="connsiteX6-877" fmla="*/ 299082 w 9397013"/>
              <a:gd name="connsiteY6-878" fmla="*/ 5067791 h 7143444"/>
              <a:gd name="connsiteX7-879" fmla="*/ 4106456 w 9397013"/>
              <a:gd name="connsiteY7-880" fmla="*/ 55057 h 7143444"/>
              <a:gd name="connsiteX8-881" fmla="*/ 4585079 w 9397013"/>
              <a:gd name="connsiteY8-882" fmla="*/ 89119 h 7143444"/>
              <a:gd name="connsiteX9-883" fmla="*/ 488220 w 9397013"/>
              <a:gd name="connsiteY9-884" fmla="*/ 5484315 h 7143444"/>
              <a:gd name="connsiteX10-885" fmla="*/ 779421 w 9397013"/>
              <a:gd name="connsiteY10-886" fmla="*/ 6125606 h 7143444"/>
              <a:gd name="connsiteX11-887" fmla="*/ 618065 w 9397013"/>
              <a:gd name="connsiteY11-888" fmla="*/ 5770263 h 7143444"/>
              <a:gd name="connsiteX12-889" fmla="*/ 4897528 w 9397013"/>
              <a:gd name="connsiteY12-890" fmla="*/ 111354 h 7143444"/>
              <a:gd name="connsiteX13-891" fmla="*/ 5324893 w 9397013"/>
              <a:gd name="connsiteY13-892" fmla="*/ 141768 h 7143444"/>
              <a:gd name="connsiteX14-893" fmla="*/ 779421 w 9397013"/>
              <a:gd name="connsiteY14-894" fmla="*/ 6125606 h 7143444"/>
              <a:gd name="connsiteX15-895" fmla="*/ 1099910 w 9397013"/>
              <a:gd name="connsiteY15-896" fmla="*/ 6831395 h 7143444"/>
              <a:gd name="connsiteX16-897" fmla="*/ 919656 w 9397013"/>
              <a:gd name="connsiteY16-898" fmla="*/ 6434435 h 7143444"/>
              <a:gd name="connsiteX17-899" fmla="*/ 5668965 w 9397013"/>
              <a:gd name="connsiteY17-900" fmla="*/ 166254 h 7143444"/>
              <a:gd name="connsiteX18-901" fmla="*/ 6114044 w 9397013"/>
              <a:gd name="connsiteY18-902" fmla="*/ 197929 h 7143444"/>
              <a:gd name="connsiteX19-903" fmla="*/ 1099910 w 9397013"/>
              <a:gd name="connsiteY19-904" fmla="*/ 6831395 h 7143444"/>
              <a:gd name="connsiteX20-905" fmla="*/ 6958778 w 9397013"/>
              <a:gd name="connsiteY20-906" fmla="*/ 7124971 h 7143444"/>
              <a:gd name="connsiteX21-907" fmla="*/ 6550802 w 9397013"/>
              <a:gd name="connsiteY21-908" fmla="*/ 7143444 h 7143444"/>
              <a:gd name="connsiteX22-909" fmla="*/ 3849932 w 9397013"/>
              <a:gd name="connsiteY22-910" fmla="*/ 3596670 h 7143444"/>
              <a:gd name="connsiteX23-911" fmla="*/ 4086202 w 9397013"/>
              <a:gd name="connsiteY23-912" fmla="*/ 3287229 h 7143444"/>
              <a:gd name="connsiteX24-913" fmla="*/ 6958778 w 9397013"/>
              <a:gd name="connsiteY24-914" fmla="*/ 7124971 h 7143444"/>
              <a:gd name="connsiteX25-915" fmla="*/ 7777211 w 9397013"/>
              <a:gd name="connsiteY25-916" fmla="*/ 7124972 h 7143444"/>
              <a:gd name="connsiteX26-917" fmla="*/ 7324729 w 9397013"/>
              <a:gd name="connsiteY26-918" fmla="*/ 7124972 h 7143444"/>
              <a:gd name="connsiteX27-919" fmla="*/ 4245793 w 9397013"/>
              <a:gd name="connsiteY27-920" fmla="*/ 3078214 h 7143444"/>
              <a:gd name="connsiteX28-921" fmla="*/ 4490696 w 9397013"/>
              <a:gd name="connsiteY28-922" fmla="*/ 2757469 h 7143444"/>
              <a:gd name="connsiteX29-923" fmla="*/ 7777211 w 9397013"/>
              <a:gd name="connsiteY29-924" fmla="*/ 7124972 h 7143444"/>
              <a:gd name="connsiteX30-925" fmla="*/ 8567691 w 9397013"/>
              <a:gd name="connsiteY30-926" fmla="*/ 7124971 h 7143444"/>
              <a:gd name="connsiteX31-927" fmla="*/ 8159389 w 9397013"/>
              <a:gd name="connsiteY31-928" fmla="*/ 7134208 h 7143444"/>
              <a:gd name="connsiteX32-929" fmla="*/ 4650570 w 9397013"/>
              <a:gd name="connsiteY32-930" fmla="*/ 2548084 h 7143444"/>
              <a:gd name="connsiteX33-931" fmla="*/ 4869244 w 9397013"/>
              <a:gd name="connsiteY33-932" fmla="*/ 2261689 h 7143444"/>
              <a:gd name="connsiteX34-933" fmla="*/ 8567691 w 9397013"/>
              <a:gd name="connsiteY34-934" fmla="*/ 7124971 h 7143444"/>
              <a:gd name="connsiteX35-935" fmla="*/ 9397013 w 9397013"/>
              <a:gd name="connsiteY35-936" fmla="*/ 7134207 h 7143444"/>
              <a:gd name="connsiteX36-937" fmla="*/ 8921338 w 9397013"/>
              <a:gd name="connsiteY36-938" fmla="*/ 7115735 h 7143444"/>
              <a:gd name="connsiteX37-939" fmla="*/ 5045299 w 9397013"/>
              <a:gd name="connsiteY37-940" fmla="*/ 2031113 h 7143444"/>
              <a:gd name="connsiteX38-941" fmla="*/ 5273037 w 9397013"/>
              <a:gd name="connsiteY38-942" fmla="*/ 1732846 h 7143444"/>
              <a:gd name="connsiteX39-943" fmla="*/ 9397013 w 9397013"/>
              <a:gd name="connsiteY39-944" fmla="*/ 7134207 h 7143444"/>
              <a:gd name="connsiteX0-945" fmla="*/ 168369 w 9397013"/>
              <a:gd name="connsiteY0-946" fmla="*/ 4779933 h 7134208"/>
              <a:gd name="connsiteX1-947" fmla="*/ 0 w 9397013"/>
              <a:gd name="connsiteY1-948" fmla="*/ 4409146 h 7134208"/>
              <a:gd name="connsiteX2-949" fmla="*/ 3332806 w 9397013"/>
              <a:gd name="connsiteY2-950" fmla="*/ 0 h 7134208"/>
              <a:gd name="connsiteX3-951" fmla="*/ 3794560 w 9397013"/>
              <a:gd name="connsiteY3-952" fmla="*/ 32861 h 7134208"/>
              <a:gd name="connsiteX4-953" fmla="*/ 168369 w 9397013"/>
              <a:gd name="connsiteY4-954" fmla="*/ 4779933 h 7134208"/>
              <a:gd name="connsiteX5-955" fmla="*/ 488220 w 9397013"/>
              <a:gd name="connsiteY5-956" fmla="*/ 5484315 h 7134208"/>
              <a:gd name="connsiteX6-957" fmla="*/ 299082 w 9397013"/>
              <a:gd name="connsiteY6-958" fmla="*/ 5067791 h 7134208"/>
              <a:gd name="connsiteX7-959" fmla="*/ 4106456 w 9397013"/>
              <a:gd name="connsiteY7-960" fmla="*/ 55057 h 7134208"/>
              <a:gd name="connsiteX8-961" fmla="*/ 4585079 w 9397013"/>
              <a:gd name="connsiteY8-962" fmla="*/ 89119 h 7134208"/>
              <a:gd name="connsiteX9-963" fmla="*/ 488220 w 9397013"/>
              <a:gd name="connsiteY9-964" fmla="*/ 5484315 h 7134208"/>
              <a:gd name="connsiteX10-965" fmla="*/ 779421 w 9397013"/>
              <a:gd name="connsiteY10-966" fmla="*/ 6125606 h 7134208"/>
              <a:gd name="connsiteX11-967" fmla="*/ 618065 w 9397013"/>
              <a:gd name="connsiteY11-968" fmla="*/ 5770263 h 7134208"/>
              <a:gd name="connsiteX12-969" fmla="*/ 4897528 w 9397013"/>
              <a:gd name="connsiteY12-970" fmla="*/ 111354 h 7134208"/>
              <a:gd name="connsiteX13-971" fmla="*/ 5324893 w 9397013"/>
              <a:gd name="connsiteY13-972" fmla="*/ 141768 h 7134208"/>
              <a:gd name="connsiteX14-973" fmla="*/ 779421 w 9397013"/>
              <a:gd name="connsiteY14-974" fmla="*/ 6125606 h 7134208"/>
              <a:gd name="connsiteX15-975" fmla="*/ 1099910 w 9397013"/>
              <a:gd name="connsiteY15-976" fmla="*/ 6831395 h 7134208"/>
              <a:gd name="connsiteX16-977" fmla="*/ 919656 w 9397013"/>
              <a:gd name="connsiteY16-978" fmla="*/ 6434435 h 7134208"/>
              <a:gd name="connsiteX17-979" fmla="*/ 5668965 w 9397013"/>
              <a:gd name="connsiteY17-980" fmla="*/ 166254 h 7134208"/>
              <a:gd name="connsiteX18-981" fmla="*/ 6114044 w 9397013"/>
              <a:gd name="connsiteY18-982" fmla="*/ 197929 h 7134208"/>
              <a:gd name="connsiteX19-983" fmla="*/ 1099910 w 9397013"/>
              <a:gd name="connsiteY19-984" fmla="*/ 6831395 h 7134208"/>
              <a:gd name="connsiteX20-985" fmla="*/ 6958778 w 9397013"/>
              <a:gd name="connsiteY20-986" fmla="*/ 7124971 h 7134208"/>
              <a:gd name="connsiteX21-987" fmla="*/ 6541566 w 9397013"/>
              <a:gd name="connsiteY21-988" fmla="*/ 7115735 h 7134208"/>
              <a:gd name="connsiteX22-989" fmla="*/ 3849932 w 9397013"/>
              <a:gd name="connsiteY22-990" fmla="*/ 3596670 h 7134208"/>
              <a:gd name="connsiteX23-991" fmla="*/ 4086202 w 9397013"/>
              <a:gd name="connsiteY23-992" fmla="*/ 3287229 h 7134208"/>
              <a:gd name="connsiteX24-993" fmla="*/ 6958778 w 9397013"/>
              <a:gd name="connsiteY24-994" fmla="*/ 7124971 h 7134208"/>
              <a:gd name="connsiteX25-995" fmla="*/ 7777211 w 9397013"/>
              <a:gd name="connsiteY25-996" fmla="*/ 7124972 h 7134208"/>
              <a:gd name="connsiteX26-997" fmla="*/ 7324729 w 9397013"/>
              <a:gd name="connsiteY26-998" fmla="*/ 7124972 h 7134208"/>
              <a:gd name="connsiteX27-999" fmla="*/ 4245793 w 9397013"/>
              <a:gd name="connsiteY27-1000" fmla="*/ 3078214 h 7134208"/>
              <a:gd name="connsiteX28-1001" fmla="*/ 4490696 w 9397013"/>
              <a:gd name="connsiteY28-1002" fmla="*/ 2757469 h 7134208"/>
              <a:gd name="connsiteX29-1003" fmla="*/ 7777211 w 9397013"/>
              <a:gd name="connsiteY29-1004" fmla="*/ 7124972 h 7134208"/>
              <a:gd name="connsiteX30-1005" fmla="*/ 8567691 w 9397013"/>
              <a:gd name="connsiteY30-1006" fmla="*/ 7124971 h 7134208"/>
              <a:gd name="connsiteX31-1007" fmla="*/ 8159389 w 9397013"/>
              <a:gd name="connsiteY31-1008" fmla="*/ 7134208 h 7134208"/>
              <a:gd name="connsiteX32-1009" fmla="*/ 4650570 w 9397013"/>
              <a:gd name="connsiteY32-1010" fmla="*/ 2548084 h 7134208"/>
              <a:gd name="connsiteX33-1011" fmla="*/ 4869244 w 9397013"/>
              <a:gd name="connsiteY33-1012" fmla="*/ 2261689 h 7134208"/>
              <a:gd name="connsiteX34-1013" fmla="*/ 8567691 w 9397013"/>
              <a:gd name="connsiteY34-1014" fmla="*/ 7124971 h 7134208"/>
              <a:gd name="connsiteX35-1015" fmla="*/ 9397013 w 9397013"/>
              <a:gd name="connsiteY35-1016" fmla="*/ 7134207 h 7134208"/>
              <a:gd name="connsiteX36-1017" fmla="*/ 8921338 w 9397013"/>
              <a:gd name="connsiteY36-1018" fmla="*/ 7115735 h 7134208"/>
              <a:gd name="connsiteX37-1019" fmla="*/ 5045299 w 9397013"/>
              <a:gd name="connsiteY37-1020" fmla="*/ 2031113 h 7134208"/>
              <a:gd name="connsiteX38-1021" fmla="*/ 5273037 w 9397013"/>
              <a:gd name="connsiteY38-1022" fmla="*/ 1732846 h 7134208"/>
              <a:gd name="connsiteX39-1023" fmla="*/ 9397013 w 9397013"/>
              <a:gd name="connsiteY39-1024" fmla="*/ 7134207 h 7134208"/>
              <a:gd name="connsiteX0-1025" fmla="*/ 168369 w 9397013"/>
              <a:gd name="connsiteY0-1026" fmla="*/ 4779933 h 7134208"/>
              <a:gd name="connsiteX1-1027" fmla="*/ 0 w 9397013"/>
              <a:gd name="connsiteY1-1028" fmla="*/ 4409146 h 7134208"/>
              <a:gd name="connsiteX2-1029" fmla="*/ 3332806 w 9397013"/>
              <a:gd name="connsiteY2-1030" fmla="*/ 0 h 7134208"/>
              <a:gd name="connsiteX3-1031" fmla="*/ 3794560 w 9397013"/>
              <a:gd name="connsiteY3-1032" fmla="*/ 32861 h 7134208"/>
              <a:gd name="connsiteX4-1033" fmla="*/ 168369 w 9397013"/>
              <a:gd name="connsiteY4-1034" fmla="*/ 4779933 h 7134208"/>
              <a:gd name="connsiteX5-1035" fmla="*/ 488220 w 9397013"/>
              <a:gd name="connsiteY5-1036" fmla="*/ 5484315 h 7134208"/>
              <a:gd name="connsiteX6-1037" fmla="*/ 299082 w 9397013"/>
              <a:gd name="connsiteY6-1038" fmla="*/ 5067791 h 7134208"/>
              <a:gd name="connsiteX7-1039" fmla="*/ 4106456 w 9397013"/>
              <a:gd name="connsiteY7-1040" fmla="*/ 55057 h 7134208"/>
              <a:gd name="connsiteX8-1041" fmla="*/ 4585079 w 9397013"/>
              <a:gd name="connsiteY8-1042" fmla="*/ 89119 h 7134208"/>
              <a:gd name="connsiteX9-1043" fmla="*/ 488220 w 9397013"/>
              <a:gd name="connsiteY9-1044" fmla="*/ 5484315 h 7134208"/>
              <a:gd name="connsiteX10-1045" fmla="*/ 779421 w 9397013"/>
              <a:gd name="connsiteY10-1046" fmla="*/ 6125606 h 7134208"/>
              <a:gd name="connsiteX11-1047" fmla="*/ 618065 w 9397013"/>
              <a:gd name="connsiteY11-1048" fmla="*/ 5770263 h 7134208"/>
              <a:gd name="connsiteX12-1049" fmla="*/ 4897528 w 9397013"/>
              <a:gd name="connsiteY12-1050" fmla="*/ 111354 h 7134208"/>
              <a:gd name="connsiteX13-1051" fmla="*/ 5324893 w 9397013"/>
              <a:gd name="connsiteY13-1052" fmla="*/ 141768 h 7134208"/>
              <a:gd name="connsiteX14-1053" fmla="*/ 779421 w 9397013"/>
              <a:gd name="connsiteY14-1054" fmla="*/ 6125606 h 7134208"/>
              <a:gd name="connsiteX15-1055" fmla="*/ 1099910 w 9397013"/>
              <a:gd name="connsiteY15-1056" fmla="*/ 6831395 h 7134208"/>
              <a:gd name="connsiteX16-1057" fmla="*/ 919656 w 9397013"/>
              <a:gd name="connsiteY16-1058" fmla="*/ 6434435 h 7134208"/>
              <a:gd name="connsiteX17-1059" fmla="*/ 5668965 w 9397013"/>
              <a:gd name="connsiteY17-1060" fmla="*/ 166254 h 7134208"/>
              <a:gd name="connsiteX18-1061" fmla="*/ 6114044 w 9397013"/>
              <a:gd name="connsiteY18-1062" fmla="*/ 197929 h 7134208"/>
              <a:gd name="connsiteX19-1063" fmla="*/ 1099910 w 9397013"/>
              <a:gd name="connsiteY19-1064" fmla="*/ 6831395 h 7134208"/>
              <a:gd name="connsiteX20-1065" fmla="*/ 6958778 w 9397013"/>
              <a:gd name="connsiteY20-1066" fmla="*/ 7124971 h 7134208"/>
              <a:gd name="connsiteX21-1067" fmla="*/ 6560038 w 9397013"/>
              <a:gd name="connsiteY21-1068" fmla="*/ 7134207 h 7134208"/>
              <a:gd name="connsiteX22-1069" fmla="*/ 3849932 w 9397013"/>
              <a:gd name="connsiteY22-1070" fmla="*/ 3596670 h 7134208"/>
              <a:gd name="connsiteX23-1071" fmla="*/ 4086202 w 9397013"/>
              <a:gd name="connsiteY23-1072" fmla="*/ 3287229 h 7134208"/>
              <a:gd name="connsiteX24-1073" fmla="*/ 6958778 w 9397013"/>
              <a:gd name="connsiteY24-1074" fmla="*/ 7124971 h 7134208"/>
              <a:gd name="connsiteX25-1075" fmla="*/ 7777211 w 9397013"/>
              <a:gd name="connsiteY25-1076" fmla="*/ 7124972 h 7134208"/>
              <a:gd name="connsiteX26-1077" fmla="*/ 7324729 w 9397013"/>
              <a:gd name="connsiteY26-1078" fmla="*/ 7124972 h 7134208"/>
              <a:gd name="connsiteX27-1079" fmla="*/ 4245793 w 9397013"/>
              <a:gd name="connsiteY27-1080" fmla="*/ 3078214 h 7134208"/>
              <a:gd name="connsiteX28-1081" fmla="*/ 4490696 w 9397013"/>
              <a:gd name="connsiteY28-1082" fmla="*/ 2757469 h 7134208"/>
              <a:gd name="connsiteX29-1083" fmla="*/ 7777211 w 9397013"/>
              <a:gd name="connsiteY29-1084" fmla="*/ 7124972 h 7134208"/>
              <a:gd name="connsiteX30-1085" fmla="*/ 8567691 w 9397013"/>
              <a:gd name="connsiteY30-1086" fmla="*/ 7124971 h 7134208"/>
              <a:gd name="connsiteX31-1087" fmla="*/ 8159389 w 9397013"/>
              <a:gd name="connsiteY31-1088" fmla="*/ 7134208 h 7134208"/>
              <a:gd name="connsiteX32-1089" fmla="*/ 4650570 w 9397013"/>
              <a:gd name="connsiteY32-1090" fmla="*/ 2548084 h 7134208"/>
              <a:gd name="connsiteX33-1091" fmla="*/ 4869244 w 9397013"/>
              <a:gd name="connsiteY33-1092" fmla="*/ 2261689 h 7134208"/>
              <a:gd name="connsiteX34-1093" fmla="*/ 8567691 w 9397013"/>
              <a:gd name="connsiteY34-1094" fmla="*/ 7124971 h 7134208"/>
              <a:gd name="connsiteX35-1095" fmla="*/ 9397013 w 9397013"/>
              <a:gd name="connsiteY35-1096" fmla="*/ 7134207 h 7134208"/>
              <a:gd name="connsiteX36-1097" fmla="*/ 8921338 w 9397013"/>
              <a:gd name="connsiteY36-1098" fmla="*/ 7115735 h 7134208"/>
              <a:gd name="connsiteX37-1099" fmla="*/ 5045299 w 9397013"/>
              <a:gd name="connsiteY37-1100" fmla="*/ 2031113 h 7134208"/>
              <a:gd name="connsiteX38-1101" fmla="*/ 5273037 w 9397013"/>
              <a:gd name="connsiteY38-1102" fmla="*/ 1732846 h 7134208"/>
              <a:gd name="connsiteX39-1103" fmla="*/ 9397013 w 9397013"/>
              <a:gd name="connsiteY39-1104" fmla="*/ 7134207 h 7134208"/>
              <a:gd name="connsiteX0-1105" fmla="*/ 168369 w 9397013"/>
              <a:gd name="connsiteY0-1106" fmla="*/ 4779933 h 7134208"/>
              <a:gd name="connsiteX1-1107" fmla="*/ 0 w 9397013"/>
              <a:gd name="connsiteY1-1108" fmla="*/ 4409146 h 7134208"/>
              <a:gd name="connsiteX2-1109" fmla="*/ 3332806 w 9397013"/>
              <a:gd name="connsiteY2-1110" fmla="*/ 0 h 7134208"/>
              <a:gd name="connsiteX3-1111" fmla="*/ 3794560 w 9397013"/>
              <a:gd name="connsiteY3-1112" fmla="*/ 32861 h 7134208"/>
              <a:gd name="connsiteX4-1113" fmla="*/ 168369 w 9397013"/>
              <a:gd name="connsiteY4-1114" fmla="*/ 4779933 h 7134208"/>
              <a:gd name="connsiteX5-1115" fmla="*/ 488220 w 9397013"/>
              <a:gd name="connsiteY5-1116" fmla="*/ 5484315 h 7134208"/>
              <a:gd name="connsiteX6-1117" fmla="*/ 299082 w 9397013"/>
              <a:gd name="connsiteY6-1118" fmla="*/ 5067791 h 7134208"/>
              <a:gd name="connsiteX7-1119" fmla="*/ 4106456 w 9397013"/>
              <a:gd name="connsiteY7-1120" fmla="*/ 55057 h 7134208"/>
              <a:gd name="connsiteX8-1121" fmla="*/ 4585079 w 9397013"/>
              <a:gd name="connsiteY8-1122" fmla="*/ 89119 h 7134208"/>
              <a:gd name="connsiteX9-1123" fmla="*/ 488220 w 9397013"/>
              <a:gd name="connsiteY9-1124" fmla="*/ 5484315 h 7134208"/>
              <a:gd name="connsiteX10-1125" fmla="*/ 779421 w 9397013"/>
              <a:gd name="connsiteY10-1126" fmla="*/ 6125606 h 7134208"/>
              <a:gd name="connsiteX11-1127" fmla="*/ 618065 w 9397013"/>
              <a:gd name="connsiteY11-1128" fmla="*/ 5770263 h 7134208"/>
              <a:gd name="connsiteX12-1129" fmla="*/ 4897528 w 9397013"/>
              <a:gd name="connsiteY12-1130" fmla="*/ 111354 h 7134208"/>
              <a:gd name="connsiteX13-1131" fmla="*/ 5324893 w 9397013"/>
              <a:gd name="connsiteY13-1132" fmla="*/ 141768 h 7134208"/>
              <a:gd name="connsiteX14-1133" fmla="*/ 779421 w 9397013"/>
              <a:gd name="connsiteY14-1134" fmla="*/ 6125606 h 7134208"/>
              <a:gd name="connsiteX15-1135" fmla="*/ 1099910 w 9397013"/>
              <a:gd name="connsiteY15-1136" fmla="*/ 6831395 h 7134208"/>
              <a:gd name="connsiteX16-1137" fmla="*/ 919656 w 9397013"/>
              <a:gd name="connsiteY16-1138" fmla="*/ 6434435 h 7134208"/>
              <a:gd name="connsiteX17-1139" fmla="*/ 5668965 w 9397013"/>
              <a:gd name="connsiteY17-1140" fmla="*/ 166254 h 7134208"/>
              <a:gd name="connsiteX18-1141" fmla="*/ 6077099 w 9397013"/>
              <a:gd name="connsiteY18-1142" fmla="*/ 225638 h 7134208"/>
              <a:gd name="connsiteX19-1143" fmla="*/ 1099910 w 9397013"/>
              <a:gd name="connsiteY19-1144" fmla="*/ 6831395 h 7134208"/>
              <a:gd name="connsiteX20-1145" fmla="*/ 6958778 w 9397013"/>
              <a:gd name="connsiteY20-1146" fmla="*/ 7124971 h 7134208"/>
              <a:gd name="connsiteX21-1147" fmla="*/ 6560038 w 9397013"/>
              <a:gd name="connsiteY21-1148" fmla="*/ 7134207 h 7134208"/>
              <a:gd name="connsiteX22-1149" fmla="*/ 3849932 w 9397013"/>
              <a:gd name="connsiteY22-1150" fmla="*/ 3596670 h 7134208"/>
              <a:gd name="connsiteX23-1151" fmla="*/ 4086202 w 9397013"/>
              <a:gd name="connsiteY23-1152" fmla="*/ 3287229 h 7134208"/>
              <a:gd name="connsiteX24-1153" fmla="*/ 6958778 w 9397013"/>
              <a:gd name="connsiteY24-1154" fmla="*/ 7124971 h 7134208"/>
              <a:gd name="connsiteX25-1155" fmla="*/ 7777211 w 9397013"/>
              <a:gd name="connsiteY25-1156" fmla="*/ 7124972 h 7134208"/>
              <a:gd name="connsiteX26-1157" fmla="*/ 7324729 w 9397013"/>
              <a:gd name="connsiteY26-1158" fmla="*/ 7124972 h 7134208"/>
              <a:gd name="connsiteX27-1159" fmla="*/ 4245793 w 9397013"/>
              <a:gd name="connsiteY27-1160" fmla="*/ 3078214 h 7134208"/>
              <a:gd name="connsiteX28-1161" fmla="*/ 4490696 w 9397013"/>
              <a:gd name="connsiteY28-1162" fmla="*/ 2757469 h 7134208"/>
              <a:gd name="connsiteX29-1163" fmla="*/ 7777211 w 9397013"/>
              <a:gd name="connsiteY29-1164" fmla="*/ 7124972 h 7134208"/>
              <a:gd name="connsiteX30-1165" fmla="*/ 8567691 w 9397013"/>
              <a:gd name="connsiteY30-1166" fmla="*/ 7124971 h 7134208"/>
              <a:gd name="connsiteX31-1167" fmla="*/ 8159389 w 9397013"/>
              <a:gd name="connsiteY31-1168" fmla="*/ 7134208 h 7134208"/>
              <a:gd name="connsiteX32-1169" fmla="*/ 4650570 w 9397013"/>
              <a:gd name="connsiteY32-1170" fmla="*/ 2548084 h 7134208"/>
              <a:gd name="connsiteX33-1171" fmla="*/ 4869244 w 9397013"/>
              <a:gd name="connsiteY33-1172" fmla="*/ 2261689 h 7134208"/>
              <a:gd name="connsiteX34-1173" fmla="*/ 8567691 w 9397013"/>
              <a:gd name="connsiteY34-1174" fmla="*/ 7124971 h 7134208"/>
              <a:gd name="connsiteX35-1175" fmla="*/ 9397013 w 9397013"/>
              <a:gd name="connsiteY35-1176" fmla="*/ 7134207 h 7134208"/>
              <a:gd name="connsiteX36-1177" fmla="*/ 8921338 w 9397013"/>
              <a:gd name="connsiteY36-1178" fmla="*/ 7115735 h 7134208"/>
              <a:gd name="connsiteX37-1179" fmla="*/ 5045299 w 9397013"/>
              <a:gd name="connsiteY37-1180" fmla="*/ 2031113 h 7134208"/>
              <a:gd name="connsiteX38-1181" fmla="*/ 5273037 w 9397013"/>
              <a:gd name="connsiteY38-1182" fmla="*/ 1732846 h 7134208"/>
              <a:gd name="connsiteX39-1183" fmla="*/ 9397013 w 9397013"/>
              <a:gd name="connsiteY39-1184" fmla="*/ 7134207 h 7134208"/>
              <a:gd name="connsiteX0-1185" fmla="*/ 168369 w 9397013"/>
              <a:gd name="connsiteY0-1186" fmla="*/ 4779933 h 7134208"/>
              <a:gd name="connsiteX1-1187" fmla="*/ 0 w 9397013"/>
              <a:gd name="connsiteY1-1188" fmla="*/ 4409146 h 7134208"/>
              <a:gd name="connsiteX2-1189" fmla="*/ 3332806 w 9397013"/>
              <a:gd name="connsiteY2-1190" fmla="*/ 0 h 7134208"/>
              <a:gd name="connsiteX3-1191" fmla="*/ 3794560 w 9397013"/>
              <a:gd name="connsiteY3-1192" fmla="*/ 32861 h 7134208"/>
              <a:gd name="connsiteX4-1193" fmla="*/ 168369 w 9397013"/>
              <a:gd name="connsiteY4-1194" fmla="*/ 4779933 h 7134208"/>
              <a:gd name="connsiteX5-1195" fmla="*/ 488220 w 9397013"/>
              <a:gd name="connsiteY5-1196" fmla="*/ 5484315 h 7134208"/>
              <a:gd name="connsiteX6-1197" fmla="*/ 299082 w 9397013"/>
              <a:gd name="connsiteY6-1198" fmla="*/ 5067791 h 7134208"/>
              <a:gd name="connsiteX7-1199" fmla="*/ 4106456 w 9397013"/>
              <a:gd name="connsiteY7-1200" fmla="*/ 55057 h 7134208"/>
              <a:gd name="connsiteX8-1201" fmla="*/ 4585079 w 9397013"/>
              <a:gd name="connsiteY8-1202" fmla="*/ 89119 h 7134208"/>
              <a:gd name="connsiteX9-1203" fmla="*/ 488220 w 9397013"/>
              <a:gd name="connsiteY9-1204" fmla="*/ 5484315 h 7134208"/>
              <a:gd name="connsiteX10-1205" fmla="*/ 779421 w 9397013"/>
              <a:gd name="connsiteY10-1206" fmla="*/ 6125606 h 7134208"/>
              <a:gd name="connsiteX11-1207" fmla="*/ 618065 w 9397013"/>
              <a:gd name="connsiteY11-1208" fmla="*/ 5770263 h 7134208"/>
              <a:gd name="connsiteX12-1209" fmla="*/ 4897528 w 9397013"/>
              <a:gd name="connsiteY12-1210" fmla="*/ 111354 h 7134208"/>
              <a:gd name="connsiteX13-1211" fmla="*/ 5324893 w 9397013"/>
              <a:gd name="connsiteY13-1212" fmla="*/ 141768 h 7134208"/>
              <a:gd name="connsiteX14-1213" fmla="*/ 779421 w 9397013"/>
              <a:gd name="connsiteY14-1214" fmla="*/ 6125606 h 7134208"/>
              <a:gd name="connsiteX15-1215" fmla="*/ 1099910 w 9397013"/>
              <a:gd name="connsiteY15-1216" fmla="*/ 6831395 h 7134208"/>
              <a:gd name="connsiteX16-1217" fmla="*/ 919656 w 9397013"/>
              <a:gd name="connsiteY16-1218" fmla="*/ 6434435 h 7134208"/>
              <a:gd name="connsiteX17-1219" fmla="*/ 5613547 w 9397013"/>
              <a:gd name="connsiteY17-1220" fmla="*/ 240145 h 7134208"/>
              <a:gd name="connsiteX18-1221" fmla="*/ 6077099 w 9397013"/>
              <a:gd name="connsiteY18-1222" fmla="*/ 225638 h 7134208"/>
              <a:gd name="connsiteX19-1223" fmla="*/ 1099910 w 9397013"/>
              <a:gd name="connsiteY19-1224" fmla="*/ 6831395 h 7134208"/>
              <a:gd name="connsiteX20-1225" fmla="*/ 6958778 w 9397013"/>
              <a:gd name="connsiteY20-1226" fmla="*/ 7124971 h 7134208"/>
              <a:gd name="connsiteX21-1227" fmla="*/ 6560038 w 9397013"/>
              <a:gd name="connsiteY21-1228" fmla="*/ 7134207 h 7134208"/>
              <a:gd name="connsiteX22-1229" fmla="*/ 3849932 w 9397013"/>
              <a:gd name="connsiteY22-1230" fmla="*/ 3596670 h 7134208"/>
              <a:gd name="connsiteX23-1231" fmla="*/ 4086202 w 9397013"/>
              <a:gd name="connsiteY23-1232" fmla="*/ 3287229 h 7134208"/>
              <a:gd name="connsiteX24-1233" fmla="*/ 6958778 w 9397013"/>
              <a:gd name="connsiteY24-1234" fmla="*/ 7124971 h 7134208"/>
              <a:gd name="connsiteX25-1235" fmla="*/ 7777211 w 9397013"/>
              <a:gd name="connsiteY25-1236" fmla="*/ 7124972 h 7134208"/>
              <a:gd name="connsiteX26-1237" fmla="*/ 7324729 w 9397013"/>
              <a:gd name="connsiteY26-1238" fmla="*/ 7124972 h 7134208"/>
              <a:gd name="connsiteX27-1239" fmla="*/ 4245793 w 9397013"/>
              <a:gd name="connsiteY27-1240" fmla="*/ 3078214 h 7134208"/>
              <a:gd name="connsiteX28-1241" fmla="*/ 4490696 w 9397013"/>
              <a:gd name="connsiteY28-1242" fmla="*/ 2757469 h 7134208"/>
              <a:gd name="connsiteX29-1243" fmla="*/ 7777211 w 9397013"/>
              <a:gd name="connsiteY29-1244" fmla="*/ 7124972 h 7134208"/>
              <a:gd name="connsiteX30-1245" fmla="*/ 8567691 w 9397013"/>
              <a:gd name="connsiteY30-1246" fmla="*/ 7124971 h 7134208"/>
              <a:gd name="connsiteX31-1247" fmla="*/ 8159389 w 9397013"/>
              <a:gd name="connsiteY31-1248" fmla="*/ 7134208 h 7134208"/>
              <a:gd name="connsiteX32-1249" fmla="*/ 4650570 w 9397013"/>
              <a:gd name="connsiteY32-1250" fmla="*/ 2548084 h 7134208"/>
              <a:gd name="connsiteX33-1251" fmla="*/ 4869244 w 9397013"/>
              <a:gd name="connsiteY33-1252" fmla="*/ 2261689 h 7134208"/>
              <a:gd name="connsiteX34-1253" fmla="*/ 8567691 w 9397013"/>
              <a:gd name="connsiteY34-1254" fmla="*/ 7124971 h 7134208"/>
              <a:gd name="connsiteX35-1255" fmla="*/ 9397013 w 9397013"/>
              <a:gd name="connsiteY35-1256" fmla="*/ 7134207 h 7134208"/>
              <a:gd name="connsiteX36-1257" fmla="*/ 8921338 w 9397013"/>
              <a:gd name="connsiteY36-1258" fmla="*/ 7115735 h 7134208"/>
              <a:gd name="connsiteX37-1259" fmla="*/ 5045299 w 9397013"/>
              <a:gd name="connsiteY37-1260" fmla="*/ 2031113 h 7134208"/>
              <a:gd name="connsiteX38-1261" fmla="*/ 5273037 w 9397013"/>
              <a:gd name="connsiteY38-1262" fmla="*/ 1732846 h 7134208"/>
              <a:gd name="connsiteX39-1263" fmla="*/ 9397013 w 9397013"/>
              <a:gd name="connsiteY39-1264" fmla="*/ 7134207 h 7134208"/>
              <a:gd name="connsiteX0-1265" fmla="*/ 168369 w 9397013"/>
              <a:gd name="connsiteY0-1266" fmla="*/ 4779933 h 7134208"/>
              <a:gd name="connsiteX1-1267" fmla="*/ 0 w 9397013"/>
              <a:gd name="connsiteY1-1268" fmla="*/ 4409146 h 7134208"/>
              <a:gd name="connsiteX2-1269" fmla="*/ 3332806 w 9397013"/>
              <a:gd name="connsiteY2-1270" fmla="*/ 0 h 7134208"/>
              <a:gd name="connsiteX3-1271" fmla="*/ 3794560 w 9397013"/>
              <a:gd name="connsiteY3-1272" fmla="*/ 32861 h 7134208"/>
              <a:gd name="connsiteX4-1273" fmla="*/ 168369 w 9397013"/>
              <a:gd name="connsiteY4-1274" fmla="*/ 4779933 h 7134208"/>
              <a:gd name="connsiteX5-1275" fmla="*/ 488220 w 9397013"/>
              <a:gd name="connsiteY5-1276" fmla="*/ 5484315 h 7134208"/>
              <a:gd name="connsiteX6-1277" fmla="*/ 299082 w 9397013"/>
              <a:gd name="connsiteY6-1278" fmla="*/ 5067791 h 7134208"/>
              <a:gd name="connsiteX7-1279" fmla="*/ 4106456 w 9397013"/>
              <a:gd name="connsiteY7-1280" fmla="*/ 55057 h 7134208"/>
              <a:gd name="connsiteX8-1281" fmla="*/ 4585079 w 9397013"/>
              <a:gd name="connsiteY8-1282" fmla="*/ 89119 h 7134208"/>
              <a:gd name="connsiteX9-1283" fmla="*/ 488220 w 9397013"/>
              <a:gd name="connsiteY9-1284" fmla="*/ 5484315 h 7134208"/>
              <a:gd name="connsiteX10-1285" fmla="*/ 779421 w 9397013"/>
              <a:gd name="connsiteY10-1286" fmla="*/ 6125606 h 7134208"/>
              <a:gd name="connsiteX11-1287" fmla="*/ 618065 w 9397013"/>
              <a:gd name="connsiteY11-1288" fmla="*/ 5770263 h 7134208"/>
              <a:gd name="connsiteX12-1289" fmla="*/ 4897528 w 9397013"/>
              <a:gd name="connsiteY12-1290" fmla="*/ 111354 h 7134208"/>
              <a:gd name="connsiteX13-1291" fmla="*/ 5324893 w 9397013"/>
              <a:gd name="connsiteY13-1292" fmla="*/ 141768 h 7134208"/>
              <a:gd name="connsiteX14-1293" fmla="*/ 779421 w 9397013"/>
              <a:gd name="connsiteY14-1294" fmla="*/ 6125606 h 7134208"/>
              <a:gd name="connsiteX15-1295" fmla="*/ 1099910 w 9397013"/>
              <a:gd name="connsiteY15-1296" fmla="*/ 6831395 h 7134208"/>
              <a:gd name="connsiteX16-1297" fmla="*/ 919656 w 9397013"/>
              <a:gd name="connsiteY16-1298" fmla="*/ 6434435 h 7134208"/>
              <a:gd name="connsiteX17-1299" fmla="*/ 5641256 w 9397013"/>
              <a:gd name="connsiteY17-1300" fmla="*/ 212436 h 7134208"/>
              <a:gd name="connsiteX18-1301" fmla="*/ 6077099 w 9397013"/>
              <a:gd name="connsiteY18-1302" fmla="*/ 225638 h 7134208"/>
              <a:gd name="connsiteX19-1303" fmla="*/ 1099910 w 9397013"/>
              <a:gd name="connsiteY19-1304" fmla="*/ 6831395 h 7134208"/>
              <a:gd name="connsiteX20-1305" fmla="*/ 6958778 w 9397013"/>
              <a:gd name="connsiteY20-1306" fmla="*/ 7124971 h 7134208"/>
              <a:gd name="connsiteX21-1307" fmla="*/ 6560038 w 9397013"/>
              <a:gd name="connsiteY21-1308" fmla="*/ 7134207 h 7134208"/>
              <a:gd name="connsiteX22-1309" fmla="*/ 3849932 w 9397013"/>
              <a:gd name="connsiteY22-1310" fmla="*/ 3596670 h 7134208"/>
              <a:gd name="connsiteX23-1311" fmla="*/ 4086202 w 9397013"/>
              <a:gd name="connsiteY23-1312" fmla="*/ 3287229 h 7134208"/>
              <a:gd name="connsiteX24-1313" fmla="*/ 6958778 w 9397013"/>
              <a:gd name="connsiteY24-1314" fmla="*/ 7124971 h 7134208"/>
              <a:gd name="connsiteX25-1315" fmla="*/ 7777211 w 9397013"/>
              <a:gd name="connsiteY25-1316" fmla="*/ 7124972 h 7134208"/>
              <a:gd name="connsiteX26-1317" fmla="*/ 7324729 w 9397013"/>
              <a:gd name="connsiteY26-1318" fmla="*/ 7124972 h 7134208"/>
              <a:gd name="connsiteX27-1319" fmla="*/ 4245793 w 9397013"/>
              <a:gd name="connsiteY27-1320" fmla="*/ 3078214 h 7134208"/>
              <a:gd name="connsiteX28-1321" fmla="*/ 4490696 w 9397013"/>
              <a:gd name="connsiteY28-1322" fmla="*/ 2757469 h 7134208"/>
              <a:gd name="connsiteX29-1323" fmla="*/ 7777211 w 9397013"/>
              <a:gd name="connsiteY29-1324" fmla="*/ 7124972 h 7134208"/>
              <a:gd name="connsiteX30-1325" fmla="*/ 8567691 w 9397013"/>
              <a:gd name="connsiteY30-1326" fmla="*/ 7124971 h 7134208"/>
              <a:gd name="connsiteX31-1327" fmla="*/ 8159389 w 9397013"/>
              <a:gd name="connsiteY31-1328" fmla="*/ 7134208 h 7134208"/>
              <a:gd name="connsiteX32-1329" fmla="*/ 4650570 w 9397013"/>
              <a:gd name="connsiteY32-1330" fmla="*/ 2548084 h 7134208"/>
              <a:gd name="connsiteX33-1331" fmla="*/ 4869244 w 9397013"/>
              <a:gd name="connsiteY33-1332" fmla="*/ 2261689 h 7134208"/>
              <a:gd name="connsiteX34-1333" fmla="*/ 8567691 w 9397013"/>
              <a:gd name="connsiteY34-1334" fmla="*/ 7124971 h 7134208"/>
              <a:gd name="connsiteX35-1335" fmla="*/ 9397013 w 9397013"/>
              <a:gd name="connsiteY35-1336" fmla="*/ 7134207 h 7134208"/>
              <a:gd name="connsiteX36-1337" fmla="*/ 8921338 w 9397013"/>
              <a:gd name="connsiteY36-1338" fmla="*/ 7115735 h 7134208"/>
              <a:gd name="connsiteX37-1339" fmla="*/ 5045299 w 9397013"/>
              <a:gd name="connsiteY37-1340" fmla="*/ 2031113 h 7134208"/>
              <a:gd name="connsiteX38-1341" fmla="*/ 5273037 w 9397013"/>
              <a:gd name="connsiteY38-1342" fmla="*/ 1732846 h 7134208"/>
              <a:gd name="connsiteX39-1343" fmla="*/ 9397013 w 9397013"/>
              <a:gd name="connsiteY39-1344" fmla="*/ 7134207 h 7134208"/>
              <a:gd name="connsiteX0-1345" fmla="*/ 168369 w 9397013"/>
              <a:gd name="connsiteY0-1346" fmla="*/ 4779933 h 7134208"/>
              <a:gd name="connsiteX1-1347" fmla="*/ 0 w 9397013"/>
              <a:gd name="connsiteY1-1348" fmla="*/ 4409146 h 7134208"/>
              <a:gd name="connsiteX2-1349" fmla="*/ 3332806 w 9397013"/>
              <a:gd name="connsiteY2-1350" fmla="*/ 0 h 7134208"/>
              <a:gd name="connsiteX3-1351" fmla="*/ 3794560 w 9397013"/>
              <a:gd name="connsiteY3-1352" fmla="*/ 32861 h 7134208"/>
              <a:gd name="connsiteX4-1353" fmla="*/ 168369 w 9397013"/>
              <a:gd name="connsiteY4-1354" fmla="*/ 4779933 h 7134208"/>
              <a:gd name="connsiteX5-1355" fmla="*/ 488220 w 9397013"/>
              <a:gd name="connsiteY5-1356" fmla="*/ 5484315 h 7134208"/>
              <a:gd name="connsiteX6-1357" fmla="*/ 299082 w 9397013"/>
              <a:gd name="connsiteY6-1358" fmla="*/ 5067791 h 7134208"/>
              <a:gd name="connsiteX7-1359" fmla="*/ 4106456 w 9397013"/>
              <a:gd name="connsiteY7-1360" fmla="*/ 55057 h 7134208"/>
              <a:gd name="connsiteX8-1361" fmla="*/ 4585079 w 9397013"/>
              <a:gd name="connsiteY8-1362" fmla="*/ 89119 h 7134208"/>
              <a:gd name="connsiteX9-1363" fmla="*/ 488220 w 9397013"/>
              <a:gd name="connsiteY9-1364" fmla="*/ 5484315 h 7134208"/>
              <a:gd name="connsiteX10-1365" fmla="*/ 779421 w 9397013"/>
              <a:gd name="connsiteY10-1366" fmla="*/ 6125606 h 7134208"/>
              <a:gd name="connsiteX11-1367" fmla="*/ 618065 w 9397013"/>
              <a:gd name="connsiteY11-1368" fmla="*/ 5770263 h 7134208"/>
              <a:gd name="connsiteX12-1369" fmla="*/ 4897528 w 9397013"/>
              <a:gd name="connsiteY12-1370" fmla="*/ 111354 h 7134208"/>
              <a:gd name="connsiteX13-1371" fmla="*/ 5260238 w 9397013"/>
              <a:gd name="connsiteY13-1372" fmla="*/ 234131 h 7134208"/>
              <a:gd name="connsiteX14-1373" fmla="*/ 779421 w 9397013"/>
              <a:gd name="connsiteY14-1374" fmla="*/ 6125606 h 7134208"/>
              <a:gd name="connsiteX15-1375" fmla="*/ 1099910 w 9397013"/>
              <a:gd name="connsiteY15-1376" fmla="*/ 6831395 h 7134208"/>
              <a:gd name="connsiteX16-1377" fmla="*/ 919656 w 9397013"/>
              <a:gd name="connsiteY16-1378" fmla="*/ 6434435 h 7134208"/>
              <a:gd name="connsiteX17-1379" fmla="*/ 5641256 w 9397013"/>
              <a:gd name="connsiteY17-1380" fmla="*/ 212436 h 7134208"/>
              <a:gd name="connsiteX18-1381" fmla="*/ 6077099 w 9397013"/>
              <a:gd name="connsiteY18-1382" fmla="*/ 225638 h 7134208"/>
              <a:gd name="connsiteX19-1383" fmla="*/ 1099910 w 9397013"/>
              <a:gd name="connsiteY19-1384" fmla="*/ 6831395 h 7134208"/>
              <a:gd name="connsiteX20-1385" fmla="*/ 6958778 w 9397013"/>
              <a:gd name="connsiteY20-1386" fmla="*/ 7124971 h 7134208"/>
              <a:gd name="connsiteX21-1387" fmla="*/ 6560038 w 9397013"/>
              <a:gd name="connsiteY21-1388" fmla="*/ 7134207 h 7134208"/>
              <a:gd name="connsiteX22-1389" fmla="*/ 3849932 w 9397013"/>
              <a:gd name="connsiteY22-1390" fmla="*/ 3596670 h 7134208"/>
              <a:gd name="connsiteX23-1391" fmla="*/ 4086202 w 9397013"/>
              <a:gd name="connsiteY23-1392" fmla="*/ 3287229 h 7134208"/>
              <a:gd name="connsiteX24-1393" fmla="*/ 6958778 w 9397013"/>
              <a:gd name="connsiteY24-1394" fmla="*/ 7124971 h 7134208"/>
              <a:gd name="connsiteX25-1395" fmla="*/ 7777211 w 9397013"/>
              <a:gd name="connsiteY25-1396" fmla="*/ 7124972 h 7134208"/>
              <a:gd name="connsiteX26-1397" fmla="*/ 7324729 w 9397013"/>
              <a:gd name="connsiteY26-1398" fmla="*/ 7124972 h 7134208"/>
              <a:gd name="connsiteX27-1399" fmla="*/ 4245793 w 9397013"/>
              <a:gd name="connsiteY27-1400" fmla="*/ 3078214 h 7134208"/>
              <a:gd name="connsiteX28-1401" fmla="*/ 4490696 w 9397013"/>
              <a:gd name="connsiteY28-1402" fmla="*/ 2757469 h 7134208"/>
              <a:gd name="connsiteX29-1403" fmla="*/ 7777211 w 9397013"/>
              <a:gd name="connsiteY29-1404" fmla="*/ 7124972 h 7134208"/>
              <a:gd name="connsiteX30-1405" fmla="*/ 8567691 w 9397013"/>
              <a:gd name="connsiteY30-1406" fmla="*/ 7124971 h 7134208"/>
              <a:gd name="connsiteX31-1407" fmla="*/ 8159389 w 9397013"/>
              <a:gd name="connsiteY31-1408" fmla="*/ 7134208 h 7134208"/>
              <a:gd name="connsiteX32-1409" fmla="*/ 4650570 w 9397013"/>
              <a:gd name="connsiteY32-1410" fmla="*/ 2548084 h 7134208"/>
              <a:gd name="connsiteX33-1411" fmla="*/ 4869244 w 9397013"/>
              <a:gd name="connsiteY33-1412" fmla="*/ 2261689 h 7134208"/>
              <a:gd name="connsiteX34-1413" fmla="*/ 8567691 w 9397013"/>
              <a:gd name="connsiteY34-1414" fmla="*/ 7124971 h 7134208"/>
              <a:gd name="connsiteX35-1415" fmla="*/ 9397013 w 9397013"/>
              <a:gd name="connsiteY35-1416" fmla="*/ 7134207 h 7134208"/>
              <a:gd name="connsiteX36-1417" fmla="*/ 8921338 w 9397013"/>
              <a:gd name="connsiteY36-1418" fmla="*/ 7115735 h 7134208"/>
              <a:gd name="connsiteX37-1419" fmla="*/ 5045299 w 9397013"/>
              <a:gd name="connsiteY37-1420" fmla="*/ 2031113 h 7134208"/>
              <a:gd name="connsiteX38-1421" fmla="*/ 5273037 w 9397013"/>
              <a:gd name="connsiteY38-1422" fmla="*/ 1732846 h 7134208"/>
              <a:gd name="connsiteX39-1423" fmla="*/ 9397013 w 9397013"/>
              <a:gd name="connsiteY39-1424" fmla="*/ 7134207 h 7134208"/>
              <a:gd name="connsiteX0-1425" fmla="*/ 168369 w 9397013"/>
              <a:gd name="connsiteY0-1426" fmla="*/ 4779933 h 7134208"/>
              <a:gd name="connsiteX1-1427" fmla="*/ 0 w 9397013"/>
              <a:gd name="connsiteY1-1428" fmla="*/ 4409146 h 7134208"/>
              <a:gd name="connsiteX2-1429" fmla="*/ 3332806 w 9397013"/>
              <a:gd name="connsiteY2-1430" fmla="*/ 0 h 7134208"/>
              <a:gd name="connsiteX3-1431" fmla="*/ 3794560 w 9397013"/>
              <a:gd name="connsiteY3-1432" fmla="*/ 32861 h 7134208"/>
              <a:gd name="connsiteX4-1433" fmla="*/ 168369 w 9397013"/>
              <a:gd name="connsiteY4-1434" fmla="*/ 4779933 h 7134208"/>
              <a:gd name="connsiteX5-1435" fmla="*/ 488220 w 9397013"/>
              <a:gd name="connsiteY5-1436" fmla="*/ 5484315 h 7134208"/>
              <a:gd name="connsiteX6-1437" fmla="*/ 299082 w 9397013"/>
              <a:gd name="connsiteY6-1438" fmla="*/ 5067791 h 7134208"/>
              <a:gd name="connsiteX7-1439" fmla="*/ 4106456 w 9397013"/>
              <a:gd name="connsiteY7-1440" fmla="*/ 55057 h 7134208"/>
              <a:gd name="connsiteX8-1441" fmla="*/ 4585079 w 9397013"/>
              <a:gd name="connsiteY8-1442" fmla="*/ 89119 h 7134208"/>
              <a:gd name="connsiteX9-1443" fmla="*/ 488220 w 9397013"/>
              <a:gd name="connsiteY9-1444" fmla="*/ 5484315 h 7134208"/>
              <a:gd name="connsiteX10-1445" fmla="*/ 779421 w 9397013"/>
              <a:gd name="connsiteY10-1446" fmla="*/ 6125606 h 7134208"/>
              <a:gd name="connsiteX11-1447" fmla="*/ 618065 w 9397013"/>
              <a:gd name="connsiteY11-1448" fmla="*/ 5770263 h 7134208"/>
              <a:gd name="connsiteX12-1449" fmla="*/ 4805164 w 9397013"/>
              <a:gd name="connsiteY12-1450" fmla="*/ 212954 h 7134208"/>
              <a:gd name="connsiteX13-1451" fmla="*/ 5260238 w 9397013"/>
              <a:gd name="connsiteY13-1452" fmla="*/ 234131 h 7134208"/>
              <a:gd name="connsiteX14-1453" fmla="*/ 779421 w 9397013"/>
              <a:gd name="connsiteY14-1454" fmla="*/ 6125606 h 7134208"/>
              <a:gd name="connsiteX15-1455" fmla="*/ 1099910 w 9397013"/>
              <a:gd name="connsiteY15-1456" fmla="*/ 6831395 h 7134208"/>
              <a:gd name="connsiteX16-1457" fmla="*/ 919656 w 9397013"/>
              <a:gd name="connsiteY16-1458" fmla="*/ 6434435 h 7134208"/>
              <a:gd name="connsiteX17-1459" fmla="*/ 5641256 w 9397013"/>
              <a:gd name="connsiteY17-1460" fmla="*/ 212436 h 7134208"/>
              <a:gd name="connsiteX18-1461" fmla="*/ 6077099 w 9397013"/>
              <a:gd name="connsiteY18-1462" fmla="*/ 225638 h 7134208"/>
              <a:gd name="connsiteX19-1463" fmla="*/ 1099910 w 9397013"/>
              <a:gd name="connsiteY19-1464" fmla="*/ 6831395 h 7134208"/>
              <a:gd name="connsiteX20-1465" fmla="*/ 6958778 w 9397013"/>
              <a:gd name="connsiteY20-1466" fmla="*/ 7124971 h 7134208"/>
              <a:gd name="connsiteX21-1467" fmla="*/ 6560038 w 9397013"/>
              <a:gd name="connsiteY21-1468" fmla="*/ 7134207 h 7134208"/>
              <a:gd name="connsiteX22-1469" fmla="*/ 3849932 w 9397013"/>
              <a:gd name="connsiteY22-1470" fmla="*/ 3596670 h 7134208"/>
              <a:gd name="connsiteX23-1471" fmla="*/ 4086202 w 9397013"/>
              <a:gd name="connsiteY23-1472" fmla="*/ 3287229 h 7134208"/>
              <a:gd name="connsiteX24-1473" fmla="*/ 6958778 w 9397013"/>
              <a:gd name="connsiteY24-1474" fmla="*/ 7124971 h 7134208"/>
              <a:gd name="connsiteX25-1475" fmla="*/ 7777211 w 9397013"/>
              <a:gd name="connsiteY25-1476" fmla="*/ 7124972 h 7134208"/>
              <a:gd name="connsiteX26-1477" fmla="*/ 7324729 w 9397013"/>
              <a:gd name="connsiteY26-1478" fmla="*/ 7124972 h 7134208"/>
              <a:gd name="connsiteX27-1479" fmla="*/ 4245793 w 9397013"/>
              <a:gd name="connsiteY27-1480" fmla="*/ 3078214 h 7134208"/>
              <a:gd name="connsiteX28-1481" fmla="*/ 4490696 w 9397013"/>
              <a:gd name="connsiteY28-1482" fmla="*/ 2757469 h 7134208"/>
              <a:gd name="connsiteX29-1483" fmla="*/ 7777211 w 9397013"/>
              <a:gd name="connsiteY29-1484" fmla="*/ 7124972 h 7134208"/>
              <a:gd name="connsiteX30-1485" fmla="*/ 8567691 w 9397013"/>
              <a:gd name="connsiteY30-1486" fmla="*/ 7124971 h 7134208"/>
              <a:gd name="connsiteX31-1487" fmla="*/ 8159389 w 9397013"/>
              <a:gd name="connsiteY31-1488" fmla="*/ 7134208 h 7134208"/>
              <a:gd name="connsiteX32-1489" fmla="*/ 4650570 w 9397013"/>
              <a:gd name="connsiteY32-1490" fmla="*/ 2548084 h 7134208"/>
              <a:gd name="connsiteX33-1491" fmla="*/ 4869244 w 9397013"/>
              <a:gd name="connsiteY33-1492" fmla="*/ 2261689 h 7134208"/>
              <a:gd name="connsiteX34-1493" fmla="*/ 8567691 w 9397013"/>
              <a:gd name="connsiteY34-1494" fmla="*/ 7124971 h 7134208"/>
              <a:gd name="connsiteX35-1495" fmla="*/ 9397013 w 9397013"/>
              <a:gd name="connsiteY35-1496" fmla="*/ 7134207 h 7134208"/>
              <a:gd name="connsiteX36-1497" fmla="*/ 8921338 w 9397013"/>
              <a:gd name="connsiteY36-1498" fmla="*/ 7115735 h 7134208"/>
              <a:gd name="connsiteX37-1499" fmla="*/ 5045299 w 9397013"/>
              <a:gd name="connsiteY37-1500" fmla="*/ 2031113 h 7134208"/>
              <a:gd name="connsiteX38-1501" fmla="*/ 5273037 w 9397013"/>
              <a:gd name="connsiteY38-1502" fmla="*/ 1732846 h 7134208"/>
              <a:gd name="connsiteX39-1503" fmla="*/ 9397013 w 9397013"/>
              <a:gd name="connsiteY39-1504" fmla="*/ 7134207 h 7134208"/>
              <a:gd name="connsiteX0-1505" fmla="*/ 168369 w 9397013"/>
              <a:gd name="connsiteY0-1506" fmla="*/ 4779933 h 7134208"/>
              <a:gd name="connsiteX1-1507" fmla="*/ 0 w 9397013"/>
              <a:gd name="connsiteY1-1508" fmla="*/ 4409146 h 7134208"/>
              <a:gd name="connsiteX2-1509" fmla="*/ 3332806 w 9397013"/>
              <a:gd name="connsiteY2-1510" fmla="*/ 0 h 7134208"/>
              <a:gd name="connsiteX3-1511" fmla="*/ 3794560 w 9397013"/>
              <a:gd name="connsiteY3-1512" fmla="*/ 32861 h 7134208"/>
              <a:gd name="connsiteX4-1513" fmla="*/ 168369 w 9397013"/>
              <a:gd name="connsiteY4-1514" fmla="*/ 4779933 h 7134208"/>
              <a:gd name="connsiteX5-1515" fmla="*/ 488220 w 9397013"/>
              <a:gd name="connsiteY5-1516" fmla="*/ 5484315 h 7134208"/>
              <a:gd name="connsiteX6-1517" fmla="*/ 299082 w 9397013"/>
              <a:gd name="connsiteY6-1518" fmla="*/ 5067791 h 7134208"/>
              <a:gd name="connsiteX7-1519" fmla="*/ 4106456 w 9397013"/>
              <a:gd name="connsiteY7-1520" fmla="*/ 55057 h 7134208"/>
              <a:gd name="connsiteX8-1521" fmla="*/ 4465006 w 9397013"/>
              <a:gd name="connsiteY8-1522" fmla="*/ 209192 h 7134208"/>
              <a:gd name="connsiteX9-1523" fmla="*/ 488220 w 9397013"/>
              <a:gd name="connsiteY9-1524" fmla="*/ 5484315 h 7134208"/>
              <a:gd name="connsiteX10-1525" fmla="*/ 779421 w 9397013"/>
              <a:gd name="connsiteY10-1526" fmla="*/ 6125606 h 7134208"/>
              <a:gd name="connsiteX11-1527" fmla="*/ 618065 w 9397013"/>
              <a:gd name="connsiteY11-1528" fmla="*/ 5770263 h 7134208"/>
              <a:gd name="connsiteX12-1529" fmla="*/ 4805164 w 9397013"/>
              <a:gd name="connsiteY12-1530" fmla="*/ 212954 h 7134208"/>
              <a:gd name="connsiteX13-1531" fmla="*/ 5260238 w 9397013"/>
              <a:gd name="connsiteY13-1532" fmla="*/ 234131 h 7134208"/>
              <a:gd name="connsiteX14-1533" fmla="*/ 779421 w 9397013"/>
              <a:gd name="connsiteY14-1534" fmla="*/ 6125606 h 7134208"/>
              <a:gd name="connsiteX15-1535" fmla="*/ 1099910 w 9397013"/>
              <a:gd name="connsiteY15-1536" fmla="*/ 6831395 h 7134208"/>
              <a:gd name="connsiteX16-1537" fmla="*/ 919656 w 9397013"/>
              <a:gd name="connsiteY16-1538" fmla="*/ 6434435 h 7134208"/>
              <a:gd name="connsiteX17-1539" fmla="*/ 5641256 w 9397013"/>
              <a:gd name="connsiteY17-1540" fmla="*/ 212436 h 7134208"/>
              <a:gd name="connsiteX18-1541" fmla="*/ 6077099 w 9397013"/>
              <a:gd name="connsiteY18-1542" fmla="*/ 225638 h 7134208"/>
              <a:gd name="connsiteX19-1543" fmla="*/ 1099910 w 9397013"/>
              <a:gd name="connsiteY19-1544" fmla="*/ 6831395 h 7134208"/>
              <a:gd name="connsiteX20-1545" fmla="*/ 6958778 w 9397013"/>
              <a:gd name="connsiteY20-1546" fmla="*/ 7124971 h 7134208"/>
              <a:gd name="connsiteX21-1547" fmla="*/ 6560038 w 9397013"/>
              <a:gd name="connsiteY21-1548" fmla="*/ 7134207 h 7134208"/>
              <a:gd name="connsiteX22-1549" fmla="*/ 3849932 w 9397013"/>
              <a:gd name="connsiteY22-1550" fmla="*/ 3596670 h 7134208"/>
              <a:gd name="connsiteX23-1551" fmla="*/ 4086202 w 9397013"/>
              <a:gd name="connsiteY23-1552" fmla="*/ 3287229 h 7134208"/>
              <a:gd name="connsiteX24-1553" fmla="*/ 6958778 w 9397013"/>
              <a:gd name="connsiteY24-1554" fmla="*/ 7124971 h 7134208"/>
              <a:gd name="connsiteX25-1555" fmla="*/ 7777211 w 9397013"/>
              <a:gd name="connsiteY25-1556" fmla="*/ 7124972 h 7134208"/>
              <a:gd name="connsiteX26-1557" fmla="*/ 7324729 w 9397013"/>
              <a:gd name="connsiteY26-1558" fmla="*/ 7124972 h 7134208"/>
              <a:gd name="connsiteX27-1559" fmla="*/ 4245793 w 9397013"/>
              <a:gd name="connsiteY27-1560" fmla="*/ 3078214 h 7134208"/>
              <a:gd name="connsiteX28-1561" fmla="*/ 4490696 w 9397013"/>
              <a:gd name="connsiteY28-1562" fmla="*/ 2757469 h 7134208"/>
              <a:gd name="connsiteX29-1563" fmla="*/ 7777211 w 9397013"/>
              <a:gd name="connsiteY29-1564" fmla="*/ 7124972 h 7134208"/>
              <a:gd name="connsiteX30-1565" fmla="*/ 8567691 w 9397013"/>
              <a:gd name="connsiteY30-1566" fmla="*/ 7124971 h 7134208"/>
              <a:gd name="connsiteX31-1567" fmla="*/ 8159389 w 9397013"/>
              <a:gd name="connsiteY31-1568" fmla="*/ 7134208 h 7134208"/>
              <a:gd name="connsiteX32-1569" fmla="*/ 4650570 w 9397013"/>
              <a:gd name="connsiteY32-1570" fmla="*/ 2548084 h 7134208"/>
              <a:gd name="connsiteX33-1571" fmla="*/ 4869244 w 9397013"/>
              <a:gd name="connsiteY33-1572" fmla="*/ 2261689 h 7134208"/>
              <a:gd name="connsiteX34-1573" fmla="*/ 8567691 w 9397013"/>
              <a:gd name="connsiteY34-1574" fmla="*/ 7124971 h 7134208"/>
              <a:gd name="connsiteX35-1575" fmla="*/ 9397013 w 9397013"/>
              <a:gd name="connsiteY35-1576" fmla="*/ 7134207 h 7134208"/>
              <a:gd name="connsiteX36-1577" fmla="*/ 8921338 w 9397013"/>
              <a:gd name="connsiteY36-1578" fmla="*/ 7115735 h 7134208"/>
              <a:gd name="connsiteX37-1579" fmla="*/ 5045299 w 9397013"/>
              <a:gd name="connsiteY37-1580" fmla="*/ 2031113 h 7134208"/>
              <a:gd name="connsiteX38-1581" fmla="*/ 5273037 w 9397013"/>
              <a:gd name="connsiteY38-1582" fmla="*/ 1732846 h 7134208"/>
              <a:gd name="connsiteX39-1583" fmla="*/ 9397013 w 9397013"/>
              <a:gd name="connsiteY39-1584" fmla="*/ 7134207 h 7134208"/>
              <a:gd name="connsiteX0-1585" fmla="*/ 168369 w 9397013"/>
              <a:gd name="connsiteY0-1586" fmla="*/ 4779933 h 7134208"/>
              <a:gd name="connsiteX1-1587" fmla="*/ 0 w 9397013"/>
              <a:gd name="connsiteY1-1588" fmla="*/ 4409146 h 7134208"/>
              <a:gd name="connsiteX2-1589" fmla="*/ 3332806 w 9397013"/>
              <a:gd name="connsiteY2-1590" fmla="*/ 0 h 7134208"/>
              <a:gd name="connsiteX3-1591" fmla="*/ 3794560 w 9397013"/>
              <a:gd name="connsiteY3-1592" fmla="*/ 32861 h 7134208"/>
              <a:gd name="connsiteX4-1593" fmla="*/ 168369 w 9397013"/>
              <a:gd name="connsiteY4-1594" fmla="*/ 4779933 h 7134208"/>
              <a:gd name="connsiteX5-1595" fmla="*/ 488220 w 9397013"/>
              <a:gd name="connsiteY5-1596" fmla="*/ 5484315 h 7134208"/>
              <a:gd name="connsiteX6-1597" fmla="*/ 299082 w 9397013"/>
              <a:gd name="connsiteY6-1598" fmla="*/ 5067791 h 7134208"/>
              <a:gd name="connsiteX7-1599" fmla="*/ 3977147 w 9397013"/>
              <a:gd name="connsiteY7-1600" fmla="*/ 212075 h 7134208"/>
              <a:gd name="connsiteX8-1601" fmla="*/ 4465006 w 9397013"/>
              <a:gd name="connsiteY8-1602" fmla="*/ 209192 h 7134208"/>
              <a:gd name="connsiteX9-1603" fmla="*/ 488220 w 9397013"/>
              <a:gd name="connsiteY9-1604" fmla="*/ 5484315 h 7134208"/>
              <a:gd name="connsiteX10-1605" fmla="*/ 779421 w 9397013"/>
              <a:gd name="connsiteY10-1606" fmla="*/ 6125606 h 7134208"/>
              <a:gd name="connsiteX11-1607" fmla="*/ 618065 w 9397013"/>
              <a:gd name="connsiteY11-1608" fmla="*/ 5770263 h 7134208"/>
              <a:gd name="connsiteX12-1609" fmla="*/ 4805164 w 9397013"/>
              <a:gd name="connsiteY12-1610" fmla="*/ 212954 h 7134208"/>
              <a:gd name="connsiteX13-1611" fmla="*/ 5260238 w 9397013"/>
              <a:gd name="connsiteY13-1612" fmla="*/ 234131 h 7134208"/>
              <a:gd name="connsiteX14-1613" fmla="*/ 779421 w 9397013"/>
              <a:gd name="connsiteY14-1614" fmla="*/ 6125606 h 7134208"/>
              <a:gd name="connsiteX15-1615" fmla="*/ 1099910 w 9397013"/>
              <a:gd name="connsiteY15-1616" fmla="*/ 6831395 h 7134208"/>
              <a:gd name="connsiteX16-1617" fmla="*/ 919656 w 9397013"/>
              <a:gd name="connsiteY16-1618" fmla="*/ 6434435 h 7134208"/>
              <a:gd name="connsiteX17-1619" fmla="*/ 5641256 w 9397013"/>
              <a:gd name="connsiteY17-1620" fmla="*/ 212436 h 7134208"/>
              <a:gd name="connsiteX18-1621" fmla="*/ 6077099 w 9397013"/>
              <a:gd name="connsiteY18-1622" fmla="*/ 225638 h 7134208"/>
              <a:gd name="connsiteX19-1623" fmla="*/ 1099910 w 9397013"/>
              <a:gd name="connsiteY19-1624" fmla="*/ 6831395 h 7134208"/>
              <a:gd name="connsiteX20-1625" fmla="*/ 6958778 w 9397013"/>
              <a:gd name="connsiteY20-1626" fmla="*/ 7124971 h 7134208"/>
              <a:gd name="connsiteX21-1627" fmla="*/ 6560038 w 9397013"/>
              <a:gd name="connsiteY21-1628" fmla="*/ 7134207 h 7134208"/>
              <a:gd name="connsiteX22-1629" fmla="*/ 3849932 w 9397013"/>
              <a:gd name="connsiteY22-1630" fmla="*/ 3596670 h 7134208"/>
              <a:gd name="connsiteX23-1631" fmla="*/ 4086202 w 9397013"/>
              <a:gd name="connsiteY23-1632" fmla="*/ 3287229 h 7134208"/>
              <a:gd name="connsiteX24-1633" fmla="*/ 6958778 w 9397013"/>
              <a:gd name="connsiteY24-1634" fmla="*/ 7124971 h 7134208"/>
              <a:gd name="connsiteX25-1635" fmla="*/ 7777211 w 9397013"/>
              <a:gd name="connsiteY25-1636" fmla="*/ 7124972 h 7134208"/>
              <a:gd name="connsiteX26-1637" fmla="*/ 7324729 w 9397013"/>
              <a:gd name="connsiteY26-1638" fmla="*/ 7124972 h 7134208"/>
              <a:gd name="connsiteX27-1639" fmla="*/ 4245793 w 9397013"/>
              <a:gd name="connsiteY27-1640" fmla="*/ 3078214 h 7134208"/>
              <a:gd name="connsiteX28-1641" fmla="*/ 4490696 w 9397013"/>
              <a:gd name="connsiteY28-1642" fmla="*/ 2757469 h 7134208"/>
              <a:gd name="connsiteX29-1643" fmla="*/ 7777211 w 9397013"/>
              <a:gd name="connsiteY29-1644" fmla="*/ 7124972 h 7134208"/>
              <a:gd name="connsiteX30-1645" fmla="*/ 8567691 w 9397013"/>
              <a:gd name="connsiteY30-1646" fmla="*/ 7124971 h 7134208"/>
              <a:gd name="connsiteX31-1647" fmla="*/ 8159389 w 9397013"/>
              <a:gd name="connsiteY31-1648" fmla="*/ 7134208 h 7134208"/>
              <a:gd name="connsiteX32-1649" fmla="*/ 4650570 w 9397013"/>
              <a:gd name="connsiteY32-1650" fmla="*/ 2548084 h 7134208"/>
              <a:gd name="connsiteX33-1651" fmla="*/ 4869244 w 9397013"/>
              <a:gd name="connsiteY33-1652" fmla="*/ 2261689 h 7134208"/>
              <a:gd name="connsiteX34-1653" fmla="*/ 8567691 w 9397013"/>
              <a:gd name="connsiteY34-1654" fmla="*/ 7124971 h 7134208"/>
              <a:gd name="connsiteX35-1655" fmla="*/ 9397013 w 9397013"/>
              <a:gd name="connsiteY35-1656" fmla="*/ 7134207 h 7134208"/>
              <a:gd name="connsiteX36-1657" fmla="*/ 8921338 w 9397013"/>
              <a:gd name="connsiteY36-1658" fmla="*/ 7115735 h 7134208"/>
              <a:gd name="connsiteX37-1659" fmla="*/ 5045299 w 9397013"/>
              <a:gd name="connsiteY37-1660" fmla="*/ 2031113 h 7134208"/>
              <a:gd name="connsiteX38-1661" fmla="*/ 5273037 w 9397013"/>
              <a:gd name="connsiteY38-1662" fmla="*/ 1732846 h 7134208"/>
              <a:gd name="connsiteX39-1663" fmla="*/ 9397013 w 9397013"/>
              <a:gd name="connsiteY39-1664" fmla="*/ 7134207 h 7134208"/>
              <a:gd name="connsiteX0-1665" fmla="*/ 168369 w 9397013"/>
              <a:gd name="connsiteY0-1666" fmla="*/ 4779933 h 7134208"/>
              <a:gd name="connsiteX1-1667" fmla="*/ 0 w 9397013"/>
              <a:gd name="connsiteY1-1668" fmla="*/ 4409146 h 7134208"/>
              <a:gd name="connsiteX2-1669" fmla="*/ 3332806 w 9397013"/>
              <a:gd name="connsiteY2-1670" fmla="*/ 0 h 7134208"/>
              <a:gd name="connsiteX3-1671" fmla="*/ 3628305 w 9397013"/>
              <a:gd name="connsiteY3-1672" fmla="*/ 208352 h 7134208"/>
              <a:gd name="connsiteX4-1673" fmla="*/ 168369 w 9397013"/>
              <a:gd name="connsiteY4-1674" fmla="*/ 4779933 h 7134208"/>
              <a:gd name="connsiteX5-1675" fmla="*/ 488220 w 9397013"/>
              <a:gd name="connsiteY5-1676" fmla="*/ 5484315 h 7134208"/>
              <a:gd name="connsiteX6-1677" fmla="*/ 299082 w 9397013"/>
              <a:gd name="connsiteY6-1678" fmla="*/ 5067791 h 7134208"/>
              <a:gd name="connsiteX7-1679" fmla="*/ 3977147 w 9397013"/>
              <a:gd name="connsiteY7-1680" fmla="*/ 212075 h 7134208"/>
              <a:gd name="connsiteX8-1681" fmla="*/ 4465006 w 9397013"/>
              <a:gd name="connsiteY8-1682" fmla="*/ 209192 h 7134208"/>
              <a:gd name="connsiteX9-1683" fmla="*/ 488220 w 9397013"/>
              <a:gd name="connsiteY9-1684" fmla="*/ 5484315 h 7134208"/>
              <a:gd name="connsiteX10-1685" fmla="*/ 779421 w 9397013"/>
              <a:gd name="connsiteY10-1686" fmla="*/ 6125606 h 7134208"/>
              <a:gd name="connsiteX11-1687" fmla="*/ 618065 w 9397013"/>
              <a:gd name="connsiteY11-1688" fmla="*/ 5770263 h 7134208"/>
              <a:gd name="connsiteX12-1689" fmla="*/ 4805164 w 9397013"/>
              <a:gd name="connsiteY12-1690" fmla="*/ 212954 h 7134208"/>
              <a:gd name="connsiteX13-1691" fmla="*/ 5260238 w 9397013"/>
              <a:gd name="connsiteY13-1692" fmla="*/ 234131 h 7134208"/>
              <a:gd name="connsiteX14-1693" fmla="*/ 779421 w 9397013"/>
              <a:gd name="connsiteY14-1694" fmla="*/ 6125606 h 7134208"/>
              <a:gd name="connsiteX15-1695" fmla="*/ 1099910 w 9397013"/>
              <a:gd name="connsiteY15-1696" fmla="*/ 6831395 h 7134208"/>
              <a:gd name="connsiteX16-1697" fmla="*/ 919656 w 9397013"/>
              <a:gd name="connsiteY16-1698" fmla="*/ 6434435 h 7134208"/>
              <a:gd name="connsiteX17-1699" fmla="*/ 5641256 w 9397013"/>
              <a:gd name="connsiteY17-1700" fmla="*/ 212436 h 7134208"/>
              <a:gd name="connsiteX18-1701" fmla="*/ 6077099 w 9397013"/>
              <a:gd name="connsiteY18-1702" fmla="*/ 225638 h 7134208"/>
              <a:gd name="connsiteX19-1703" fmla="*/ 1099910 w 9397013"/>
              <a:gd name="connsiteY19-1704" fmla="*/ 6831395 h 7134208"/>
              <a:gd name="connsiteX20-1705" fmla="*/ 6958778 w 9397013"/>
              <a:gd name="connsiteY20-1706" fmla="*/ 7124971 h 7134208"/>
              <a:gd name="connsiteX21-1707" fmla="*/ 6560038 w 9397013"/>
              <a:gd name="connsiteY21-1708" fmla="*/ 7134207 h 7134208"/>
              <a:gd name="connsiteX22-1709" fmla="*/ 3849932 w 9397013"/>
              <a:gd name="connsiteY22-1710" fmla="*/ 3596670 h 7134208"/>
              <a:gd name="connsiteX23-1711" fmla="*/ 4086202 w 9397013"/>
              <a:gd name="connsiteY23-1712" fmla="*/ 3287229 h 7134208"/>
              <a:gd name="connsiteX24-1713" fmla="*/ 6958778 w 9397013"/>
              <a:gd name="connsiteY24-1714" fmla="*/ 7124971 h 7134208"/>
              <a:gd name="connsiteX25-1715" fmla="*/ 7777211 w 9397013"/>
              <a:gd name="connsiteY25-1716" fmla="*/ 7124972 h 7134208"/>
              <a:gd name="connsiteX26-1717" fmla="*/ 7324729 w 9397013"/>
              <a:gd name="connsiteY26-1718" fmla="*/ 7124972 h 7134208"/>
              <a:gd name="connsiteX27-1719" fmla="*/ 4245793 w 9397013"/>
              <a:gd name="connsiteY27-1720" fmla="*/ 3078214 h 7134208"/>
              <a:gd name="connsiteX28-1721" fmla="*/ 4490696 w 9397013"/>
              <a:gd name="connsiteY28-1722" fmla="*/ 2757469 h 7134208"/>
              <a:gd name="connsiteX29-1723" fmla="*/ 7777211 w 9397013"/>
              <a:gd name="connsiteY29-1724" fmla="*/ 7124972 h 7134208"/>
              <a:gd name="connsiteX30-1725" fmla="*/ 8567691 w 9397013"/>
              <a:gd name="connsiteY30-1726" fmla="*/ 7124971 h 7134208"/>
              <a:gd name="connsiteX31-1727" fmla="*/ 8159389 w 9397013"/>
              <a:gd name="connsiteY31-1728" fmla="*/ 7134208 h 7134208"/>
              <a:gd name="connsiteX32-1729" fmla="*/ 4650570 w 9397013"/>
              <a:gd name="connsiteY32-1730" fmla="*/ 2548084 h 7134208"/>
              <a:gd name="connsiteX33-1731" fmla="*/ 4869244 w 9397013"/>
              <a:gd name="connsiteY33-1732" fmla="*/ 2261689 h 7134208"/>
              <a:gd name="connsiteX34-1733" fmla="*/ 8567691 w 9397013"/>
              <a:gd name="connsiteY34-1734" fmla="*/ 7124971 h 7134208"/>
              <a:gd name="connsiteX35-1735" fmla="*/ 9397013 w 9397013"/>
              <a:gd name="connsiteY35-1736" fmla="*/ 7134207 h 7134208"/>
              <a:gd name="connsiteX36-1737" fmla="*/ 8921338 w 9397013"/>
              <a:gd name="connsiteY36-1738" fmla="*/ 7115735 h 7134208"/>
              <a:gd name="connsiteX37-1739" fmla="*/ 5045299 w 9397013"/>
              <a:gd name="connsiteY37-1740" fmla="*/ 2031113 h 7134208"/>
              <a:gd name="connsiteX38-1741" fmla="*/ 5273037 w 9397013"/>
              <a:gd name="connsiteY38-1742" fmla="*/ 1732846 h 7134208"/>
              <a:gd name="connsiteX39-1743" fmla="*/ 9397013 w 9397013"/>
              <a:gd name="connsiteY39-1744" fmla="*/ 7134207 h 7134208"/>
              <a:gd name="connsiteX0-1745" fmla="*/ 168369 w 9397013"/>
              <a:gd name="connsiteY0-1746" fmla="*/ 4571581 h 6925856"/>
              <a:gd name="connsiteX1-1747" fmla="*/ 0 w 9397013"/>
              <a:gd name="connsiteY1-1748" fmla="*/ 4200794 h 6925856"/>
              <a:gd name="connsiteX2-1749" fmla="*/ 3175788 w 9397013"/>
              <a:gd name="connsiteY2-1750" fmla="*/ 4084 h 6925856"/>
              <a:gd name="connsiteX3-1751" fmla="*/ 3628305 w 9397013"/>
              <a:gd name="connsiteY3-1752" fmla="*/ 0 h 6925856"/>
              <a:gd name="connsiteX4-1753" fmla="*/ 168369 w 9397013"/>
              <a:gd name="connsiteY4-1754" fmla="*/ 4571581 h 6925856"/>
              <a:gd name="connsiteX5-1755" fmla="*/ 488220 w 9397013"/>
              <a:gd name="connsiteY5-1756" fmla="*/ 5275963 h 6925856"/>
              <a:gd name="connsiteX6-1757" fmla="*/ 299082 w 9397013"/>
              <a:gd name="connsiteY6-1758" fmla="*/ 4859439 h 6925856"/>
              <a:gd name="connsiteX7-1759" fmla="*/ 3977147 w 9397013"/>
              <a:gd name="connsiteY7-1760" fmla="*/ 3723 h 6925856"/>
              <a:gd name="connsiteX8-1761" fmla="*/ 4465006 w 9397013"/>
              <a:gd name="connsiteY8-1762" fmla="*/ 840 h 6925856"/>
              <a:gd name="connsiteX9-1763" fmla="*/ 488220 w 9397013"/>
              <a:gd name="connsiteY9-1764" fmla="*/ 5275963 h 6925856"/>
              <a:gd name="connsiteX10-1765" fmla="*/ 779421 w 9397013"/>
              <a:gd name="connsiteY10-1766" fmla="*/ 5917254 h 6925856"/>
              <a:gd name="connsiteX11-1767" fmla="*/ 618065 w 9397013"/>
              <a:gd name="connsiteY11-1768" fmla="*/ 5561911 h 6925856"/>
              <a:gd name="connsiteX12-1769" fmla="*/ 4805164 w 9397013"/>
              <a:gd name="connsiteY12-1770" fmla="*/ 4602 h 6925856"/>
              <a:gd name="connsiteX13-1771" fmla="*/ 5260238 w 9397013"/>
              <a:gd name="connsiteY13-1772" fmla="*/ 25779 h 6925856"/>
              <a:gd name="connsiteX14-1773" fmla="*/ 779421 w 9397013"/>
              <a:gd name="connsiteY14-1774" fmla="*/ 5917254 h 6925856"/>
              <a:gd name="connsiteX15-1775" fmla="*/ 1099910 w 9397013"/>
              <a:gd name="connsiteY15-1776" fmla="*/ 6623043 h 6925856"/>
              <a:gd name="connsiteX16-1777" fmla="*/ 919656 w 9397013"/>
              <a:gd name="connsiteY16-1778" fmla="*/ 6226083 h 6925856"/>
              <a:gd name="connsiteX17-1779" fmla="*/ 5641256 w 9397013"/>
              <a:gd name="connsiteY17-1780" fmla="*/ 4084 h 6925856"/>
              <a:gd name="connsiteX18-1781" fmla="*/ 6077099 w 9397013"/>
              <a:gd name="connsiteY18-1782" fmla="*/ 17286 h 6925856"/>
              <a:gd name="connsiteX19-1783" fmla="*/ 1099910 w 9397013"/>
              <a:gd name="connsiteY19-1784" fmla="*/ 6623043 h 6925856"/>
              <a:gd name="connsiteX20-1785" fmla="*/ 6958778 w 9397013"/>
              <a:gd name="connsiteY20-1786" fmla="*/ 6916619 h 6925856"/>
              <a:gd name="connsiteX21-1787" fmla="*/ 6560038 w 9397013"/>
              <a:gd name="connsiteY21-1788" fmla="*/ 6925855 h 6925856"/>
              <a:gd name="connsiteX22-1789" fmla="*/ 3849932 w 9397013"/>
              <a:gd name="connsiteY22-1790" fmla="*/ 3388318 h 6925856"/>
              <a:gd name="connsiteX23-1791" fmla="*/ 4086202 w 9397013"/>
              <a:gd name="connsiteY23-1792" fmla="*/ 3078877 h 6925856"/>
              <a:gd name="connsiteX24-1793" fmla="*/ 6958778 w 9397013"/>
              <a:gd name="connsiteY24-1794" fmla="*/ 6916619 h 6925856"/>
              <a:gd name="connsiteX25-1795" fmla="*/ 7777211 w 9397013"/>
              <a:gd name="connsiteY25-1796" fmla="*/ 6916620 h 6925856"/>
              <a:gd name="connsiteX26-1797" fmla="*/ 7324729 w 9397013"/>
              <a:gd name="connsiteY26-1798" fmla="*/ 6916620 h 6925856"/>
              <a:gd name="connsiteX27-1799" fmla="*/ 4245793 w 9397013"/>
              <a:gd name="connsiteY27-1800" fmla="*/ 2869862 h 6925856"/>
              <a:gd name="connsiteX28-1801" fmla="*/ 4490696 w 9397013"/>
              <a:gd name="connsiteY28-1802" fmla="*/ 2549117 h 6925856"/>
              <a:gd name="connsiteX29-1803" fmla="*/ 7777211 w 9397013"/>
              <a:gd name="connsiteY29-1804" fmla="*/ 6916620 h 6925856"/>
              <a:gd name="connsiteX30-1805" fmla="*/ 8567691 w 9397013"/>
              <a:gd name="connsiteY30-1806" fmla="*/ 6916619 h 6925856"/>
              <a:gd name="connsiteX31-1807" fmla="*/ 8159389 w 9397013"/>
              <a:gd name="connsiteY31-1808" fmla="*/ 6925856 h 6925856"/>
              <a:gd name="connsiteX32-1809" fmla="*/ 4650570 w 9397013"/>
              <a:gd name="connsiteY32-1810" fmla="*/ 2339732 h 6925856"/>
              <a:gd name="connsiteX33-1811" fmla="*/ 4869244 w 9397013"/>
              <a:gd name="connsiteY33-1812" fmla="*/ 2053337 h 6925856"/>
              <a:gd name="connsiteX34-1813" fmla="*/ 8567691 w 9397013"/>
              <a:gd name="connsiteY34-1814" fmla="*/ 6916619 h 6925856"/>
              <a:gd name="connsiteX35-1815" fmla="*/ 9397013 w 9397013"/>
              <a:gd name="connsiteY35-1816" fmla="*/ 6925855 h 6925856"/>
              <a:gd name="connsiteX36-1817" fmla="*/ 8921338 w 9397013"/>
              <a:gd name="connsiteY36-1818" fmla="*/ 6907383 h 6925856"/>
              <a:gd name="connsiteX37-1819" fmla="*/ 5045299 w 9397013"/>
              <a:gd name="connsiteY37-1820" fmla="*/ 1822761 h 6925856"/>
              <a:gd name="connsiteX38-1821" fmla="*/ 5273037 w 9397013"/>
              <a:gd name="connsiteY38-1822" fmla="*/ 1524494 h 6925856"/>
              <a:gd name="connsiteX39-1823" fmla="*/ 9397013 w 9397013"/>
              <a:gd name="connsiteY39-1824" fmla="*/ 6925855 h 6925856"/>
              <a:gd name="connsiteX0-1825" fmla="*/ 168369 w 9397013"/>
              <a:gd name="connsiteY0-1826" fmla="*/ 4571581 h 6925856"/>
              <a:gd name="connsiteX1-1827" fmla="*/ 0 w 9397013"/>
              <a:gd name="connsiteY1-1828" fmla="*/ 4200794 h 6925856"/>
              <a:gd name="connsiteX2-1829" fmla="*/ 3175788 w 9397013"/>
              <a:gd name="connsiteY2-1830" fmla="*/ 4084 h 6925856"/>
              <a:gd name="connsiteX3-1831" fmla="*/ 3628305 w 9397013"/>
              <a:gd name="connsiteY3-1832" fmla="*/ 0 h 6925856"/>
              <a:gd name="connsiteX4-1833" fmla="*/ 168369 w 9397013"/>
              <a:gd name="connsiteY4-1834" fmla="*/ 4571581 h 6925856"/>
              <a:gd name="connsiteX5-1835" fmla="*/ 488220 w 9397013"/>
              <a:gd name="connsiteY5-1836" fmla="*/ 5275963 h 6925856"/>
              <a:gd name="connsiteX6-1837" fmla="*/ 299082 w 9397013"/>
              <a:gd name="connsiteY6-1838" fmla="*/ 4859439 h 6925856"/>
              <a:gd name="connsiteX7-1839" fmla="*/ 3977147 w 9397013"/>
              <a:gd name="connsiteY7-1840" fmla="*/ 3723 h 6925856"/>
              <a:gd name="connsiteX8-1841" fmla="*/ 4465006 w 9397013"/>
              <a:gd name="connsiteY8-1842" fmla="*/ 840 h 6925856"/>
              <a:gd name="connsiteX9-1843" fmla="*/ 488220 w 9397013"/>
              <a:gd name="connsiteY9-1844" fmla="*/ 5275963 h 6925856"/>
              <a:gd name="connsiteX10-1845" fmla="*/ 779421 w 9397013"/>
              <a:gd name="connsiteY10-1846" fmla="*/ 5917254 h 6925856"/>
              <a:gd name="connsiteX11-1847" fmla="*/ 618065 w 9397013"/>
              <a:gd name="connsiteY11-1848" fmla="*/ 5561911 h 6925856"/>
              <a:gd name="connsiteX12-1849" fmla="*/ 4805164 w 9397013"/>
              <a:gd name="connsiteY12-1850" fmla="*/ 4602 h 6925856"/>
              <a:gd name="connsiteX13-1851" fmla="*/ 5260238 w 9397013"/>
              <a:gd name="connsiteY13-1852" fmla="*/ 25779 h 6925856"/>
              <a:gd name="connsiteX14-1853" fmla="*/ 779421 w 9397013"/>
              <a:gd name="connsiteY14-1854" fmla="*/ 5917254 h 6925856"/>
              <a:gd name="connsiteX15-1855" fmla="*/ 1598673 w 9397013"/>
              <a:gd name="connsiteY15-1856" fmla="*/ 5976498 h 6925856"/>
              <a:gd name="connsiteX16-1857" fmla="*/ 919656 w 9397013"/>
              <a:gd name="connsiteY16-1858" fmla="*/ 6226083 h 6925856"/>
              <a:gd name="connsiteX17-1859" fmla="*/ 5641256 w 9397013"/>
              <a:gd name="connsiteY17-1860" fmla="*/ 4084 h 6925856"/>
              <a:gd name="connsiteX18-1861" fmla="*/ 6077099 w 9397013"/>
              <a:gd name="connsiteY18-1862" fmla="*/ 17286 h 6925856"/>
              <a:gd name="connsiteX19-1863" fmla="*/ 1598673 w 9397013"/>
              <a:gd name="connsiteY19-1864" fmla="*/ 5976498 h 6925856"/>
              <a:gd name="connsiteX20-1865" fmla="*/ 6958778 w 9397013"/>
              <a:gd name="connsiteY20-1866" fmla="*/ 6916619 h 6925856"/>
              <a:gd name="connsiteX21-1867" fmla="*/ 6560038 w 9397013"/>
              <a:gd name="connsiteY21-1868" fmla="*/ 6925855 h 6925856"/>
              <a:gd name="connsiteX22-1869" fmla="*/ 3849932 w 9397013"/>
              <a:gd name="connsiteY22-1870" fmla="*/ 3388318 h 6925856"/>
              <a:gd name="connsiteX23-1871" fmla="*/ 4086202 w 9397013"/>
              <a:gd name="connsiteY23-1872" fmla="*/ 3078877 h 6925856"/>
              <a:gd name="connsiteX24-1873" fmla="*/ 6958778 w 9397013"/>
              <a:gd name="connsiteY24-1874" fmla="*/ 6916619 h 6925856"/>
              <a:gd name="connsiteX25-1875" fmla="*/ 7777211 w 9397013"/>
              <a:gd name="connsiteY25-1876" fmla="*/ 6916620 h 6925856"/>
              <a:gd name="connsiteX26-1877" fmla="*/ 7324729 w 9397013"/>
              <a:gd name="connsiteY26-1878" fmla="*/ 6916620 h 6925856"/>
              <a:gd name="connsiteX27-1879" fmla="*/ 4245793 w 9397013"/>
              <a:gd name="connsiteY27-1880" fmla="*/ 2869862 h 6925856"/>
              <a:gd name="connsiteX28-1881" fmla="*/ 4490696 w 9397013"/>
              <a:gd name="connsiteY28-1882" fmla="*/ 2549117 h 6925856"/>
              <a:gd name="connsiteX29-1883" fmla="*/ 7777211 w 9397013"/>
              <a:gd name="connsiteY29-1884" fmla="*/ 6916620 h 6925856"/>
              <a:gd name="connsiteX30-1885" fmla="*/ 8567691 w 9397013"/>
              <a:gd name="connsiteY30-1886" fmla="*/ 6916619 h 6925856"/>
              <a:gd name="connsiteX31-1887" fmla="*/ 8159389 w 9397013"/>
              <a:gd name="connsiteY31-1888" fmla="*/ 6925856 h 6925856"/>
              <a:gd name="connsiteX32-1889" fmla="*/ 4650570 w 9397013"/>
              <a:gd name="connsiteY32-1890" fmla="*/ 2339732 h 6925856"/>
              <a:gd name="connsiteX33-1891" fmla="*/ 4869244 w 9397013"/>
              <a:gd name="connsiteY33-1892" fmla="*/ 2053337 h 6925856"/>
              <a:gd name="connsiteX34-1893" fmla="*/ 8567691 w 9397013"/>
              <a:gd name="connsiteY34-1894" fmla="*/ 6916619 h 6925856"/>
              <a:gd name="connsiteX35-1895" fmla="*/ 9397013 w 9397013"/>
              <a:gd name="connsiteY35-1896" fmla="*/ 6925855 h 6925856"/>
              <a:gd name="connsiteX36-1897" fmla="*/ 8921338 w 9397013"/>
              <a:gd name="connsiteY36-1898" fmla="*/ 6907383 h 6925856"/>
              <a:gd name="connsiteX37-1899" fmla="*/ 5045299 w 9397013"/>
              <a:gd name="connsiteY37-1900" fmla="*/ 1822761 h 6925856"/>
              <a:gd name="connsiteX38-1901" fmla="*/ 5273037 w 9397013"/>
              <a:gd name="connsiteY38-1902" fmla="*/ 1524494 h 6925856"/>
              <a:gd name="connsiteX39-1903" fmla="*/ 9397013 w 9397013"/>
              <a:gd name="connsiteY39-1904" fmla="*/ 6925855 h 6925856"/>
              <a:gd name="connsiteX0-1905" fmla="*/ 168369 w 9397013"/>
              <a:gd name="connsiteY0-1906" fmla="*/ 4571581 h 6925856"/>
              <a:gd name="connsiteX1-1907" fmla="*/ 0 w 9397013"/>
              <a:gd name="connsiteY1-1908" fmla="*/ 4200794 h 6925856"/>
              <a:gd name="connsiteX2-1909" fmla="*/ 3175788 w 9397013"/>
              <a:gd name="connsiteY2-1910" fmla="*/ 4084 h 6925856"/>
              <a:gd name="connsiteX3-1911" fmla="*/ 3628305 w 9397013"/>
              <a:gd name="connsiteY3-1912" fmla="*/ 0 h 6925856"/>
              <a:gd name="connsiteX4-1913" fmla="*/ 168369 w 9397013"/>
              <a:gd name="connsiteY4-1914" fmla="*/ 4571581 h 6925856"/>
              <a:gd name="connsiteX5-1915" fmla="*/ 488220 w 9397013"/>
              <a:gd name="connsiteY5-1916" fmla="*/ 5275963 h 6925856"/>
              <a:gd name="connsiteX6-1917" fmla="*/ 299082 w 9397013"/>
              <a:gd name="connsiteY6-1918" fmla="*/ 4859439 h 6925856"/>
              <a:gd name="connsiteX7-1919" fmla="*/ 3977147 w 9397013"/>
              <a:gd name="connsiteY7-1920" fmla="*/ 3723 h 6925856"/>
              <a:gd name="connsiteX8-1921" fmla="*/ 4465006 w 9397013"/>
              <a:gd name="connsiteY8-1922" fmla="*/ 840 h 6925856"/>
              <a:gd name="connsiteX9-1923" fmla="*/ 488220 w 9397013"/>
              <a:gd name="connsiteY9-1924" fmla="*/ 5275963 h 6925856"/>
              <a:gd name="connsiteX10-1925" fmla="*/ 779421 w 9397013"/>
              <a:gd name="connsiteY10-1926" fmla="*/ 5917254 h 6925856"/>
              <a:gd name="connsiteX11-1927" fmla="*/ 618065 w 9397013"/>
              <a:gd name="connsiteY11-1928" fmla="*/ 5561911 h 6925856"/>
              <a:gd name="connsiteX12-1929" fmla="*/ 4805164 w 9397013"/>
              <a:gd name="connsiteY12-1930" fmla="*/ 4602 h 6925856"/>
              <a:gd name="connsiteX13-1931" fmla="*/ 5260238 w 9397013"/>
              <a:gd name="connsiteY13-1932" fmla="*/ 25779 h 6925856"/>
              <a:gd name="connsiteX14-1933" fmla="*/ 779421 w 9397013"/>
              <a:gd name="connsiteY14-1934" fmla="*/ 5917254 h 6925856"/>
              <a:gd name="connsiteX15-1935" fmla="*/ 1598673 w 9397013"/>
              <a:gd name="connsiteY15-1936" fmla="*/ 5976498 h 6925856"/>
              <a:gd name="connsiteX16-1937" fmla="*/ 1566201 w 9397013"/>
              <a:gd name="connsiteY16-1938" fmla="*/ 5394811 h 6925856"/>
              <a:gd name="connsiteX17-1939" fmla="*/ 5641256 w 9397013"/>
              <a:gd name="connsiteY17-1940" fmla="*/ 4084 h 6925856"/>
              <a:gd name="connsiteX18-1941" fmla="*/ 6077099 w 9397013"/>
              <a:gd name="connsiteY18-1942" fmla="*/ 17286 h 6925856"/>
              <a:gd name="connsiteX19-1943" fmla="*/ 1598673 w 9397013"/>
              <a:gd name="connsiteY19-1944" fmla="*/ 5976498 h 6925856"/>
              <a:gd name="connsiteX20-1945" fmla="*/ 6958778 w 9397013"/>
              <a:gd name="connsiteY20-1946" fmla="*/ 6916619 h 6925856"/>
              <a:gd name="connsiteX21-1947" fmla="*/ 6560038 w 9397013"/>
              <a:gd name="connsiteY21-1948" fmla="*/ 6925855 h 6925856"/>
              <a:gd name="connsiteX22-1949" fmla="*/ 3849932 w 9397013"/>
              <a:gd name="connsiteY22-1950" fmla="*/ 3388318 h 6925856"/>
              <a:gd name="connsiteX23-1951" fmla="*/ 4086202 w 9397013"/>
              <a:gd name="connsiteY23-1952" fmla="*/ 3078877 h 6925856"/>
              <a:gd name="connsiteX24-1953" fmla="*/ 6958778 w 9397013"/>
              <a:gd name="connsiteY24-1954" fmla="*/ 6916619 h 6925856"/>
              <a:gd name="connsiteX25-1955" fmla="*/ 7777211 w 9397013"/>
              <a:gd name="connsiteY25-1956" fmla="*/ 6916620 h 6925856"/>
              <a:gd name="connsiteX26-1957" fmla="*/ 7324729 w 9397013"/>
              <a:gd name="connsiteY26-1958" fmla="*/ 6916620 h 6925856"/>
              <a:gd name="connsiteX27-1959" fmla="*/ 4245793 w 9397013"/>
              <a:gd name="connsiteY27-1960" fmla="*/ 2869862 h 6925856"/>
              <a:gd name="connsiteX28-1961" fmla="*/ 4490696 w 9397013"/>
              <a:gd name="connsiteY28-1962" fmla="*/ 2549117 h 6925856"/>
              <a:gd name="connsiteX29-1963" fmla="*/ 7777211 w 9397013"/>
              <a:gd name="connsiteY29-1964" fmla="*/ 6916620 h 6925856"/>
              <a:gd name="connsiteX30-1965" fmla="*/ 8567691 w 9397013"/>
              <a:gd name="connsiteY30-1966" fmla="*/ 6916619 h 6925856"/>
              <a:gd name="connsiteX31-1967" fmla="*/ 8159389 w 9397013"/>
              <a:gd name="connsiteY31-1968" fmla="*/ 6925856 h 6925856"/>
              <a:gd name="connsiteX32-1969" fmla="*/ 4650570 w 9397013"/>
              <a:gd name="connsiteY32-1970" fmla="*/ 2339732 h 6925856"/>
              <a:gd name="connsiteX33-1971" fmla="*/ 4869244 w 9397013"/>
              <a:gd name="connsiteY33-1972" fmla="*/ 2053337 h 6925856"/>
              <a:gd name="connsiteX34-1973" fmla="*/ 8567691 w 9397013"/>
              <a:gd name="connsiteY34-1974" fmla="*/ 6916619 h 6925856"/>
              <a:gd name="connsiteX35-1975" fmla="*/ 9397013 w 9397013"/>
              <a:gd name="connsiteY35-1976" fmla="*/ 6925855 h 6925856"/>
              <a:gd name="connsiteX36-1977" fmla="*/ 8921338 w 9397013"/>
              <a:gd name="connsiteY36-1978" fmla="*/ 6907383 h 6925856"/>
              <a:gd name="connsiteX37-1979" fmla="*/ 5045299 w 9397013"/>
              <a:gd name="connsiteY37-1980" fmla="*/ 1822761 h 6925856"/>
              <a:gd name="connsiteX38-1981" fmla="*/ 5273037 w 9397013"/>
              <a:gd name="connsiteY38-1982" fmla="*/ 1524494 h 6925856"/>
              <a:gd name="connsiteX39-1983" fmla="*/ 9397013 w 9397013"/>
              <a:gd name="connsiteY39-1984" fmla="*/ 6925855 h 6925856"/>
              <a:gd name="connsiteX0-1985" fmla="*/ 168369 w 9397013"/>
              <a:gd name="connsiteY0-1986" fmla="*/ 4571581 h 6925856"/>
              <a:gd name="connsiteX1-1987" fmla="*/ 0 w 9397013"/>
              <a:gd name="connsiteY1-1988" fmla="*/ 4200794 h 6925856"/>
              <a:gd name="connsiteX2-1989" fmla="*/ 3175788 w 9397013"/>
              <a:gd name="connsiteY2-1990" fmla="*/ 4084 h 6925856"/>
              <a:gd name="connsiteX3-1991" fmla="*/ 3628305 w 9397013"/>
              <a:gd name="connsiteY3-1992" fmla="*/ 0 h 6925856"/>
              <a:gd name="connsiteX4-1993" fmla="*/ 168369 w 9397013"/>
              <a:gd name="connsiteY4-1994" fmla="*/ 4571581 h 6925856"/>
              <a:gd name="connsiteX5-1995" fmla="*/ 488220 w 9397013"/>
              <a:gd name="connsiteY5-1996" fmla="*/ 5275963 h 6925856"/>
              <a:gd name="connsiteX6-1997" fmla="*/ 299082 w 9397013"/>
              <a:gd name="connsiteY6-1998" fmla="*/ 4859439 h 6925856"/>
              <a:gd name="connsiteX7-1999" fmla="*/ 3977147 w 9397013"/>
              <a:gd name="connsiteY7-2000" fmla="*/ 3723 h 6925856"/>
              <a:gd name="connsiteX8-2001" fmla="*/ 4465006 w 9397013"/>
              <a:gd name="connsiteY8-2002" fmla="*/ 840 h 6925856"/>
              <a:gd name="connsiteX9-2003" fmla="*/ 488220 w 9397013"/>
              <a:gd name="connsiteY9-2004" fmla="*/ 5275963 h 6925856"/>
              <a:gd name="connsiteX10-2005" fmla="*/ 779421 w 9397013"/>
              <a:gd name="connsiteY10-2006" fmla="*/ 5917254 h 6925856"/>
              <a:gd name="connsiteX11-2007" fmla="*/ 618065 w 9397013"/>
              <a:gd name="connsiteY11-2008" fmla="*/ 5561911 h 6925856"/>
              <a:gd name="connsiteX12-2009" fmla="*/ 4805164 w 9397013"/>
              <a:gd name="connsiteY12-2010" fmla="*/ 4602 h 6925856"/>
              <a:gd name="connsiteX13-2011" fmla="*/ 5260238 w 9397013"/>
              <a:gd name="connsiteY13-2012" fmla="*/ 25779 h 6925856"/>
              <a:gd name="connsiteX14-2013" fmla="*/ 779421 w 9397013"/>
              <a:gd name="connsiteY14-2014" fmla="*/ 5917254 h 6925856"/>
              <a:gd name="connsiteX15-2015" fmla="*/ 1580200 w 9397013"/>
              <a:gd name="connsiteY15-2016" fmla="*/ 5985735 h 6925856"/>
              <a:gd name="connsiteX16-2017" fmla="*/ 1566201 w 9397013"/>
              <a:gd name="connsiteY16-2018" fmla="*/ 5394811 h 6925856"/>
              <a:gd name="connsiteX17-2019" fmla="*/ 5641256 w 9397013"/>
              <a:gd name="connsiteY17-2020" fmla="*/ 4084 h 6925856"/>
              <a:gd name="connsiteX18-2021" fmla="*/ 6077099 w 9397013"/>
              <a:gd name="connsiteY18-2022" fmla="*/ 17286 h 6925856"/>
              <a:gd name="connsiteX19-2023" fmla="*/ 1580200 w 9397013"/>
              <a:gd name="connsiteY19-2024" fmla="*/ 5985735 h 6925856"/>
              <a:gd name="connsiteX20-2025" fmla="*/ 6958778 w 9397013"/>
              <a:gd name="connsiteY20-2026" fmla="*/ 6916619 h 6925856"/>
              <a:gd name="connsiteX21-2027" fmla="*/ 6560038 w 9397013"/>
              <a:gd name="connsiteY21-2028" fmla="*/ 6925855 h 6925856"/>
              <a:gd name="connsiteX22-2029" fmla="*/ 3849932 w 9397013"/>
              <a:gd name="connsiteY22-2030" fmla="*/ 3388318 h 6925856"/>
              <a:gd name="connsiteX23-2031" fmla="*/ 4086202 w 9397013"/>
              <a:gd name="connsiteY23-2032" fmla="*/ 3078877 h 6925856"/>
              <a:gd name="connsiteX24-2033" fmla="*/ 6958778 w 9397013"/>
              <a:gd name="connsiteY24-2034" fmla="*/ 6916619 h 6925856"/>
              <a:gd name="connsiteX25-2035" fmla="*/ 7777211 w 9397013"/>
              <a:gd name="connsiteY25-2036" fmla="*/ 6916620 h 6925856"/>
              <a:gd name="connsiteX26-2037" fmla="*/ 7324729 w 9397013"/>
              <a:gd name="connsiteY26-2038" fmla="*/ 6916620 h 6925856"/>
              <a:gd name="connsiteX27-2039" fmla="*/ 4245793 w 9397013"/>
              <a:gd name="connsiteY27-2040" fmla="*/ 2869862 h 6925856"/>
              <a:gd name="connsiteX28-2041" fmla="*/ 4490696 w 9397013"/>
              <a:gd name="connsiteY28-2042" fmla="*/ 2549117 h 6925856"/>
              <a:gd name="connsiteX29-2043" fmla="*/ 7777211 w 9397013"/>
              <a:gd name="connsiteY29-2044" fmla="*/ 6916620 h 6925856"/>
              <a:gd name="connsiteX30-2045" fmla="*/ 8567691 w 9397013"/>
              <a:gd name="connsiteY30-2046" fmla="*/ 6916619 h 6925856"/>
              <a:gd name="connsiteX31-2047" fmla="*/ 8159389 w 9397013"/>
              <a:gd name="connsiteY31-2048" fmla="*/ 6925856 h 6925856"/>
              <a:gd name="connsiteX32-2049" fmla="*/ 4650570 w 9397013"/>
              <a:gd name="connsiteY32-2050" fmla="*/ 2339732 h 6925856"/>
              <a:gd name="connsiteX33-2051" fmla="*/ 4869244 w 9397013"/>
              <a:gd name="connsiteY33-2052" fmla="*/ 2053337 h 6925856"/>
              <a:gd name="connsiteX34-2053" fmla="*/ 8567691 w 9397013"/>
              <a:gd name="connsiteY34-2054" fmla="*/ 6916619 h 6925856"/>
              <a:gd name="connsiteX35-2055" fmla="*/ 9397013 w 9397013"/>
              <a:gd name="connsiteY35-2056" fmla="*/ 6925855 h 6925856"/>
              <a:gd name="connsiteX36-2057" fmla="*/ 8921338 w 9397013"/>
              <a:gd name="connsiteY36-2058" fmla="*/ 6907383 h 6925856"/>
              <a:gd name="connsiteX37-2059" fmla="*/ 5045299 w 9397013"/>
              <a:gd name="connsiteY37-2060" fmla="*/ 1822761 h 6925856"/>
              <a:gd name="connsiteX38-2061" fmla="*/ 5273037 w 9397013"/>
              <a:gd name="connsiteY38-2062" fmla="*/ 1524494 h 6925856"/>
              <a:gd name="connsiteX39-2063" fmla="*/ 9397013 w 9397013"/>
              <a:gd name="connsiteY39-2064" fmla="*/ 6925855 h 6925856"/>
              <a:gd name="connsiteX0-2065" fmla="*/ 168369 w 9397013"/>
              <a:gd name="connsiteY0-2066" fmla="*/ 4571581 h 6925856"/>
              <a:gd name="connsiteX1-2067" fmla="*/ 0 w 9397013"/>
              <a:gd name="connsiteY1-2068" fmla="*/ 4200794 h 6925856"/>
              <a:gd name="connsiteX2-2069" fmla="*/ 3175788 w 9397013"/>
              <a:gd name="connsiteY2-2070" fmla="*/ 4084 h 6925856"/>
              <a:gd name="connsiteX3-2071" fmla="*/ 3628305 w 9397013"/>
              <a:gd name="connsiteY3-2072" fmla="*/ 0 h 6925856"/>
              <a:gd name="connsiteX4-2073" fmla="*/ 168369 w 9397013"/>
              <a:gd name="connsiteY4-2074" fmla="*/ 4571581 h 6925856"/>
              <a:gd name="connsiteX5-2075" fmla="*/ 488220 w 9397013"/>
              <a:gd name="connsiteY5-2076" fmla="*/ 5275963 h 6925856"/>
              <a:gd name="connsiteX6-2077" fmla="*/ 299082 w 9397013"/>
              <a:gd name="connsiteY6-2078" fmla="*/ 4859439 h 6925856"/>
              <a:gd name="connsiteX7-2079" fmla="*/ 3977147 w 9397013"/>
              <a:gd name="connsiteY7-2080" fmla="*/ 3723 h 6925856"/>
              <a:gd name="connsiteX8-2081" fmla="*/ 4465006 w 9397013"/>
              <a:gd name="connsiteY8-2082" fmla="*/ 840 h 6925856"/>
              <a:gd name="connsiteX9-2083" fmla="*/ 488220 w 9397013"/>
              <a:gd name="connsiteY9-2084" fmla="*/ 5275963 h 6925856"/>
              <a:gd name="connsiteX10-2085" fmla="*/ 1601458 w 9397013"/>
              <a:gd name="connsiteY10-2086" fmla="*/ 4845836 h 6925856"/>
              <a:gd name="connsiteX11-2087" fmla="*/ 618065 w 9397013"/>
              <a:gd name="connsiteY11-2088" fmla="*/ 5561911 h 6925856"/>
              <a:gd name="connsiteX12-2089" fmla="*/ 4805164 w 9397013"/>
              <a:gd name="connsiteY12-2090" fmla="*/ 4602 h 6925856"/>
              <a:gd name="connsiteX13-2091" fmla="*/ 5260238 w 9397013"/>
              <a:gd name="connsiteY13-2092" fmla="*/ 25779 h 6925856"/>
              <a:gd name="connsiteX14-2093" fmla="*/ 1601458 w 9397013"/>
              <a:gd name="connsiteY14-2094" fmla="*/ 4845836 h 6925856"/>
              <a:gd name="connsiteX15-2095" fmla="*/ 1580200 w 9397013"/>
              <a:gd name="connsiteY15-2096" fmla="*/ 5985735 h 6925856"/>
              <a:gd name="connsiteX16-2097" fmla="*/ 1566201 w 9397013"/>
              <a:gd name="connsiteY16-2098" fmla="*/ 5394811 h 6925856"/>
              <a:gd name="connsiteX17-2099" fmla="*/ 5641256 w 9397013"/>
              <a:gd name="connsiteY17-2100" fmla="*/ 4084 h 6925856"/>
              <a:gd name="connsiteX18-2101" fmla="*/ 6077099 w 9397013"/>
              <a:gd name="connsiteY18-2102" fmla="*/ 17286 h 6925856"/>
              <a:gd name="connsiteX19-2103" fmla="*/ 1580200 w 9397013"/>
              <a:gd name="connsiteY19-2104" fmla="*/ 5985735 h 6925856"/>
              <a:gd name="connsiteX20-2105" fmla="*/ 6958778 w 9397013"/>
              <a:gd name="connsiteY20-2106" fmla="*/ 6916619 h 6925856"/>
              <a:gd name="connsiteX21-2107" fmla="*/ 6560038 w 9397013"/>
              <a:gd name="connsiteY21-2108" fmla="*/ 6925855 h 6925856"/>
              <a:gd name="connsiteX22-2109" fmla="*/ 3849932 w 9397013"/>
              <a:gd name="connsiteY22-2110" fmla="*/ 3388318 h 6925856"/>
              <a:gd name="connsiteX23-2111" fmla="*/ 4086202 w 9397013"/>
              <a:gd name="connsiteY23-2112" fmla="*/ 3078877 h 6925856"/>
              <a:gd name="connsiteX24-2113" fmla="*/ 6958778 w 9397013"/>
              <a:gd name="connsiteY24-2114" fmla="*/ 6916619 h 6925856"/>
              <a:gd name="connsiteX25-2115" fmla="*/ 7777211 w 9397013"/>
              <a:gd name="connsiteY25-2116" fmla="*/ 6916620 h 6925856"/>
              <a:gd name="connsiteX26-2117" fmla="*/ 7324729 w 9397013"/>
              <a:gd name="connsiteY26-2118" fmla="*/ 6916620 h 6925856"/>
              <a:gd name="connsiteX27-2119" fmla="*/ 4245793 w 9397013"/>
              <a:gd name="connsiteY27-2120" fmla="*/ 2869862 h 6925856"/>
              <a:gd name="connsiteX28-2121" fmla="*/ 4490696 w 9397013"/>
              <a:gd name="connsiteY28-2122" fmla="*/ 2549117 h 6925856"/>
              <a:gd name="connsiteX29-2123" fmla="*/ 7777211 w 9397013"/>
              <a:gd name="connsiteY29-2124" fmla="*/ 6916620 h 6925856"/>
              <a:gd name="connsiteX30-2125" fmla="*/ 8567691 w 9397013"/>
              <a:gd name="connsiteY30-2126" fmla="*/ 6916619 h 6925856"/>
              <a:gd name="connsiteX31-2127" fmla="*/ 8159389 w 9397013"/>
              <a:gd name="connsiteY31-2128" fmla="*/ 6925856 h 6925856"/>
              <a:gd name="connsiteX32-2129" fmla="*/ 4650570 w 9397013"/>
              <a:gd name="connsiteY32-2130" fmla="*/ 2339732 h 6925856"/>
              <a:gd name="connsiteX33-2131" fmla="*/ 4869244 w 9397013"/>
              <a:gd name="connsiteY33-2132" fmla="*/ 2053337 h 6925856"/>
              <a:gd name="connsiteX34-2133" fmla="*/ 8567691 w 9397013"/>
              <a:gd name="connsiteY34-2134" fmla="*/ 6916619 h 6925856"/>
              <a:gd name="connsiteX35-2135" fmla="*/ 9397013 w 9397013"/>
              <a:gd name="connsiteY35-2136" fmla="*/ 6925855 h 6925856"/>
              <a:gd name="connsiteX36-2137" fmla="*/ 8921338 w 9397013"/>
              <a:gd name="connsiteY36-2138" fmla="*/ 6907383 h 6925856"/>
              <a:gd name="connsiteX37-2139" fmla="*/ 5045299 w 9397013"/>
              <a:gd name="connsiteY37-2140" fmla="*/ 1822761 h 6925856"/>
              <a:gd name="connsiteX38-2141" fmla="*/ 5273037 w 9397013"/>
              <a:gd name="connsiteY38-2142" fmla="*/ 1524494 h 6925856"/>
              <a:gd name="connsiteX39-2143" fmla="*/ 9397013 w 9397013"/>
              <a:gd name="connsiteY39-2144" fmla="*/ 6925855 h 6925856"/>
              <a:gd name="connsiteX0-2145" fmla="*/ 168369 w 9397013"/>
              <a:gd name="connsiteY0-2146" fmla="*/ 4571581 h 6925856"/>
              <a:gd name="connsiteX1-2147" fmla="*/ 0 w 9397013"/>
              <a:gd name="connsiteY1-2148" fmla="*/ 4200794 h 6925856"/>
              <a:gd name="connsiteX2-2149" fmla="*/ 3175788 w 9397013"/>
              <a:gd name="connsiteY2-2150" fmla="*/ 4084 h 6925856"/>
              <a:gd name="connsiteX3-2151" fmla="*/ 3628305 w 9397013"/>
              <a:gd name="connsiteY3-2152" fmla="*/ 0 h 6925856"/>
              <a:gd name="connsiteX4-2153" fmla="*/ 168369 w 9397013"/>
              <a:gd name="connsiteY4-2154" fmla="*/ 4571581 h 6925856"/>
              <a:gd name="connsiteX5-2155" fmla="*/ 488220 w 9397013"/>
              <a:gd name="connsiteY5-2156" fmla="*/ 5275963 h 6925856"/>
              <a:gd name="connsiteX6-2157" fmla="*/ 299082 w 9397013"/>
              <a:gd name="connsiteY6-2158" fmla="*/ 4859439 h 6925856"/>
              <a:gd name="connsiteX7-2159" fmla="*/ 3977147 w 9397013"/>
              <a:gd name="connsiteY7-2160" fmla="*/ 3723 h 6925856"/>
              <a:gd name="connsiteX8-2161" fmla="*/ 4465006 w 9397013"/>
              <a:gd name="connsiteY8-2162" fmla="*/ 840 h 6925856"/>
              <a:gd name="connsiteX9-2163" fmla="*/ 488220 w 9397013"/>
              <a:gd name="connsiteY9-2164" fmla="*/ 5275963 h 6925856"/>
              <a:gd name="connsiteX10-2165" fmla="*/ 1601458 w 9397013"/>
              <a:gd name="connsiteY10-2166" fmla="*/ 4845836 h 6925856"/>
              <a:gd name="connsiteX11-2167" fmla="*/ 1550937 w 9397013"/>
              <a:gd name="connsiteY11-2168" fmla="*/ 4315002 h 6925856"/>
              <a:gd name="connsiteX12-2169" fmla="*/ 4805164 w 9397013"/>
              <a:gd name="connsiteY12-2170" fmla="*/ 4602 h 6925856"/>
              <a:gd name="connsiteX13-2171" fmla="*/ 5260238 w 9397013"/>
              <a:gd name="connsiteY13-2172" fmla="*/ 25779 h 6925856"/>
              <a:gd name="connsiteX14-2173" fmla="*/ 1601458 w 9397013"/>
              <a:gd name="connsiteY14-2174" fmla="*/ 4845836 h 6925856"/>
              <a:gd name="connsiteX15-2175" fmla="*/ 1580200 w 9397013"/>
              <a:gd name="connsiteY15-2176" fmla="*/ 5985735 h 6925856"/>
              <a:gd name="connsiteX16-2177" fmla="*/ 1566201 w 9397013"/>
              <a:gd name="connsiteY16-2178" fmla="*/ 5394811 h 6925856"/>
              <a:gd name="connsiteX17-2179" fmla="*/ 5641256 w 9397013"/>
              <a:gd name="connsiteY17-2180" fmla="*/ 4084 h 6925856"/>
              <a:gd name="connsiteX18-2181" fmla="*/ 6077099 w 9397013"/>
              <a:gd name="connsiteY18-2182" fmla="*/ 17286 h 6925856"/>
              <a:gd name="connsiteX19-2183" fmla="*/ 1580200 w 9397013"/>
              <a:gd name="connsiteY19-2184" fmla="*/ 5985735 h 6925856"/>
              <a:gd name="connsiteX20-2185" fmla="*/ 6958778 w 9397013"/>
              <a:gd name="connsiteY20-2186" fmla="*/ 6916619 h 6925856"/>
              <a:gd name="connsiteX21-2187" fmla="*/ 6560038 w 9397013"/>
              <a:gd name="connsiteY21-2188" fmla="*/ 6925855 h 6925856"/>
              <a:gd name="connsiteX22-2189" fmla="*/ 3849932 w 9397013"/>
              <a:gd name="connsiteY22-2190" fmla="*/ 3388318 h 6925856"/>
              <a:gd name="connsiteX23-2191" fmla="*/ 4086202 w 9397013"/>
              <a:gd name="connsiteY23-2192" fmla="*/ 3078877 h 6925856"/>
              <a:gd name="connsiteX24-2193" fmla="*/ 6958778 w 9397013"/>
              <a:gd name="connsiteY24-2194" fmla="*/ 6916619 h 6925856"/>
              <a:gd name="connsiteX25-2195" fmla="*/ 7777211 w 9397013"/>
              <a:gd name="connsiteY25-2196" fmla="*/ 6916620 h 6925856"/>
              <a:gd name="connsiteX26-2197" fmla="*/ 7324729 w 9397013"/>
              <a:gd name="connsiteY26-2198" fmla="*/ 6916620 h 6925856"/>
              <a:gd name="connsiteX27-2199" fmla="*/ 4245793 w 9397013"/>
              <a:gd name="connsiteY27-2200" fmla="*/ 2869862 h 6925856"/>
              <a:gd name="connsiteX28-2201" fmla="*/ 4490696 w 9397013"/>
              <a:gd name="connsiteY28-2202" fmla="*/ 2549117 h 6925856"/>
              <a:gd name="connsiteX29-2203" fmla="*/ 7777211 w 9397013"/>
              <a:gd name="connsiteY29-2204" fmla="*/ 6916620 h 6925856"/>
              <a:gd name="connsiteX30-2205" fmla="*/ 8567691 w 9397013"/>
              <a:gd name="connsiteY30-2206" fmla="*/ 6916619 h 6925856"/>
              <a:gd name="connsiteX31-2207" fmla="*/ 8159389 w 9397013"/>
              <a:gd name="connsiteY31-2208" fmla="*/ 6925856 h 6925856"/>
              <a:gd name="connsiteX32-2209" fmla="*/ 4650570 w 9397013"/>
              <a:gd name="connsiteY32-2210" fmla="*/ 2339732 h 6925856"/>
              <a:gd name="connsiteX33-2211" fmla="*/ 4869244 w 9397013"/>
              <a:gd name="connsiteY33-2212" fmla="*/ 2053337 h 6925856"/>
              <a:gd name="connsiteX34-2213" fmla="*/ 8567691 w 9397013"/>
              <a:gd name="connsiteY34-2214" fmla="*/ 6916619 h 6925856"/>
              <a:gd name="connsiteX35-2215" fmla="*/ 9397013 w 9397013"/>
              <a:gd name="connsiteY35-2216" fmla="*/ 6925855 h 6925856"/>
              <a:gd name="connsiteX36-2217" fmla="*/ 8921338 w 9397013"/>
              <a:gd name="connsiteY36-2218" fmla="*/ 6907383 h 6925856"/>
              <a:gd name="connsiteX37-2219" fmla="*/ 5045299 w 9397013"/>
              <a:gd name="connsiteY37-2220" fmla="*/ 1822761 h 6925856"/>
              <a:gd name="connsiteX38-2221" fmla="*/ 5273037 w 9397013"/>
              <a:gd name="connsiteY38-2222" fmla="*/ 1524494 h 6925856"/>
              <a:gd name="connsiteX39-2223" fmla="*/ 9397013 w 9397013"/>
              <a:gd name="connsiteY39-2224" fmla="*/ 6925855 h 6925856"/>
              <a:gd name="connsiteX0-2225" fmla="*/ 168369 w 9397013"/>
              <a:gd name="connsiteY0-2226" fmla="*/ 4571581 h 6925856"/>
              <a:gd name="connsiteX1-2227" fmla="*/ 0 w 9397013"/>
              <a:gd name="connsiteY1-2228" fmla="*/ 4200794 h 6925856"/>
              <a:gd name="connsiteX2-2229" fmla="*/ 3175788 w 9397013"/>
              <a:gd name="connsiteY2-2230" fmla="*/ 4084 h 6925856"/>
              <a:gd name="connsiteX3-2231" fmla="*/ 3628305 w 9397013"/>
              <a:gd name="connsiteY3-2232" fmla="*/ 0 h 6925856"/>
              <a:gd name="connsiteX4-2233" fmla="*/ 168369 w 9397013"/>
              <a:gd name="connsiteY4-2234" fmla="*/ 4571581 h 6925856"/>
              <a:gd name="connsiteX5-2235" fmla="*/ 488220 w 9397013"/>
              <a:gd name="connsiteY5-2236" fmla="*/ 5275963 h 6925856"/>
              <a:gd name="connsiteX6-2237" fmla="*/ 299082 w 9397013"/>
              <a:gd name="connsiteY6-2238" fmla="*/ 4859439 h 6925856"/>
              <a:gd name="connsiteX7-2239" fmla="*/ 3977147 w 9397013"/>
              <a:gd name="connsiteY7-2240" fmla="*/ 3723 h 6925856"/>
              <a:gd name="connsiteX8-2241" fmla="*/ 4465006 w 9397013"/>
              <a:gd name="connsiteY8-2242" fmla="*/ 840 h 6925856"/>
              <a:gd name="connsiteX9-2243" fmla="*/ 488220 w 9397013"/>
              <a:gd name="connsiteY9-2244" fmla="*/ 5275963 h 6925856"/>
              <a:gd name="connsiteX10-2245" fmla="*/ 1573749 w 9397013"/>
              <a:gd name="connsiteY10-2246" fmla="*/ 4882781 h 6925856"/>
              <a:gd name="connsiteX11-2247" fmla="*/ 1550937 w 9397013"/>
              <a:gd name="connsiteY11-2248" fmla="*/ 4315002 h 6925856"/>
              <a:gd name="connsiteX12-2249" fmla="*/ 4805164 w 9397013"/>
              <a:gd name="connsiteY12-2250" fmla="*/ 4602 h 6925856"/>
              <a:gd name="connsiteX13-2251" fmla="*/ 5260238 w 9397013"/>
              <a:gd name="connsiteY13-2252" fmla="*/ 25779 h 6925856"/>
              <a:gd name="connsiteX14-2253" fmla="*/ 1573749 w 9397013"/>
              <a:gd name="connsiteY14-2254" fmla="*/ 4882781 h 6925856"/>
              <a:gd name="connsiteX15-2255" fmla="*/ 1580200 w 9397013"/>
              <a:gd name="connsiteY15-2256" fmla="*/ 5985735 h 6925856"/>
              <a:gd name="connsiteX16-2257" fmla="*/ 1566201 w 9397013"/>
              <a:gd name="connsiteY16-2258" fmla="*/ 5394811 h 6925856"/>
              <a:gd name="connsiteX17-2259" fmla="*/ 5641256 w 9397013"/>
              <a:gd name="connsiteY17-2260" fmla="*/ 4084 h 6925856"/>
              <a:gd name="connsiteX18-2261" fmla="*/ 6077099 w 9397013"/>
              <a:gd name="connsiteY18-2262" fmla="*/ 17286 h 6925856"/>
              <a:gd name="connsiteX19-2263" fmla="*/ 1580200 w 9397013"/>
              <a:gd name="connsiteY19-2264" fmla="*/ 5985735 h 6925856"/>
              <a:gd name="connsiteX20-2265" fmla="*/ 6958778 w 9397013"/>
              <a:gd name="connsiteY20-2266" fmla="*/ 6916619 h 6925856"/>
              <a:gd name="connsiteX21-2267" fmla="*/ 6560038 w 9397013"/>
              <a:gd name="connsiteY21-2268" fmla="*/ 6925855 h 6925856"/>
              <a:gd name="connsiteX22-2269" fmla="*/ 3849932 w 9397013"/>
              <a:gd name="connsiteY22-2270" fmla="*/ 3388318 h 6925856"/>
              <a:gd name="connsiteX23-2271" fmla="*/ 4086202 w 9397013"/>
              <a:gd name="connsiteY23-2272" fmla="*/ 3078877 h 6925856"/>
              <a:gd name="connsiteX24-2273" fmla="*/ 6958778 w 9397013"/>
              <a:gd name="connsiteY24-2274" fmla="*/ 6916619 h 6925856"/>
              <a:gd name="connsiteX25-2275" fmla="*/ 7777211 w 9397013"/>
              <a:gd name="connsiteY25-2276" fmla="*/ 6916620 h 6925856"/>
              <a:gd name="connsiteX26-2277" fmla="*/ 7324729 w 9397013"/>
              <a:gd name="connsiteY26-2278" fmla="*/ 6916620 h 6925856"/>
              <a:gd name="connsiteX27-2279" fmla="*/ 4245793 w 9397013"/>
              <a:gd name="connsiteY27-2280" fmla="*/ 2869862 h 6925856"/>
              <a:gd name="connsiteX28-2281" fmla="*/ 4490696 w 9397013"/>
              <a:gd name="connsiteY28-2282" fmla="*/ 2549117 h 6925856"/>
              <a:gd name="connsiteX29-2283" fmla="*/ 7777211 w 9397013"/>
              <a:gd name="connsiteY29-2284" fmla="*/ 6916620 h 6925856"/>
              <a:gd name="connsiteX30-2285" fmla="*/ 8567691 w 9397013"/>
              <a:gd name="connsiteY30-2286" fmla="*/ 6916619 h 6925856"/>
              <a:gd name="connsiteX31-2287" fmla="*/ 8159389 w 9397013"/>
              <a:gd name="connsiteY31-2288" fmla="*/ 6925856 h 6925856"/>
              <a:gd name="connsiteX32-2289" fmla="*/ 4650570 w 9397013"/>
              <a:gd name="connsiteY32-2290" fmla="*/ 2339732 h 6925856"/>
              <a:gd name="connsiteX33-2291" fmla="*/ 4869244 w 9397013"/>
              <a:gd name="connsiteY33-2292" fmla="*/ 2053337 h 6925856"/>
              <a:gd name="connsiteX34-2293" fmla="*/ 8567691 w 9397013"/>
              <a:gd name="connsiteY34-2294" fmla="*/ 6916619 h 6925856"/>
              <a:gd name="connsiteX35-2295" fmla="*/ 9397013 w 9397013"/>
              <a:gd name="connsiteY35-2296" fmla="*/ 6925855 h 6925856"/>
              <a:gd name="connsiteX36-2297" fmla="*/ 8921338 w 9397013"/>
              <a:gd name="connsiteY36-2298" fmla="*/ 6907383 h 6925856"/>
              <a:gd name="connsiteX37-2299" fmla="*/ 5045299 w 9397013"/>
              <a:gd name="connsiteY37-2300" fmla="*/ 1822761 h 6925856"/>
              <a:gd name="connsiteX38-2301" fmla="*/ 5273037 w 9397013"/>
              <a:gd name="connsiteY38-2302" fmla="*/ 1524494 h 6925856"/>
              <a:gd name="connsiteX39-2303" fmla="*/ 9397013 w 9397013"/>
              <a:gd name="connsiteY39-2304" fmla="*/ 6925855 h 6925856"/>
              <a:gd name="connsiteX0-2305" fmla="*/ 168369 w 9397013"/>
              <a:gd name="connsiteY0-2306" fmla="*/ 4571581 h 6925856"/>
              <a:gd name="connsiteX1-2307" fmla="*/ 0 w 9397013"/>
              <a:gd name="connsiteY1-2308" fmla="*/ 4200794 h 6925856"/>
              <a:gd name="connsiteX2-2309" fmla="*/ 3175788 w 9397013"/>
              <a:gd name="connsiteY2-2310" fmla="*/ 4084 h 6925856"/>
              <a:gd name="connsiteX3-2311" fmla="*/ 3628305 w 9397013"/>
              <a:gd name="connsiteY3-2312" fmla="*/ 0 h 6925856"/>
              <a:gd name="connsiteX4-2313" fmla="*/ 168369 w 9397013"/>
              <a:gd name="connsiteY4-2314" fmla="*/ 4571581 h 6925856"/>
              <a:gd name="connsiteX5-2315" fmla="*/ 1578111 w 9397013"/>
              <a:gd name="connsiteY5-2316" fmla="*/ 3835090 h 6925856"/>
              <a:gd name="connsiteX6-2317" fmla="*/ 299082 w 9397013"/>
              <a:gd name="connsiteY6-2318" fmla="*/ 4859439 h 6925856"/>
              <a:gd name="connsiteX7-2319" fmla="*/ 3977147 w 9397013"/>
              <a:gd name="connsiteY7-2320" fmla="*/ 3723 h 6925856"/>
              <a:gd name="connsiteX8-2321" fmla="*/ 4465006 w 9397013"/>
              <a:gd name="connsiteY8-2322" fmla="*/ 840 h 6925856"/>
              <a:gd name="connsiteX9-2323" fmla="*/ 1578111 w 9397013"/>
              <a:gd name="connsiteY9-2324" fmla="*/ 3835090 h 6925856"/>
              <a:gd name="connsiteX10-2325" fmla="*/ 1573749 w 9397013"/>
              <a:gd name="connsiteY10-2326" fmla="*/ 4882781 h 6925856"/>
              <a:gd name="connsiteX11-2327" fmla="*/ 1550937 w 9397013"/>
              <a:gd name="connsiteY11-2328" fmla="*/ 4315002 h 6925856"/>
              <a:gd name="connsiteX12-2329" fmla="*/ 4805164 w 9397013"/>
              <a:gd name="connsiteY12-2330" fmla="*/ 4602 h 6925856"/>
              <a:gd name="connsiteX13-2331" fmla="*/ 5260238 w 9397013"/>
              <a:gd name="connsiteY13-2332" fmla="*/ 25779 h 6925856"/>
              <a:gd name="connsiteX14-2333" fmla="*/ 1573749 w 9397013"/>
              <a:gd name="connsiteY14-2334" fmla="*/ 4882781 h 6925856"/>
              <a:gd name="connsiteX15-2335" fmla="*/ 1580200 w 9397013"/>
              <a:gd name="connsiteY15-2336" fmla="*/ 5985735 h 6925856"/>
              <a:gd name="connsiteX16-2337" fmla="*/ 1566201 w 9397013"/>
              <a:gd name="connsiteY16-2338" fmla="*/ 5394811 h 6925856"/>
              <a:gd name="connsiteX17-2339" fmla="*/ 5641256 w 9397013"/>
              <a:gd name="connsiteY17-2340" fmla="*/ 4084 h 6925856"/>
              <a:gd name="connsiteX18-2341" fmla="*/ 6077099 w 9397013"/>
              <a:gd name="connsiteY18-2342" fmla="*/ 17286 h 6925856"/>
              <a:gd name="connsiteX19-2343" fmla="*/ 1580200 w 9397013"/>
              <a:gd name="connsiteY19-2344" fmla="*/ 5985735 h 6925856"/>
              <a:gd name="connsiteX20-2345" fmla="*/ 6958778 w 9397013"/>
              <a:gd name="connsiteY20-2346" fmla="*/ 6916619 h 6925856"/>
              <a:gd name="connsiteX21-2347" fmla="*/ 6560038 w 9397013"/>
              <a:gd name="connsiteY21-2348" fmla="*/ 6925855 h 6925856"/>
              <a:gd name="connsiteX22-2349" fmla="*/ 3849932 w 9397013"/>
              <a:gd name="connsiteY22-2350" fmla="*/ 3388318 h 6925856"/>
              <a:gd name="connsiteX23-2351" fmla="*/ 4086202 w 9397013"/>
              <a:gd name="connsiteY23-2352" fmla="*/ 3078877 h 6925856"/>
              <a:gd name="connsiteX24-2353" fmla="*/ 6958778 w 9397013"/>
              <a:gd name="connsiteY24-2354" fmla="*/ 6916619 h 6925856"/>
              <a:gd name="connsiteX25-2355" fmla="*/ 7777211 w 9397013"/>
              <a:gd name="connsiteY25-2356" fmla="*/ 6916620 h 6925856"/>
              <a:gd name="connsiteX26-2357" fmla="*/ 7324729 w 9397013"/>
              <a:gd name="connsiteY26-2358" fmla="*/ 6916620 h 6925856"/>
              <a:gd name="connsiteX27-2359" fmla="*/ 4245793 w 9397013"/>
              <a:gd name="connsiteY27-2360" fmla="*/ 2869862 h 6925856"/>
              <a:gd name="connsiteX28-2361" fmla="*/ 4490696 w 9397013"/>
              <a:gd name="connsiteY28-2362" fmla="*/ 2549117 h 6925856"/>
              <a:gd name="connsiteX29-2363" fmla="*/ 7777211 w 9397013"/>
              <a:gd name="connsiteY29-2364" fmla="*/ 6916620 h 6925856"/>
              <a:gd name="connsiteX30-2365" fmla="*/ 8567691 w 9397013"/>
              <a:gd name="connsiteY30-2366" fmla="*/ 6916619 h 6925856"/>
              <a:gd name="connsiteX31-2367" fmla="*/ 8159389 w 9397013"/>
              <a:gd name="connsiteY31-2368" fmla="*/ 6925856 h 6925856"/>
              <a:gd name="connsiteX32-2369" fmla="*/ 4650570 w 9397013"/>
              <a:gd name="connsiteY32-2370" fmla="*/ 2339732 h 6925856"/>
              <a:gd name="connsiteX33-2371" fmla="*/ 4869244 w 9397013"/>
              <a:gd name="connsiteY33-2372" fmla="*/ 2053337 h 6925856"/>
              <a:gd name="connsiteX34-2373" fmla="*/ 8567691 w 9397013"/>
              <a:gd name="connsiteY34-2374" fmla="*/ 6916619 h 6925856"/>
              <a:gd name="connsiteX35-2375" fmla="*/ 9397013 w 9397013"/>
              <a:gd name="connsiteY35-2376" fmla="*/ 6925855 h 6925856"/>
              <a:gd name="connsiteX36-2377" fmla="*/ 8921338 w 9397013"/>
              <a:gd name="connsiteY36-2378" fmla="*/ 6907383 h 6925856"/>
              <a:gd name="connsiteX37-2379" fmla="*/ 5045299 w 9397013"/>
              <a:gd name="connsiteY37-2380" fmla="*/ 1822761 h 6925856"/>
              <a:gd name="connsiteX38-2381" fmla="*/ 5273037 w 9397013"/>
              <a:gd name="connsiteY38-2382" fmla="*/ 1524494 h 6925856"/>
              <a:gd name="connsiteX39-2383" fmla="*/ 9397013 w 9397013"/>
              <a:gd name="connsiteY39-2384" fmla="*/ 6925855 h 6925856"/>
              <a:gd name="connsiteX0-2385" fmla="*/ 168369 w 9397013"/>
              <a:gd name="connsiteY0-2386" fmla="*/ 4571581 h 6925856"/>
              <a:gd name="connsiteX1-2387" fmla="*/ 0 w 9397013"/>
              <a:gd name="connsiteY1-2388" fmla="*/ 4200794 h 6925856"/>
              <a:gd name="connsiteX2-2389" fmla="*/ 3175788 w 9397013"/>
              <a:gd name="connsiteY2-2390" fmla="*/ 4084 h 6925856"/>
              <a:gd name="connsiteX3-2391" fmla="*/ 3628305 w 9397013"/>
              <a:gd name="connsiteY3-2392" fmla="*/ 0 h 6925856"/>
              <a:gd name="connsiteX4-2393" fmla="*/ 168369 w 9397013"/>
              <a:gd name="connsiteY4-2394" fmla="*/ 4571581 h 6925856"/>
              <a:gd name="connsiteX5-2395" fmla="*/ 1578111 w 9397013"/>
              <a:gd name="connsiteY5-2396" fmla="*/ 3835090 h 6925856"/>
              <a:gd name="connsiteX6-2397" fmla="*/ 1564463 w 9397013"/>
              <a:gd name="connsiteY6-2398" fmla="*/ 3206130 h 6925856"/>
              <a:gd name="connsiteX7-2399" fmla="*/ 3977147 w 9397013"/>
              <a:gd name="connsiteY7-2400" fmla="*/ 3723 h 6925856"/>
              <a:gd name="connsiteX8-2401" fmla="*/ 4465006 w 9397013"/>
              <a:gd name="connsiteY8-2402" fmla="*/ 840 h 6925856"/>
              <a:gd name="connsiteX9-2403" fmla="*/ 1578111 w 9397013"/>
              <a:gd name="connsiteY9-2404" fmla="*/ 3835090 h 6925856"/>
              <a:gd name="connsiteX10-2405" fmla="*/ 1573749 w 9397013"/>
              <a:gd name="connsiteY10-2406" fmla="*/ 4882781 h 6925856"/>
              <a:gd name="connsiteX11-2407" fmla="*/ 1550937 w 9397013"/>
              <a:gd name="connsiteY11-2408" fmla="*/ 4315002 h 6925856"/>
              <a:gd name="connsiteX12-2409" fmla="*/ 4805164 w 9397013"/>
              <a:gd name="connsiteY12-2410" fmla="*/ 4602 h 6925856"/>
              <a:gd name="connsiteX13-2411" fmla="*/ 5260238 w 9397013"/>
              <a:gd name="connsiteY13-2412" fmla="*/ 25779 h 6925856"/>
              <a:gd name="connsiteX14-2413" fmla="*/ 1573749 w 9397013"/>
              <a:gd name="connsiteY14-2414" fmla="*/ 4882781 h 6925856"/>
              <a:gd name="connsiteX15-2415" fmla="*/ 1580200 w 9397013"/>
              <a:gd name="connsiteY15-2416" fmla="*/ 5985735 h 6925856"/>
              <a:gd name="connsiteX16-2417" fmla="*/ 1566201 w 9397013"/>
              <a:gd name="connsiteY16-2418" fmla="*/ 5394811 h 6925856"/>
              <a:gd name="connsiteX17-2419" fmla="*/ 5641256 w 9397013"/>
              <a:gd name="connsiteY17-2420" fmla="*/ 4084 h 6925856"/>
              <a:gd name="connsiteX18-2421" fmla="*/ 6077099 w 9397013"/>
              <a:gd name="connsiteY18-2422" fmla="*/ 17286 h 6925856"/>
              <a:gd name="connsiteX19-2423" fmla="*/ 1580200 w 9397013"/>
              <a:gd name="connsiteY19-2424" fmla="*/ 5985735 h 6925856"/>
              <a:gd name="connsiteX20-2425" fmla="*/ 6958778 w 9397013"/>
              <a:gd name="connsiteY20-2426" fmla="*/ 6916619 h 6925856"/>
              <a:gd name="connsiteX21-2427" fmla="*/ 6560038 w 9397013"/>
              <a:gd name="connsiteY21-2428" fmla="*/ 6925855 h 6925856"/>
              <a:gd name="connsiteX22-2429" fmla="*/ 3849932 w 9397013"/>
              <a:gd name="connsiteY22-2430" fmla="*/ 3388318 h 6925856"/>
              <a:gd name="connsiteX23-2431" fmla="*/ 4086202 w 9397013"/>
              <a:gd name="connsiteY23-2432" fmla="*/ 3078877 h 6925856"/>
              <a:gd name="connsiteX24-2433" fmla="*/ 6958778 w 9397013"/>
              <a:gd name="connsiteY24-2434" fmla="*/ 6916619 h 6925856"/>
              <a:gd name="connsiteX25-2435" fmla="*/ 7777211 w 9397013"/>
              <a:gd name="connsiteY25-2436" fmla="*/ 6916620 h 6925856"/>
              <a:gd name="connsiteX26-2437" fmla="*/ 7324729 w 9397013"/>
              <a:gd name="connsiteY26-2438" fmla="*/ 6916620 h 6925856"/>
              <a:gd name="connsiteX27-2439" fmla="*/ 4245793 w 9397013"/>
              <a:gd name="connsiteY27-2440" fmla="*/ 2869862 h 6925856"/>
              <a:gd name="connsiteX28-2441" fmla="*/ 4490696 w 9397013"/>
              <a:gd name="connsiteY28-2442" fmla="*/ 2549117 h 6925856"/>
              <a:gd name="connsiteX29-2443" fmla="*/ 7777211 w 9397013"/>
              <a:gd name="connsiteY29-2444" fmla="*/ 6916620 h 6925856"/>
              <a:gd name="connsiteX30-2445" fmla="*/ 8567691 w 9397013"/>
              <a:gd name="connsiteY30-2446" fmla="*/ 6916619 h 6925856"/>
              <a:gd name="connsiteX31-2447" fmla="*/ 8159389 w 9397013"/>
              <a:gd name="connsiteY31-2448" fmla="*/ 6925856 h 6925856"/>
              <a:gd name="connsiteX32-2449" fmla="*/ 4650570 w 9397013"/>
              <a:gd name="connsiteY32-2450" fmla="*/ 2339732 h 6925856"/>
              <a:gd name="connsiteX33-2451" fmla="*/ 4869244 w 9397013"/>
              <a:gd name="connsiteY33-2452" fmla="*/ 2053337 h 6925856"/>
              <a:gd name="connsiteX34-2453" fmla="*/ 8567691 w 9397013"/>
              <a:gd name="connsiteY34-2454" fmla="*/ 6916619 h 6925856"/>
              <a:gd name="connsiteX35-2455" fmla="*/ 9397013 w 9397013"/>
              <a:gd name="connsiteY35-2456" fmla="*/ 6925855 h 6925856"/>
              <a:gd name="connsiteX36-2457" fmla="*/ 8921338 w 9397013"/>
              <a:gd name="connsiteY36-2458" fmla="*/ 6907383 h 6925856"/>
              <a:gd name="connsiteX37-2459" fmla="*/ 5045299 w 9397013"/>
              <a:gd name="connsiteY37-2460" fmla="*/ 1822761 h 6925856"/>
              <a:gd name="connsiteX38-2461" fmla="*/ 5273037 w 9397013"/>
              <a:gd name="connsiteY38-2462" fmla="*/ 1524494 h 6925856"/>
              <a:gd name="connsiteX39-2463" fmla="*/ 9397013 w 9397013"/>
              <a:gd name="connsiteY39-2464" fmla="*/ 6925855 h 6925856"/>
              <a:gd name="connsiteX0-2465" fmla="*/ 1572296 w 9397013"/>
              <a:gd name="connsiteY0-2466" fmla="*/ 2715072 h 6925856"/>
              <a:gd name="connsiteX1-2467" fmla="*/ 0 w 9397013"/>
              <a:gd name="connsiteY1-2468" fmla="*/ 4200794 h 6925856"/>
              <a:gd name="connsiteX2-2469" fmla="*/ 3175788 w 9397013"/>
              <a:gd name="connsiteY2-2470" fmla="*/ 4084 h 6925856"/>
              <a:gd name="connsiteX3-2471" fmla="*/ 3628305 w 9397013"/>
              <a:gd name="connsiteY3-2472" fmla="*/ 0 h 6925856"/>
              <a:gd name="connsiteX4-2473" fmla="*/ 1572296 w 9397013"/>
              <a:gd name="connsiteY4-2474" fmla="*/ 2715072 h 6925856"/>
              <a:gd name="connsiteX5-2475" fmla="*/ 1578111 w 9397013"/>
              <a:gd name="connsiteY5-2476" fmla="*/ 3835090 h 6925856"/>
              <a:gd name="connsiteX6-2477" fmla="*/ 1564463 w 9397013"/>
              <a:gd name="connsiteY6-2478" fmla="*/ 3206130 h 6925856"/>
              <a:gd name="connsiteX7-2479" fmla="*/ 3977147 w 9397013"/>
              <a:gd name="connsiteY7-2480" fmla="*/ 3723 h 6925856"/>
              <a:gd name="connsiteX8-2481" fmla="*/ 4465006 w 9397013"/>
              <a:gd name="connsiteY8-2482" fmla="*/ 840 h 6925856"/>
              <a:gd name="connsiteX9-2483" fmla="*/ 1578111 w 9397013"/>
              <a:gd name="connsiteY9-2484" fmla="*/ 3835090 h 6925856"/>
              <a:gd name="connsiteX10-2485" fmla="*/ 1573749 w 9397013"/>
              <a:gd name="connsiteY10-2486" fmla="*/ 4882781 h 6925856"/>
              <a:gd name="connsiteX11-2487" fmla="*/ 1550937 w 9397013"/>
              <a:gd name="connsiteY11-2488" fmla="*/ 4315002 h 6925856"/>
              <a:gd name="connsiteX12-2489" fmla="*/ 4805164 w 9397013"/>
              <a:gd name="connsiteY12-2490" fmla="*/ 4602 h 6925856"/>
              <a:gd name="connsiteX13-2491" fmla="*/ 5260238 w 9397013"/>
              <a:gd name="connsiteY13-2492" fmla="*/ 25779 h 6925856"/>
              <a:gd name="connsiteX14-2493" fmla="*/ 1573749 w 9397013"/>
              <a:gd name="connsiteY14-2494" fmla="*/ 4882781 h 6925856"/>
              <a:gd name="connsiteX15-2495" fmla="*/ 1580200 w 9397013"/>
              <a:gd name="connsiteY15-2496" fmla="*/ 5985735 h 6925856"/>
              <a:gd name="connsiteX16-2497" fmla="*/ 1566201 w 9397013"/>
              <a:gd name="connsiteY16-2498" fmla="*/ 5394811 h 6925856"/>
              <a:gd name="connsiteX17-2499" fmla="*/ 5641256 w 9397013"/>
              <a:gd name="connsiteY17-2500" fmla="*/ 4084 h 6925856"/>
              <a:gd name="connsiteX18-2501" fmla="*/ 6077099 w 9397013"/>
              <a:gd name="connsiteY18-2502" fmla="*/ 17286 h 6925856"/>
              <a:gd name="connsiteX19-2503" fmla="*/ 1580200 w 9397013"/>
              <a:gd name="connsiteY19-2504" fmla="*/ 5985735 h 6925856"/>
              <a:gd name="connsiteX20-2505" fmla="*/ 6958778 w 9397013"/>
              <a:gd name="connsiteY20-2506" fmla="*/ 6916619 h 6925856"/>
              <a:gd name="connsiteX21-2507" fmla="*/ 6560038 w 9397013"/>
              <a:gd name="connsiteY21-2508" fmla="*/ 6925855 h 6925856"/>
              <a:gd name="connsiteX22-2509" fmla="*/ 3849932 w 9397013"/>
              <a:gd name="connsiteY22-2510" fmla="*/ 3388318 h 6925856"/>
              <a:gd name="connsiteX23-2511" fmla="*/ 4086202 w 9397013"/>
              <a:gd name="connsiteY23-2512" fmla="*/ 3078877 h 6925856"/>
              <a:gd name="connsiteX24-2513" fmla="*/ 6958778 w 9397013"/>
              <a:gd name="connsiteY24-2514" fmla="*/ 6916619 h 6925856"/>
              <a:gd name="connsiteX25-2515" fmla="*/ 7777211 w 9397013"/>
              <a:gd name="connsiteY25-2516" fmla="*/ 6916620 h 6925856"/>
              <a:gd name="connsiteX26-2517" fmla="*/ 7324729 w 9397013"/>
              <a:gd name="connsiteY26-2518" fmla="*/ 6916620 h 6925856"/>
              <a:gd name="connsiteX27-2519" fmla="*/ 4245793 w 9397013"/>
              <a:gd name="connsiteY27-2520" fmla="*/ 2869862 h 6925856"/>
              <a:gd name="connsiteX28-2521" fmla="*/ 4490696 w 9397013"/>
              <a:gd name="connsiteY28-2522" fmla="*/ 2549117 h 6925856"/>
              <a:gd name="connsiteX29-2523" fmla="*/ 7777211 w 9397013"/>
              <a:gd name="connsiteY29-2524" fmla="*/ 6916620 h 6925856"/>
              <a:gd name="connsiteX30-2525" fmla="*/ 8567691 w 9397013"/>
              <a:gd name="connsiteY30-2526" fmla="*/ 6916619 h 6925856"/>
              <a:gd name="connsiteX31-2527" fmla="*/ 8159389 w 9397013"/>
              <a:gd name="connsiteY31-2528" fmla="*/ 6925856 h 6925856"/>
              <a:gd name="connsiteX32-2529" fmla="*/ 4650570 w 9397013"/>
              <a:gd name="connsiteY32-2530" fmla="*/ 2339732 h 6925856"/>
              <a:gd name="connsiteX33-2531" fmla="*/ 4869244 w 9397013"/>
              <a:gd name="connsiteY33-2532" fmla="*/ 2053337 h 6925856"/>
              <a:gd name="connsiteX34-2533" fmla="*/ 8567691 w 9397013"/>
              <a:gd name="connsiteY34-2534" fmla="*/ 6916619 h 6925856"/>
              <a:gd name="connsiteX35-2535" fmla="*/ 9397013 w 9397013"/>
              <a:gd name="connsiteY35-2536" fmla="*/ 6925855 h 6925856"/>
              <a:gd name="connsiteX36-2537" fmla="*/ 8921338 w 9397013"/>
              <a:gd name="connsiteY36-2538" fmla="*/ 6907383 h 6925856"/>
              <a:gd name="connsiteX37-2539" fmla="*/ 5045299 w 9397013"/>
              <a:gd name="connsiteY37-2540" fmla="*/ 1822761 h 6925856"/>
              <a:gd name="connsiteX38-2541" fmla="*/ 5273037 w 9397013"/>
              <a:gd name="connsiteY38-2542" fmla="*/ 1524494 h 6925856"/>
              <a:gd name="connsiteX39-2543" fmla="*/ 9397013 w 9397013"/>
              <a:gd name="connsiteY39-2544" fmla="*/ 6925855 h 6925856"/>
              <a:gd name="connsiteX0-2545" fmla="*/ 21359 w 7846076"/>
              <a:gd name="connsiteY0-2546" fmla="*/ 2715072 h 6925856"/>
              <a:gd name="connsiteX1-2547" fmla="*/ 28481 w 7846076"/>
              <a:gd name="connsiteY1-2548" fmla="*/ 2104139 h 6925856"/>
              <a:gd name="connsiteX2-2549" fmla="*/ 1624851 w 7846076"/>
              <a:gd name="connsiteY2-2550" fmla="*/ 4084 h 6925856"/>
              <a:gd name="connsiteX3-2551" fmla="*/ 2077368 w 7846076"/>
              <a:gd name="connsiteY3-2552" fmla="*/ 0 h 6925856"/>
              <a:gd name="connsiteX4-2553" fmla="*/ 21359 w 7846076"/>
              <a:gd name="connsiteY4-2554" fmla="*/ 2715072 h 6925856"/>
              <a:gd name="connsiteX5-2555" fmla="*/ 27174 w 7846076"/>
              <a:gd name="connsiteY5-2556" fmla="*/ 3835090 h 6925856"/>
              <a:gd name="connsiteX6-2557" fmla="*/ 13526 w 7846076"/>
              <a:gd name="connsiteY6-2558" fmla="*/ 3206130 h 6925856"/>
              <a:gd name="connsiteX7-2559" fmla="*/ 2426210 w 7846076"/>
              <a:gd name="connsiteY7-2560" fmla="*/ 3723 h 6925856"/>
              <a:gd name="connsiteX8-2561" fmla="*/ 2914069 w 7846076"/>
              <a:gd name="connsiteY8-2562" fmla="*/ 840 h 6925856"/>
              <a:gd name="connsiteX9-2563" fmla="*/ 27174 w 7846076"/>
              <a:gd name="connsiteY9-2564" fmla="*/ 3835090 h 6925856"/>
              <a:gd name="connsiteX10-2565" fmla="*/ 22812 w 7846076"/>
              <a:gd name="connsiteY10-2566" fmla="*/ 4882781 h 6925856"/>
              <a:gd name="connsiteX11-2567" fmla="*/ 0 w 7846076"/>
              <a:gd name="connsiteY11-2568" fmla="*/ 4315002 h 6925856"/>
              <a:gd name="connsiteX12-2569" fmla="*/ 3254227 w 7846076"/>
              <a:gd name="connsiteY12-2570" fmla="*/ 4602 h 6925856"/>
              <a:gd name="connsiteX13-2571" fmla="*/ 3709301 w 7846076"/>
              <a:gd name="connsiteY13-2572" fmla="*/ 25779 h 6925856"/>
              <a:gd name="connsiteX14-2573" fmla="*/ 22812 w 7846076"/>
              <a:gd name="connsiteY14-2574" fmla="*/ 4882781 h 6925856"/>
              <a:gd name="connsiteX15-2575" fmla="*/ 29263 w 7846076"/>
              <a:gd name="connsiteY15-2576" fmla="*/ 5985735 h 6925856"/>
              <a:gd name="connsiteX16-2577" fmla="*/ 15264 w 7846076"/>
              <a:gd name="connsiteY16-2578" fmla="*/ 5394811 h 6925856"/>
              <a:gd name="connsiteX17-2579" fmla="*/ 4090319 w 7846076"/>
              <a:gd name="connsiteY17-2580" fmla="*/ 4084 h 6925856"/>
              <a:gd name="connsiteX18-2581" fmla="*/ 4526162 w 7846076"/>
              <a:gd name="connsiteY18-2582" fmla="*/ 17286 h 6925856"/>
              <a:gd name="connsiteX19-2583" fmla="*/ 29263 w 7846076"/>
              <a:gd name="connsiteY19-2584" fmla="*/ 5985735 h 6925856"/>
              <a:gd name="connsiteX20-2585" fmla="*/ 5407841 w 7846076"/>
              <a:gd name="connsiteY20-2586" fmla="*/ 6916619 h 6925856"/>
              <a:gd name="connsiteX21-2587" fmla="*/ 5009101 w 7846076"/>
              <a:gd name="connsiteY21-2588" fmla="*/ 6925855 h 6925856"/>
              <a:gd name="connsiteX22-2589" fmla="*/ 2298995 w 7846076"/>
              <a:gd name="connsiteY22-2590" fmla="*/ 3388318 h 6925856"/>
              <a:gd name="connsiteX23-2591" fmla="*/ 2535265 w 7846076"/>
              <a:gd name="connsiteY23-2592" fmla="*/ 3078877 h 6925856"/>
              <a:gd name="connsiteX24-2593" fmla="*/ 5407841 w 7846076"/>
              <a:gd name="connsiteY24-2594" fmla="*/ 6916619 h 6925856"/>
              <a:gd name="connsiteX25-2595" fmla="*/ 6226274 w 7846076"/>
              <a:gd name="connsiteY25-2596" fmla="*/ 6916620 h 6925856"/>
              <a:gd name="connsiteX26-2597" fmla="*/ 5773792 w 7846076"/>
              <a:gd name="connsiteY26-2598" fmla="*/ 6916620 h 6925856"/>
              <a:gd name="connsiteX27-2599" fmla="*/ 2694856 w 7846076"/>
              <a:gd name="connsiteY27-2600" fmla="*/ 2869862 h 6925856"/>
              <a:gd name="connsiteX28-2601" fmla="*/ 2939759 w 7846076"/>
              <a:gd name="connsiteY28-2602" fmla="*/ 2549117 h 6925856"/>
              <a:gd name="connsiteX29-2603" fmla="*/ 6226274 w 7846076"/>
              <a:gd name="connsiteY29-2604" fmla="*/ 6916620 h 6925856"/>
              <a:gd name="connsiteX30-2605" fmla="*/ 7016754 w 7846076"/>
              <a:gd name="connsiteY30-2606" fmla="*/ 6916619 h 6925856"/>
              <a:gd name="connsiteX31-2607" fmla="*/ 6608452 w 7846076"/>
              <a:gd name="connsiteY31-2608" fmla="*/ 6925856 h 6925856"/>
              <a:gd name="connsiteX32-2609" fmla="*/ 3099633 w 7846076"/>
              <a:gd name="connsiteY32-2610" fmla="*/ 2339732 h 6925856"/>
              <a:gd name="connsiteX33-2611" fmla="*/ 3318307 w 7846076"/>
              <a:gd name="connsiteY33-2612" fmla="*/ 2053337 h 6925856"/>
              <a:gd name="connsiteX34-2613" fmla="*/ 7016754 w 7846076"/>
              <a:gd name="connsiteY34-2614" fmla="*/ 6916619 h 6925856"/>
              <a:gd name="connsiteX35-2615" fmla="*/ 7846076 w 7846076"/>
              <a:gd name="connsiteY35-2616" fmla="*/ 6925855 h 6925856"/>
              <a:gd name="connsiteX36-2617" fmla="*/ 7370401 w 7846076"/>
              <a:gd name="connsiteY36-2618" fmla="*/ 6907383 h 6925856"/>
              <a:gd name="connsiteX37-2619" fmla="*/ 3494362 w 7846076"/>
              <a:gd name="connsiteY37-2620" fmla="*/ 1822761 h 6925856"/>
              <a:gd name="connsiteX38-2621" fmla="*/ 3722100 w 7846076"/>
              <a:gd name="connsiteY38-2622" fmla="*/ 1524494 h 6925856"/>
              <a:gd name="connsiteX39-2623" fmla="*/ 7846076 w 7846076"/>
              <a:gd name="connsiteY39-2624" fmla="*/ 6925855 h 692585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129" y="connsiteY32-130"/>
              </a:cxn>
              <a:cxn ang="0">
                <a:pos x="connsiteX33-131" y="connsiteY33-132"/>
              </a:cxn>
              <a:cxn ang="0">
                <a:pos x="connsiteX34-133" y="connsiteY34-134"/>
              </a:cxn>
              <a:cxn ang="0">
                <a:pos x="connsiteX35-135" y="connsiteY35-136"/>
              </a:cxn>
              <a:cxn ang="0">
                <a:pos x="connsiteX36-137" y="connsiteY36-138"/>
              </a:cxn>
              <a:cxn ang="0">
                <a:pos x="connsiteX37-139" y="connsiteY37-140"/>
              </a:cxn>
              <a:cxn ang="0">
                <a:pos x="connsiteX38-141" y="connsiteY38-142"/>
              </a:cxn>
              <a:cxn ang="0">
                <a:pos x="connsiteX39-143" y="connsiteY39-144"/>
              </a:cxn>
            </a:cxnLst>
            <a:rect l="l" t="t" r="r" b="b"/>
            <a:pathLst>
              <a:path w="7846076" h="6925856">
                <a:moveTo>
                  <a:pt x="21359" y="2715072"/>
                </a:moveTo>
                <a:lnTo>
                  <a:pt x="28481" y="2104139"/>
                </a:lnTo>
                <a:lnTo>
                  <a:pt x="1624851" y="4084"/>
                </a:lnTo>
                <a:lnTo>
                  <a:pt x="2077368" y="0"/>
                </a:lnTo>
                <a:lnTo>
                  <a:pt x="21359" y="2715072"/>
                </a:lnTo>
                <a:close/>
                <a:moveTo>
                  <a:pt x="27174" y="3835090"/>
                </a:moveTo>
                <a:lnTo>
                  <a:pt x="13526" y="3206130"/>
                </a:lnTo>
                <a:lnTo>
                  <a:pt x="2426210" y="3723"/>
                </a:lnTo>
                <a:lnTo>
                  <a:pt x="2914069" y="840"/>
                </a:lnTo>
                <a:lnTo>
                  <a:pt x="27174" y="3835090"/>
                </a:lnTo>
                <a:close/>
                <a:moveTo>
                  <a:pt x="22812" y="4882781"/>
                </a:moveTo>
                <a:lnTo>
                  <a:pt x="0" y="4315002"/>
                </a:lnTo>
                <a:lnTo>
                  <a:pt x="3254227" y="4602"/>
                </a:lnTo>
                <a:lnTo>
                  <a:pt x="3709301" y="25779"/>
                </a:lnTo>
                <a:lnTo>
                  <a:pt x="22812" y="4882781"/>
                </a:lnTo>
                <a:close/>
                <a:moveTo>
                  <a:pt x="29263" y="5985735"/>
                </a:moveTo>
                <a:lnTo>
                  <a:pt x="15264" y="5394811"/>
                </a:lnTo>
                <a:lnTo>
                  <a:pt x="4090319" y="4084"/>
                </a:lnTo>
                <a:lnTo>
                  <a:pt x="4526162" y="17286"/>
                </a:lnTo>
                <a:lnTo>
                  <a:pt x="29263" y="5985735"/>
                </a:lnTo>
                <a:close/>
                <a:moveTo>
                  <a:pt x="5407841" y="6916619"/>
                </a:moveTo>
                <a:lnTo>
                  <a:pt x="5009101" y="6925855"/>
                </a:lnTo>
                <a:lnTo>
                  <a:pt x="2298995" y="3388318"/>
                </a:lnTo>
                <a:lnTo>
                  <a:pt x="2535265" y="3078877"/>
                </a:lnTo>
                <a:lnTo>
                  <a:pt x="5407841" y="6916619"/>
                </a:lnTo>
                <a:close/>
                <a:moveTo>
                  <a:pt x="6226274" y="6916620"/>
                </a:moveTo>
                <a:lnTo>
                  <a:pt x="5773792" y="6916620"/>
                </a:lnTo>
                <a:lnTo>
                  <a:pt x="2694856" y="2869862"/>
                </a:lnTo>
                <a:lnTo>
                  <a:pt x="2939759" y="2549117"/>
                </a:lnTo>
                <a:lnTo>
                  <a:pt x="6226274" y="6916620"/>
                </a:lnTo>
                <a:close/>
                <a:moveTo>
                  <a:pt x="7016754" y="6916619"/>
                </a:moveTo>
                <a:lnTo>
                  <a:pt x="6608452" y="6925856"/>
                </a:lnTo>
                <a:lnTo>
                  <a:pt x="3099633" y="2339732"/>
                </a:lnTo>
                <a:lnTo>
                  <a:pt x="3318307" y="2053337"/>
                </a:lnTo>
                <a:lnTo>
                  <a:pt x="7016754" y="6916619"/>
                </a:lnTo>
                <a:close/>
                <a:moveTo>
                  <a:pt x="7846076" y="6925855"/>
                </a:moveTo>
                <a:lnTo>
                  <a:pt x="7370401" y="6907383"/>
                </a:lnTo>
                <a:lnTo>
                  <a:pt x="3494362" y="1822761"/>
                </a:lnTo>
                <a:lnTo>
                  <a:pt x="3722100" y="1524494"/>
                </a:lnTo>
                <a:lnTo>
                  <a:pt x="7846076" y="6925855"/>
                </a:lnTo>
                <a:close/>
              </a:path>
            </a:pathLst>
          </a:custGeom>
          <a:solidFill>
            <a:schemeClr val="bg1">
              <a:lumMod val="9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5" name="文本框 4"/>
          <p:cNvSpPr txBox="1"/>
          <p:nvPr/>
        </p:nvSpPr>
        <p:spPr>
          <a:xfrm>
            <a:off x="602079" y="1143211"/>
            <a:ext cx="10918408" cy="1287532"/>
          </a:xfrm>
          <a:prstGeom prst="rect">
            <a:avLst/>
          </a:prstGeom>
          <a:noFill/>
        </p:spPr>
        <p:txBody>
          <a:bodyPr wrap="square" rtlCol="0">
            <a:spAutoFit/>
          </a:bodyPr>
          <a:lstStyle/>
          <a:p>
            <a:pPr>
              <a:lnSpc>
                <a:spcPct val="150000"/>
              </a:lnSpc>
            </a:pPr>
            <a:r>
              <a:rPr lang="zh-CN" altLang="en-US" dirty="0"/>
              <a:t>高创新性论文（创新性高于</a:t>
            </a:r>
            <a:r>
              <a:rPr lang="en-US" altLang="zh-CN" dirty="0"/>
              <a:t>90%</a:t>
            </a:r>
            <a:r>
              <a:rPr lang="zh-CN" altLang="en-US" dirty="0"/>
              <a:t>分位数的论文）与低创新性论文（创新性低于</a:t>
            </a:r>
            <a:r>
              <a:rPr lang="en-US" altLang="zh-CN" dirty="0"/>
              <a:t>10%</a:t>
            </a:r>
            <a:r>
              <a:rPr lang="zh-CN" altLang="en-US" dirty="0"/>
              <a:t>分位数的论文）的平均投录时间</a:t>
            </a:r>
            <a:endParaRPr lang="en-US" altLang="zh-CN" dirty="0"/>
          </a:p>
          <a:p>
            <a:pPr>
              <a:lnSpc>
                <a:spcPct val="150000"/>
              </a:lnSpc>
            </a:pPr>
            <a:endParaRPr lang="en-US" altLang="zh-CN" dirty="0"/>
          </a:p>
        </p:txBody>
      </p:sp>
      <p:pic>
        <p:nvPicPr>
          <p:cNvPr id="6" name="图片 5"/>
          <p:cNvPicPr>
            <a:picLocks noChangeAspect="1"/>
          </p:cNvPicPr>
          <p:nvPr/>
        </p:nvPicPr>
        <p:blipFill>
          <a:blip r:embed="rId1"/>
          <a:stretch>
            <a:fillRect/>
          </a:stretch>
        </p:blipFill>
        <p:spPr>
          <a:xfrm>
            <a:off x="2418555" y="2068377"/>
            <a:ext cx="7353300" cy="4172085"/>
          </a:xfrm>
          <a:prstGeom prst="rect">
            <a:avLst/>
          </a:prstGeom>
        </p:spPr>
      </p:pic>
    </p:spTree>
    <p:custDataLst>
      <p:tags r:id="rId2"/>
    </p:custDataLst>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ISLIDE.ICON" val="#438743;#438742;#438745;#438748;"/>
  <p:tag name="ISLIDE.TEMPLATE" val="https://www.islide.cc;"/>
</p:tagLst>
</file>

<file path=ppt/tags/tag11.xml><?xml version="1.0" encoding="utf-8"?>
<p:tagLst xmlns:p="http://schemas.openxmlformats.org/presentationml/2006/main">
  <p:tag name="ISLIDE.ICON" val="#438743;#438742;#438745;#438748;"/>
  <p:tag name="ISLIDE.TEMPLATE" val="https://www.islide.cc;"/>
</p:tagLst>
</file>

<file path=ppt/tags/tag12.xml><?xml version="1.0" encoding="utf-8"?>
<p:tagLst xmlns:p="http://schemas.openxmlformats.org/presentationml/2006/main">
  <p:tag name="ISLIDE.ICON" val="#438743;#438742;#438745;#438748;"/>
  <p:tag name="ISLIDE.TEMPLATE" val="https://www.islide.cc;"/>
</p:tagLst>
</file>

<file path=ppt/tags/tag13.xml><?xml version="1.0" encoding="utf-8"?>
<p:tagLst xmlns:p="http://schemas.openxmlformats.org/presentationml/2006/main">
  <p:tag name="ISLIDE.ICON" val="#438743;#438742;#438745;#438748;"/>
  <p:tag name="ISLIDE.TEMPLATE" val="https://www.islide.cc;"/>
</p:tagLst>
</file>

<file path=ppt/tags/tag14.xml><?xml version="1.0" encoding="utf-8"?>
<p:tagLst xmlns:p="http://schemas.openxmlformats.org/presentationml/2006/main">
  <p:tag name="ISLIDE.ICON" val="#438743;#438742;#438745;#438748;"/>
  <p:tag name="ISLIDE.TEMPLATE" val="https://www.islide.cc;"/>
</p:tagLst>
</file>

<file path=ppt/tags/tag15.xml><?xml version="1.0" encoding="utf-8"?>
<p:tagLst xmlns:p="http://schemas.openxmlformats.org/presentationml/2006/main">
  <p:tag name="ISLIDE.ICON" val="#438743;#438742;#438745;#438748;"/>
  <p:tag name="ISLIDE.TEMPLATE" val="https://www.islide.cc;"/>
</p:tagLst>
</file>

<file path=ppt/tags/tag16.xml><?xml version="1.0" encoding="utf-8"?>
<p:tagLst xmlns:p="http://schemas.openxmlformats.org/presentationml/2006/main">
  <p:tag name="ISLIDE.ICON" val="#438743;#438742;#438745;#438748;"/>
  <p:tag name="ISLIDE.TEMPLATE" val="https://www.islide.cc;"/>
</p:tagLst>
</file>

<file path=ppt/tags/tag17.xml><?xml version="1.0" encoding="utf-8"?>
<p:tagLst xmlns:p="http://schemas.openxmlformats.org/presentationml/2006/main">
  <p:tag name="ISLIDE.ICON" val="#438743;#438742;#438745;#438748;"/>
  <p:tag name="ISLIDE.TEMPLATE" val="https://www.islide.cc;"/>
</p:tagLst>
</file>

<file path=ppt/tags/tag18.xml><?xml version="1.0" encoding="utf-8"?>
<p:tagLst xmlns:p="http://schemas.openxmlformats.org/presentationml/2006/main">
  <p:tag name="ISLIDE.ICON" val="#438743;#438742;#438745;#438748;"/>
  <p:tag name="ISLIDE.TEMPLATE" val="https://www.islide.cc;"/>
</p:tagLst>
</file>

<file path=ppt/tags/tag1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A6S0wzOvQ8a50SA42PUNRg"/>
</p:tagLst>
</file>

<file path=ppt/tags/tag20.xml><?xml version="1.0" encoding="utf-8"?>
<p:tagLst xmlns:p="http://schemas.openxmlformats.org/presentationml/2006/main">
  <p:tag name="THINKCELLSHAPEDONOTDELETE" val="t1Smkff3fSzGMOuItfjj3Fw"/>
</p:tagLst>
</file>

<file path=ppt/tags/tag21.xml><?xml version="1.0" encoding="utf-8"?>
<p:tagLst xmlns:p="http://schemas.openxmlformats.org/presentationml/2006/main">
  <p:tag name="ISLIDE.TEMPLATE" val="https://www.islide.cc;"/>
</p:tagLst>
</file>

<file path=ppt/tags/tag22.xml><?xml version="1.0" encoding="utf-8"?>
<p:tagLst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ISLIDE.THEME" val="225bf695-daa2-4759-97b7-6398e4bba18c"/>
  <p:tag name="THINKCELLUNDODONOTDELETE" val="0"/>
  <p:tag name="ISLIDE.TEMPLATE" val="#477685"/>
  <p:tag name="KSO_WPP_MARK_KEY" val="aad9bbea-f280-4a8e-b0db-90636654f8b9"/>
</p:tagLst>
</file>

<file path=ppt/tags/tag3.xml><?xml version="1.0" encoding="utf-8"?>
<p:tagLst xmlns:p="http://schemas.openxmlformats.org/presentationml/2006/main">
  <p:tag name="ISLIDE.VECTOR" val="#186220;#186256;#186214;"/>
  <p:tag name="ISLIDE.TEMPLATE" val="https://www.islide.cc;"/>
</p:tagLst>
</file>

<file path=ppt/tags/tag4.xml><?xml version="1.0" encoding="utf-8"?>
<p:tagLst xmlns:p="http://schemas.openxmlformats.org/presentationml/2006/main">
  <p:tag name="ISLIDE.ICON" val="#438743;#438742;#438745;#438748;"/>
  <p:tag name="ISLIDE.TEMPLATE" val="https://www.islide.cc;"/>
</p:tagLst>
</file>

<file path=ppt/tags/tag5.xml><?xml version="1.0" encoding="utf-8"?>
<p:tagLst xmlns:p="http://schemas.openxmlformats.org/presentationml/2006/main">
  <p:tag name="ISLIDE.ICON" val="#438743;#438742;#438745;#438748;"/>
  <p:tag name="ISLIDE.TEMPLATE" val="https://www.islide.cc;"/>
</p:tagLst>
</file>

<file path=ppt/tags/tag6.xml><?xml version="1.0" encoding="utf-8"?>
<p:tagLst xmlns:p="http://schemas.openxmlformats.org/presentationml/2006/main">
  <p:tag name="ISLIDE.ICON" val="#438743;#438742;#438745;#438748;"/>
  <p:tag name="ISLIDE.TEMPLATE" val="https://www.islide.cc;"/>
</p:tagLst>
</file>

<file path=ppt/tags/tag7.xml><?xml version="1.0" encoding="utf-8"?>
<p:tagLst xmlns:p="http://schemas.openxmlformats.org/presentationml/2006/main">
  <p:tag name="ISLIDE.ICON" val="#438743;#438742;#438745;#438748;"/>
  <p:tag name="ISLIDE.TEMPLATE" val="https://www.islide.cc;"/>
</p:tagLst>
</file>

<file path=ppt/tags/tag8.xml><?xml version="1.0" encoding="utf-8"?>
<p:tagLst xmlns:p="http://schemas.openxmlformats.org/presentationml/2006/main">
  <p:tag name="ISLIDE.ICON" val="#438743;#438742;#438745;#438748;"/>
  <p:tag name="ISLIDE.TEMPLATE" val="https://www.islide.cc;"/>
</p:tagLst>
</file>

<file path=ppt/tags/tag9.xml><?xml version="1.0" encoding="utf-8"?>
<p:tagLst xmlns:p="http://schemas.openxmlformats.org/presentationml/2006/main">
  <p:tag name="ISLIDE.ICON" val="#438743;#438742;#438745;#438748;"/>
  <p:tag name="ISLIDE.TEMPLATE" val="https://www.islide.cc;"/>
</p:tagLst>
</file>

<file path=ppt/theme/theme1.xml><?xml version="1.0" encoding="utf-8"?>
<a:theme xmlns:a="http://schemas.openxmlformats.org/drawingml/2006/main" name="主题5">
  <a:themeElements>
    <a:clrScheme name="四月主题色">
      <a:dk1>
        <a:srgbClr val="000000"/>
      </a:dk1>
      <a:lt1>
        <a:srgbClr val="FFFFFF"/>
      </a:lt1>
      <a:dk2>
        <a:srgbClr val="778495"/>
      </a:dk2>
      <a:lt2>
        <a:srgbClr val="F0F0F0"/>
      </a:lt2>
      <a:accent1>
        <a:srgbClr val="111A51"/>
      </a:accent1>
      <a:accent2>
        <a:srgbClr val="E60012"/>
      </a:accent2>
      <a:accent3>
        <a:srgbClr val="7980B5"/>
      </a:accent3>
      <a:accent4>
        <a:srgbClr val="ECEFF4"/>
      </a:accent4>
      <a:accent5>
        <a:srgbClr val="343D74"/>
      </a:accent5>
      <a:accent6>
        <a:srgbClr val="778495"/>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四月主题色">
    <a:dk1>
      <a:srgbClr val="000000"/>
    </a:dk1>
    <a:lt1>
      <a:srgbClr val="FFFFFF"/>
    </a:lt1>
    <a:dk2>
      <a:srgbClr val="778495"/>
    </a:dk2>
    <a:lt2>
      <a:srgbClr val="F0F0F0"/>
    </a:lt2>
    <a:accent1>
      <a:srgbClr val="111A51"/>
    </a:accent1>
    <a:accent2>
      <a:srgbClr val="E60012"/>
    </a:accent2>
    <a:accent3>
      <a:srgbClr val="7980B5"/>
    </a:accent3>
    <a:accent4>
      <a:srgbClr val="ECEFF4"/>
    </a:accent4>
    <a:accent5>
      <a:srgbClr val="343D74"/>
    </a:accent5>
    <a:accent6>
      <a:srgbClr val="778495"/>
    </a:accent6>
    <a:hlink>
      <a:srgbClr val="4276AA"/>
    </a:hlink>
    <a:folHlink>
      <a:srgbClr val="BFBFBF"/>
    </a:folHlink>
  </a:clrScheme>
</a:themeOverride>
</file>

<file path=ppt/theme/themeOverride2.xml><?xml version="1.0" encoding="utf-8"?>
<a:themeOverride xmlns:a="http://schemas.openxmlformats.org/drawingml/2006/main">
  <a:clrScheme name="四月主题色">
    <a:dk1>
      <a:srgbClr val="000000"/>
    </a:dk1>
    <a:lt1>
      <a:srgbClr val="FFFFFF"/>
    </a:lt1>
    <a:dk2>
      <a:srgbClr val="778495"/>
    </a:dk2>
    <a:lt2>
      <a:srgbClr val="F0F0F0"/>
    </a:lt2>
    <a:accent1>
      <a:srgbClr val="111A51"/>
    </a:accent1>
    <a:accent2>
      <a:srgbClr val="E60012"/>
    </a:accent2>
    <a:accent3>
      <a:srgbClr val="7980B5"/>
    </a:accent3>
    <a:accent4>
      <a:srgbClr val="ECEFF4"/>
    </a:accent4>
    <a:accent5>
      <a:srgbClr val="343D74"/>
    </a:accent5>
    <a:accent6>
      <a:srgbClr val="778495"/>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菠萝煮茶</Template>
  <TotalTime>0</TotalTime>
  <Words>2498</Words>
  <Application>WPS 演示</Application>
  <PresentationFormat>宽屏</PresentationFormat>
  <Paragraphs>204</Paragraphs>
  <Slides>17</Slides>
  <Notes>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2</vt:i4>
      </vt:variant>
      <vt:variant>
        <vt:lpstr>幻灯片标题</vt:lpstr>
      </vt:variant>
      <vt:variant>
        <vt:i4>17</vt:i4>
      </vt:variant>
    </vt:vector>
  </HeadingPairs>
  <TitlesOfParts>
    <vt:vector size="27" baseType="lpstr">
      <vt:lpstr>Arial</vt:lpstr>
      <vt:lpstr>宋体</vt:lpstr>
      <vt:lpstr>Wingdings</vt:lpstr>
      <vt:lpstr>Calibri</vt:lpstr>
      <vt:lpstr>微软雅黑</vt:lpstr>
      <vt:lpstr>Times New Roman</vt:lpstr>
      <vt:lpstr>Arial Unicode MS</vt:lpstr>
      <vt:lpstr>主题5</vt:lpstr>
      <vt:lpstr>TCLayout.ActiveDocument.1</vt:lpstr>
      <vt:lpstr>TCLayout.ActiveDocument.1</vt:lpstr>
      <vt:lpstr> Bias against scientific novelty: A prepublication perspective</vt:lpstr>
      <vt:lpstr>1. 研究背景</vt:lpstr>
      <vt:lpstr>2. 研究问题</vt:lpstr>
      <vt:lpstr>3. 研究方法</vt:lpstr>
      <vt:lpstr>3. 研究方法</vt:lpstr>
      <vt:lpstr>3. 研究方法</vt:lpstr>
      <vt:lpstr>3. 研究方法</vt:lpstr>
      <vt:lpstr>3. 研究方法</vt:lpstr>
      <vt:lpstr>3. 研究结果 – 描述性分析</vt:lpstr>
      <vt:lpstr>3. 研究结果 – 描述性分析</vt:lpstr>
      <vt:lpstr>3. 研究结果 – CEM匹配分析</vt:lpstr>
      <vt:lpstr>3. 研究结果 – 回归分析</vt:lpstr>
      <vt:lpstr>3. 研究结果 – 回归分析</vt:lpstr>
      <vt:lpstr>3. 研究结果 – 回归分析</vt:lpstr>
      <vt:lpstr>4. 研究结论</vt:lpstr>
      <vt:lpstr>5. 研究不足</vt:lpstr>
      <vt:lpstr>请各位专家批评指正！</vt:lpstr>
    </vt:vector>
  </TitlesOfParts>
  <Company>iSlide</Company>
  <LinksUpToDate>false</LinksUpToDate>
  <SharedDoc>false</SharedDoc>
  <HyperlinksChanged>false</HyperlinksChanged>
  <AppVersion>14.0000</AppVersion>
  <Manager>iSlide</Manager>
  <HyperlinkBase>https://www.islide.cc</HyperlinkBase>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菠萝煮茶</dc:creator>
  <cp:lastModifiedBy>oops，yep！</cp:lastModifiedBy>
  <cp:revision>3</cp:revision>
  <cp:lastPrinted>2020-09-09T16:00:00Z</cp:lastPrinted>
  <dcterms:created xsi:type="dcterms:W3CDTF">2020-09-09T16:00:00Z</dcterms:created>
  <dcterms:modified xsi:type="dcterms:W3CDTF">2023-07-12T08:1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Slide.TEMPLATE">
    <vt:lpwstr>67a787e4-bbb0-4b7b-a406-d39e9dc1117d</vt:lpwstr>
  </property>
  <property fmtid="{D5CDD505-2E9C-101B-9397-08002B2CF9AE}" pid="4" name="ICV">
    <vt:lpwstr>45974CE849604DE8B3CE84F646988BFD_13</vt:lpwstr>
  </property>
  <property fmtid="{D5CDD505-2E9C-101B-9397-08002B2CF9AE}" pid="5" name="KSOProductBuildVer">
    <vt:lpwstr>2052-11.1.0.14036</vt:lpwstr>
  </property>
</Properties>
</file>